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6.xml" ContentType="application/vnd.openxmlformats-officedocument.theme+xml"/>
  <Override PartName="/ppt/tags/tag20.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8.xml" ContentType="application/vnd.openxmlformats-officedocument.theme+xml"/>
  <Override PartName="/ppt/tags/tag22.xml" ContentType="application/vnd.openxmlformats-officedocument.presentationml.tags+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9.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0.xml" ContentType="application/vnd.openxmlformats-officedocument.theme+xml"/>
  <Override PartName="/ppt/tags/tag23.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notesSlides/notesSlide17.xml" ContentType="application/vnd.openxmlformats-officedocument.presentationml.notesSlide+xml"/>
  <Override PartName="/ppt/tags/tag3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4"/>
    <p:sldMasterId id="2147484714" r:id="rId5"/>
    <p:sldMasterId id="2147485040" r:id="rId6"/>
    <p:sldMasterId id="2147485128" r:id="rId7"/>
    <p:sldMasterId id="2147485178" r:id="rId8"/>
    <p:sldMasterId id="2147485228" r:id="rId9"/>
    <p:sldMasterId id="2147485259" r:id="rId10"/>
    <p:sldMasterId id="2147485283" r:id="rId11"/>
    <p:sldMasterId id="2147485315" r:id="rId12"/>
    <p:sldMasterId id="2147485321" r:id="rId13"/>
  </p:sldMasterIdLst>
  <p:notesMasterIdLst>
    <p:notesMasterId r:id="rId46"/>
  </p:notesMasterIdLst>
  <p:handoutMasterIdLst>
    <p:handoutMasterId r:id="rId47"/>
  </p:handoutMasterIdLst>
  <p:sldIdLst>
    <p:sldId id="337" r:id="rId14"/>
    <p:sldId id="2147479107" r:id="rId15"/>
    <p:sldId id="2147479037" r:id="rId16"/>
    <p:sldId id="2147479199" r:id="rId17"/>
    <p:sldId id="2147483578" r:id="rId18"/>
    <p:sldId id="2147483579" r:id="rId19"/>
    <p:sldId id="2147483597" r:id="rId20"/>
    <p:sldId id="2147479200" r:id="rId21"/>
    <p:sldId id="2147483534" r:id="rId22"/>
    <p:sldId id="282" r:id="rId23"/>
    <p:sldId id="283" r:id="rId24"/>
    <p:sldId id="2147483584" r:id="rId25"/>
    <p:sldId id="2147483595" r:id="rId26"/>
    <p:sldId id="2147483596" r:id="rId27"/>
    <p:sldId id="2147483589" r:id="rId28"/>
    <p:sldId id="2147483535" r:id="rId29"/>
    <p:sldId id="284" r:id="rId30"/>
    <p:sldId id="2147483586" r:id="rId31"/>
    <p:sldId id="2147483587" r:id="rId32"/>
    <p:sldId id="2147483588" r:id="rId33"/>
    <p:sldId id="2147483594" r:id="rId34"/>
    <p:sldId id="2147479201" r:id="rId35"/>
    <p:sldId id="2147483582" r:id="rId36"/>
    <p:sldId id="2147483538" r:id="rId37"/>
    <p:sldId id="2147482224" r:id="rId38"/>
    <p:sldId id="2147482434" r:id="rId39"/>
    <p:sldId id="257" r:id="rId40"/>
    <p:sldId id="258" r:id="rId41"/>
    <p:sldId id="259" r:id="rId42"/>
    <p:sldId id="2147482433" r:id="rId43"/>
    <p:sldId id="2147483585" r:id="rId44"/>
    <p:sldId id="2147479194" r:id="rId45"/>
  </p:sldIdLst>
  <p:sldSz cx="12192000" cy="6858000"/>
  <p:notesSz cx="6858000" cy="91440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8F5808-AC2E-2E3D-3E6E-3C12767B693A}" name="Quentin Guillon" initials="QG" userId="Quentin Guillon" providerId="None"/>
  <p188:author id="{6237A625-E453-6D9F-F9EF-A90B5DF7ED9F}" name="Taylor Holroyd" initials="TH" userId="S::tholroyd@gavi.org::d7fafdde-bada-4ba5-9b5a-d8ce78356793" providerId="AD"/>
  <p188:author id="{D5844A30-E7A3-507D-A36A-97E1878AAD94}" name="Zahra Neshat" initials="ZN" userId="S::zneshat@gavi.org::439e0e09-934e-41d3-8f58-9cde050e5e13" providerId="AD"/>
  <p188:author id="{F62EA58C-9640-35CF-0284-43439C4DA2A8}" name="Albane De Gabrielli" initials="ADG" userId="S::agabrielli@gavi.org::6e69bd53-33e4-437e-8b5d-46868ad7b34f" providerId="AD"/>
  <p188:author id="{0A7C2390-F4A4-EBEE-0A87-65CDB6275A63}" name="Friederike Teutsch" initials="FT" userId="S::fteutsch@gavi.org::b1c99ed9-49ae-4f77-aaca-917ff73ec7e1" providerId="AD"/>
  <p188:author id="{9B529894-365C-1D7E-BCE3-6473717F6D65}" name="Seth Berkley" initials="SB" userId="S::sberkley@gavi.org::ecc41633-5f03-49d2-816f-96b1ac6aabe5" providerId="AD"/>
  <p188:author id="{EAA736A8-7287-CDC8-CC3D-FD47A28407E8}" name="Ombline Richard" initials="OR" userId="S::orichard@gavi.org::d6eff9f3-4750-45b3-bd6d-7423bae8e0e7" providerId="AD"/>
  <p188:author id="{23EF4DAB-93E1-C12A-6226-AA16FDC53DE6}" name="Benjamin Loevinsohn" initials="BL" userId="S::bloevinsohn@gavi.org::3fd68bd8-4090-4596-b03d-3de7b5dccbaa" providerId="AD"/>
  <p188:author id="{25CE62AC-0412-15B7-5B65-D78D205F1AA6}" name="George Messer (Consultant)" initials="" userId="S::gmesser@gavi.org::927a7d50-a11e-43cd-bbda-902c58a0e8e3" providerId="AD"/>
  <p188:author id="{07A170C0-02AB-DB3D-D77E-CBBF57FE6CE2}" name="Nathalie Salagnac" initials="NS" userId="S::nsalagnac@gavi.org::aad14fd6-fd67-40b1-addd-3a6c107d4a41" providerId="AD"/>
  <p188:author id="{B22747C4-3D18-7EFE-5345-957D97426A8A}" name="Amanda Fazzone Tschopp" initials="AFT" userId="S::afazzonetschopp@gavi.org::ac33803d-975a-48c6-8368-950b0a504ea3" providerId="AD"/>
  <p188:author id="{3AAA48CB-6CC1-EEF0-5CF8-78EDE46822FD}" name="Lizzie Noonan" initials="LN" userId="S::lnoonan@gavi.org::ae58915b-9fae-4254-8c0e-c48f9314703c" providerId="AD"/>
  <p188:author id="{EFF771CC-D4D4-FE7B-5CB5-E4BD786D70F1}" name="Hannah Burris" initials="HB" userId="S::hburris@gavi.org::9ebb13b7-7acc-4fda-b4bd-13aced0aea56" providerId="AD"/>
  <p188:author id="{838BF2DC-BD6D-B65C-C926-ED6CF9FF8AF3}" name="Alex de Jonquieres" initials="AdJ" userId="S::adejonquieres@gavi.org::30947daa-0adc-4200-b094-2a20d188ca30" providerId="AD"/>
  <p188:author id="{992179F0-2645-28F0-80F9-AC80767B874E}" name="Sally Dalgaard" initials="SD" userId="Sally Dalgaard" providerId="None"/>
  <p188:author id="{C9CCDAF0-3067-B135-138F-5B0EF5FDCCFE}" name="Rebekah McCosby (Consultant)" initials="RM" userId="S::rmccosby@gavi.org::abd6a7fd-42b1-4695-a551-d58f75cd5eb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E61452"/>
    <a:srgbClr val="898900"/>
    <a:srgbClr val="E6E6E6"/>
    <a:srgbClr val="00A1DF"/>
    <a:srgbClr val="F89B1D"/>
    <a:srgbClr val="DB4835"/>
    <a:srgbClr val="F87C56"/>
    <a:srgbClr val="C4F56E"/>
    <a:srgbClr val="002E5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ABC903-B1C3-4A58-9A3A-CC9B102F8451}" v="11" dt="2025-09-18T09:07:01.8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3" d="100"/>
          <a:sy n="73" d="100"/>
        </p:scale>
        <p:origin x="380" y="3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notesMaster" Target="notesMasters/notesMaster1.xml"/><Relationship Id="rId20" Type="http://schemas.openxmlformats.org/officeDocument/2006/relationships/slide" Target="slides/slide7.xml"/><Relationship Id="rId41" Type="http://schemas.openxmlformats.org/officeDocument/2006/relationships/slide" Target="slides/slide28.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presProps" Target="pres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5.png"/><Relationship Id="rId7" Type="http://schemas.openxmlformats.org/officeDocument/2006/relationships/image" Target="../media/image78.png"/><Relationship Id="rId2" Type="http://schemas.openxmlformats.org/officeDocument/2006/relationships/image" Target="../media/image74.svg"/><Relationship Id="rId1" Type="http://schemas.openxmlformats.org/officeDocument/2006/relationships/image" Target="../media/image73.png"/><Relationship Id="rId6" Type="http://schemas.openxmlformats.org/officeDocument/2006/relationships/image" Target="../media/image77.svg"/><Relationship Id="rId5" Type="http://schemas.openxmlformats.org/officeDocument/2006/relationships/image" Target="../media/image65.png"/><Relationship Id="rId10" Type="http://schemas.openxmlformats.org/officeDocument/2006/relationships/image" Target="../media/image81.svg"/><Relationship Id="rId4" Type="http://schemas.openxmlformats.org/officeDocument/2006/relationships/image" Target="../media/image76.svg"/><Relationship Id="rId9" Type="http://schemas.openxmlformats.org/officeDocument/2006/relationships/image" Target="../media/image80.png"/></Relationships>
</file>

<file path=ppt/diagrams/_rels/drawing1.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5.png"/><Relationship Id="rId7" Type="http://schemas.openxmlformats.org/officeDocument/2006/relationships/image" Target="../media/image78.png"/><Relationship Id="rId2" Type="http://schemas.openxmlformats.org/officeDocument/2006/relationships/image" Target="../media/image74.svg"/><Relationship Id="rId1" Type="http://schemas.openxmlformats.org/officeDocument/2006/relationships/image" Target="../media/image73.png"/><Relationship Id="rId6" Type="http://schemas.openxmlformats.org/officeDocument/2006/relationships/image" Target="../media/image77.svg"/><Relationship Id="rId5" Type="http://schemas.openxmlformats.org/officeDocument/2006/relationships/image" Target="../media/image65.png"/><Relationship Id="rId10" Type="http://schemas.openxmlformats.org/officeDocument/2006/relationships/image" Target="../media/image81.svg"/><Relationship Id="rId4" Type="http://schemas.openxmlformats.org/officeDocument/2006/relationships/image" Target="../media/image76.svg"/><Relationship Id="rId9" Type="http://schemas.openxmlformats.org/officeDocument/2006/relationships/image" Target="../media/image80.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4D25F2-137C-4803-9927-947C57BF5F4D}"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D702D26-F2CA-444D-A87C-BC420B20145C}">
      <dgm:prSet custT="1"/>
      <dgm:spPr/>
      <dgm:t>
        <a:bodyPr/>
        <a:lstStyle/>
        <a:p>
          <a:pPr>
            <a:lnSpc>
              <a:spcPct val="100000"/>
            </a:lnSpc>
          </a:pPr>
          <a:r>
            <a:rPr lang="en-US" sz="2400"/>
            <a:t>Gavi worked with 200+ CSOs – INGOs, local and community </a:t>
          </a:r>
          <a:r>
            <a:rPr lang="en-US" sz="2400" err="1"/>
            <a:t>organisations</a:t>
          </a:r>
          <a:endParaRPr lang="en-US" sz="2400"/>
        </a:p>
      </dgm:t>
    </dgm:pt>
    <dgm:pt modelId="{551AE939-5B5A-43A4-89AC-039C76774367}" type="parTrans" cxnId="{1F83A3AD-8ADE-40FD-A96A-53BD5B977441}">
      <dgm:prSet/>
      <dgm:spPr/>
      <dgm:t>
        <a:bodyPr/>
        <a:lstStyle/>
        <a:p>
          <a:endParaRPr lang="en-US" sz="2400"/>
        </a:p>
      </dgm:t>
    </dgm:pt>
    <dgm:pt modelId="{B4991406-B6A0-4E15-8AB1-89E3CF844013}" type="sibTrans" cxnId="{1F83A3AD-8ADE-40FD-A96A-53BD5B977441}">
      <dgm:prSet/>
      <dgm:spPr/>
      <dgm:t>
        <a:bodyPr/>
        <a:lstStyle/>
        <a:p>
          <a:endParaRPr lang="en-US" sz="2400"/>
        </a:p>
      </dgm:t>
    </dgm:pt>
    <dgm:pt modelId="{2B7DDDCC-9480-4B0C-8BC1-D9F9F4DAB2C8}">
      <dgm:prSet custT="1"/>
      <dgm:spPr/>
      <dgm:t>
        <a:bodyPr/>
        <a:lstStyle/>
        <a:p>
          <a:pPr>
            <a:lnSpc>
              <a:spcPct val="100000"/>
            </a:lnSpc>
          </a:pPr>
          <a:r>
            <a:rPr lang="en-US" sz="2400"/>
            <a:t>CSOs delivered services, built trust, outreach, mobile clinics, and supply</a:t>
          </a:r>
        </a:p>
      </dgm:t>
    </dgm:pt>
    <dgm:pt modelId="{7CE8BE95-0021-4EC5-8FDD-C3D6949C452B}" type="sibTrans" cxnId="{1BDB0FC7-6AFB-47E6-989F-6A6C594D5740}">
      <dgm:prSet/>
      <dgm:spPr/>
      <dgm:t>
        <a:bodyPr/>
        <a:lstStyle/>
        <a:p>
          <a:endParaRPr lang="en-US" sz="2400"/>
        </a:p>
      </dgm:t>
    </dgm:pt>
    <dgm:pt modelId="{DCF1DB0E-9D76-4D0C-8931-F201E5633CA5}" type="parTrans" cxnId="{1BDB0FC7-6AFB-47E6-989F-6A6C594D5740}">
      <dgm:prSet/>
      <dgm:spPr/>
      <dgm:t>
        <a:bodyPr/>
        <a:lstStyle/>
        <a:p>
          <a:endParaRPr lang="en-US" sz="2400"/>
        </a:p>
      </dgm:t>
    </dgm:pt>
    <dgm:pt modelId="{CBCC5005-5FEE-42C5-BCA3-C9FB2D7B1784}">
      <dgm:prSet custT="1"/>
      <dgm:spPr/>
      <dgm:t>
        <a:bodyPr/>
        <a:lstStyle/>
        <a:p>
          <a:pPr>
            <a:lnSpc>
              <a:spcPct val="100000"/>
            </a:lnSpc>
          </a:pPr>
          <a:r>
            <a:rPr lang="en-US" sz="2400"/>
            <a:t>Gov’t-led engagement, complemented by ZIP and other modalities, enabled reach</a:t>
          </a:r>
        </a:p>
      </dgm:t>
    </dgm:pt>
    <dgm:pt modelId="{E8CCCBA2-D08A-420C-A42E-2B6805FADFAC}" type="sibTrans" cxnId="{E9227B8D-1A64-4ADE-BF06-67C1D457F970}">
      <dgm:prSet/>
      <dgm:spPr/>
      <dgm:t>
        <a:bodyPr/>
        <a:lstStyle/>
        <a:p>
          <a:endParaRPr lang="en-US" sz="2400"/>
        </a:p>
      </dgm:t>
    </dgm:pt>
    <dgm:pt modelId="{9983CD5E-BDE8-4C9E-A268-13B176D3C050}" type="parTrans" cxnId="{E9227B8D-1A64-4ADE-BF06-67C1D457F970}">
      <dgm:prSet/>
      <dgm:spPr/>
      <dgm:t>
        <a:bodyPr/>
        <a:lstStyle/>
        <a:p>
          <a:endParaRPr lang="en-US" sz="2400"/>
        </a:p>
      </dgm:t>
    </dgm:pt>
    <dgm:pt modelId="{DB9CCD9C-6AFF-46BC-99B7-8AC643947F61}">
      <dgm:prSet custT="1"/>
      <dgm:spPr/>
      <dgm:t>
        <a:bodyPr/>
        <a:lstStyle/>
        <a:p>
          <a:pPr>
            <a:lnSpc>
              <a:spcPct val="100000"/>
            </a:lnSpc>
          </a:pPr>
          <a:r>
            <a:rPr lang="en-US" sz="2400"/>
            <a:t>Trusted intermediaries negotiated access and </a:t>
          </a:r>
          <a:r>
            <a:rPr lang="en-US" sz="2400" err="1"/>
            <a:t>mobilised</a:t>
          </a:r>
          <a:r>
            <a:rPr lang="en-US" sz="2400"/>
            <a:t> communities effectively</a:t>
          </a:r>
        </a:p>
      </dgm:t>
    </dgm:pt>
    <dgm:pt modelId="{127285EF-F2C5-4226-ADCC-746A7A4100C6}" type="sibTrans" cxnId="{74D29A4F-B4D6-41FE-AFE6-F269FEE17154}">
      <dgm:prSet/>
      <dgm:spPr/>
      <dgm:t>
        <a:bodyPr/>
        <a:lstStyle/>
        <a:p>
          <a:endParaRPr lang="en-US" sz="2400"/>
        </a:p>
      </dgm:t>
    </dgm:pt>
    <dgm:pt modelId="{3891981B-F897-4E97-A34A-ADFDEFAE9200}" type="parTrans" cxnId="{74D29A4F-B4D6-41FE-AFE6-F269FEE17154}">
      <dgm:prSet/>
      <dgm:spPr/>
      <dgm:t>
        <a:bodyPr/>
        <a:lstStyle/>
        <a:p>
          <a:endParaRPr lang="en-US" sz="2400"/>
        </a:p>
      </dgm:t>
    </dgm:pt>
    <dgm:pt modelId="{8C3FA887-CE44-488D-A346-97BE04A2A834}">
      <dgm:prSet custT="1"/>
      <dgm:spPr/>
      <dgm:t>
        <a:bodyPr/>
        <a:lstStyle/>
        <a:p>
          <a:pPr>
            <a:lnSpc>
              <a:spcPct val="100000"/>
            </a:lnSpc>
          </a:pPr>
          <a:r>
            <a:rPr lang="en-US" sz="2400"/>
            <a:t>Delivery often complex, requiring flexibility, sometimes higher costs, integration</a:t>
          </a:r>
        </a:p>
      </dgm:t>
    </dgm:pt>
    <dgm:pt modelId="{A43636F9-FFB5-4987-AA93-3653E9860DD5}" type="sibTrans" cxnId="{C5E42D24-0E1B-4606-B7B4-0E3621F96F85}">
      <dgm:prSet/>
      <dgm:spPr/>
      <dgm:t>
        <a:bodyPr/>
        <a:lstStyle/>
        <a:p>
          <a:endParaRPr lang="en-US" sz="2400"/>
        </a:p>
      </dgm:t>
    </dgm:pt>
    <dgm:pt modelId="{73C4B083-85D0-4C6D-BB15-CDF31C1B2B2C}" type="parTrans" cxnId="{C5E42D24-0E1B-4606-B7B4-0E3621F96F85}">
      <dgm:prSet/>
      <dgm:spPr/>
      <dgm:t>
        <a:bodyPr/>
        <a:lstStyle/>
        <a:p>
          <a:endParaRPr lang="en-US" sz="2400"/>
        </a:p>
      </dgm:t>
    </dgm:pt>
    <dgm:pt modelId="{A2D5A680-5793-4DD7-BD8A-9DFA87F499A7}" type="pres">
      <dgm:prSet presAssocID="{C64D25F2-137C-4803-9927-947C57BF5F4D}" presName="root" presStyleCnt="0">
        <dgm:presLayoutVars>
          <dgm:dir/>
          <dgm:resizeHandles val="exact"/>
        </dgm:presLayoutVars>
      </dgm:prSet>
      <dgm:spPr/>
    </dgm:pt>
    <dgm:pt modelId="{CF1228E8-D45E-4030-8833-25A073B64E99}" type="pres">
      <dgm:prSet presAssocID="{BD702D26-F2CA-444D-A87C-BC420B20145C}" presName="compNode" presStyleCnt="0"/>
      <dgm:spPr/>
    </dgm:pt>
    <dgm:pt modelId="{19D1CECE-D894-4B0E-A614-E58C471B82F8}" type="pres">
      <dgm:prSet presAssocID="{BD702D26-F2CA-444D-A87C-BC420B20145C}" presName="bgRect" presStyleLbl="bgShp" presStyleIdx="0" presStyleCnt="5"/>
      <dgm:spPr>
        <a:solidFill>
          <a:schemeClr val="tx2">
            <a:lumMod val="20000"/>
            <a:lumOff val="80000"/>
          </a:schemeClr>
        </a:solidFill>
      </dgm:spPr>
    </dgm:pt>
    <dgm:pt modelId="{20A40727-00DB-438E-8232-E3B20EB5C6F0}" type="pres">
      <dgm:prSet presAssocID="{BD702D26-F2CA-444D-A87C-BC420B20145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02501535-EEA5-4A7C-9CDB-2BC0052E1B1C}" type="pres">
      <dgm:prSet presAssocID="{BD702D26-F2CA-444D-A87C-BC420B20145C}" presName="spaceRect" presStyleCnt="0"/>
      <dgm:spPr/>
    </dgm:pt>
    <dgm:pt modelId="{1132C99E-F722-4A80-9A99-883846BC9739}" type="pres">
      <dgm:prSet presAssocID="{BD702D26-F2CA-444D-A87C-BC420B20145C}" presName="parTx" presStyleLbl="revTx" presStyleIdx="0" presStyleCnt="5">
        <dgm:presLayoutVars>
          <dgm:chMax val="0"/>
          <dgm:chPref val="0"/>
        </dgm:presLayoutVars>
      </dgm:prSet>
      <dgm:spPr/>
    </dgm:pt>
    <dgm:pt modelId="{CE8F929F-9AA8-4319-AD0B-08DB16BDD537}" type="pres">
      <dgm:prSet presAssocID="{B4991406-B6A0-4E15-8AB1-89E3CF844013}" presName="sibTrans" presStyleCnt="0"/>
      <dgm:spPr/>
    </dgm:pt>
    <dgm:pt modelId="{C13EB8D3-401C-4477-B114-E7C051F9953A}" type="pres">
      <dgm:prSet presAssocID="{2B7DDDCC-9480-4B0C-8BC1-D9F9F4DAB2C8}" presName="compNode" presStyleCnt="0"/>
      <dgm:spPr/>
    </dgm:pt>
    <dgm:pt modelId="{1AE10F61-8194-428C-8B45-63AF924ACA08}" type="pres">
      <dgm:prSet presAssocID="{2B7DDDCC-9480-4B0C-8BC1-D9F9F4DAB2C8}" presName="bgRect" presStyleLbl="bgShp" presStyleIdx="1" presStyleCnt="5"/>
      <dgm:spPr>
        <a:solidFill>
          <a:schemeClr val="tx2">
            <a:lumMod val="20000"/>
            <a:lumOff val="80000"/>
          </a:schemeClr>
        </a:solidFill>
      </dgm:spPr>
    </dgm:pt>
    <dgm:pt modelId="{81EF7430-EA30-4A6D-A111-D3EB98C6663A}" type="pres">
      <dgm:prSet presAssocID="{2B7DDDCC-9480-4B0C-8BC1-D9F9F4DAB2C8}"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Ambulance"/>
        </a:ext>
      </dgm:extLst>
    </dgm:pt>
    <dgm:pt modelId="{9B67DC1F-891B-446B-8114-819F1FE3051F}" type="pres">
      <dgm:prSet presAssocID="{2B7DDDCC-9480-4B0C-8BC1-D9F9F4DAB2C8}" presName="spaceRect" presStyleCnt="0"/>
      <dgm:spPr/>
    </dgm:pt>
    <dgm:pt modelId="{0C044C60-6C61-4A03-AD29-5CA4836349B2}" type="pres">
      <dgm:prSet presAssocID="{2B7DDDCC-9480-4B0C-8BC1-D9F9F4DAB2C8}" presName="parTx" presStyleLbl="revTx" presStyleIdx="1" presStyleCnt="5">
        <dgm:presLayoutVars>
          <dgm:chMax val="0"/>
          <dgm:chPref val="0"/>
        </dgm:presLayoutVars>
      </dgm:prSet>
      <dgm:spPr/>
    </dgm:pt>
    <dgm:pt modelId="{0023B5AC-AF40-4A57-881D-DE34C7F6F782}" type="pres">
      <dgm:prSet presAssocID="{7CE8BE95-0021-4EC5-8FDD-C3D6949C452B}" presName="sibTrans" presStyleCnt="0"/>
      <dgm:spPr/>
    </dgm:pt>
    <dgm:pt modelId="{056A9E5B-1184-427C-95A3-6A48FC469205}" type="pres">
      <dgm:prSet presAssocID="{CBCC5005-5FEE-42C5-BCA3-C9FB2D7B1784}" presName="compNode" presStyleCnt="0"/>
      <dgm:spPr/>
    </dgm:pt>
    <dgm:pt modelId="{1EC5230E-7E70-4B13-820B-4476D318BD9E}" type="pres">
      <dgm:prSet presAssocID="{CBCC5005-5FEE-42C5-BCA3-C9FB2D7B1784}" presName="bgRect" presStyleLbl="bgShp" presStyleIdx="2" presStyleCnt="5"/>
      <dgm:spPr>
        <a:solidFill>
          <a:schemeClr val="tx2">
            <a:lumMod val="20000"/>
            <a:lumOff val="80000"/>
          </a:schemeClr>
        </a:solidFill>
      </dgm:spPr>
    </dgm:pt>
    <dgm:pt modelId="{53F78F3C-F689-4E65-8A17-383426EF5ADC}" type="pres">
      <dgm:prSet presAssocID="{CBCC5005-5FEE-42C5-BCA3-C9FB2D7B1784}"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Needle"/>
        </a:ext>
      </dgm:extLst>
    </dgm:pt>
    <dgm:pt modelId="{71F9F274-5695-48FE-A182-8F0361FB3CA5}" type="pres">
      <dgm:prSet presAssocID="{CBCC5005-5FEE-42C5-BCA3-C9FB2D7B1784}" presName="spaceRect" presStyleCnt="0"/>
      <dgm:spPr/>
    </dgm:pt>
    <dgm:pt modelId="{C195B108-8C7F-4EE9-B9C4-0573DE201F5E}" type="pres">
      <dgm:prSet presAssocID="{CBCC5005-5FEE-42C5-BCA3-C9FB2D7B1784}" presName="parTx" presStyleLbl="revTx" presStyleIdx="2" presStyleCnt="5">
        <dgm:presLayoutVars>
          <dgm:chMax val="0"/>
          <dgm:chPref val="0"/>
        </dgm:presLayoutVars>
      </dgm:prSet>
      <dgm:spPr/>
    </dgm:pt>
    <dgm:pt modelId="{B8B9C13A-2DB7-42EA-AB01-C59C80DEF570}" type="pres">
      <dgm:prSet presAssocID="{E8CCCBA2-D08A-420C-A42E-2B6805FADFAC}" presName="sibTrans" presStyleCnt="0"/>
      <dgm:spPr/>
    </dgm:pt>
    <dgm:pt modelId="{DA3984D6-B42D-4ED6-AEFC-93C0B52A86C1}" type="pres">
      <dgm:prSet presAssocID="{DB9CCD9C-6AFF-46BC-99B7-8AC643947F61}" presName="compNode" presStyleCnt="0"/>
      <dgm:spPr/>
    </dgm:pt>
    <dgm:pt modelId="{D86CA6EC-C4E6-4EBF-8B79-747DC994B8A6}" type="pres">
      <dgm:prSet presAssocID="{DB9CCD9C-6AFF-46BC-99B7-8AC643947F61}" presName="bgRect" presStyleLbl="bgShp" presStyleIdx="3" presStyleCnt="5"/>
      <dgm:spPr>
        <a:solidFill>
          <a:schemeClr val="tx2">
            <a:lumMod val="20000"/>
            <a:lumOff val="80000"/>
          </a:schemeClr>
        </a:solidFill>
      </dgm:spPr>
    </dgm:pt>
    <dgm:pt modelId="{CB1077FA-BABF-4188-B09F-929BC58776E4}" type="pres">
      <dgm:prSet presAssocID="{DB9CCD9C-6AFF-46BC-99B7-8AC643947F61}"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egaphone"/>
        </a:ext>
      </dgm:extLst>
    </dgm:pt>
    <dgm:pt modelId="{8CA48053-9120-4B6F-B8E2-52ADFE1BA003}" type="pres">
      <dgm:prSet presAssocID="{DB9CCD9C-6AFF-46BC-99B7-8AC643947F61}" presName="spaceRect" presStyleCnt="0"/>
      <dgm:spPr/>
    </dgm:pt>
    <dgm:pt modelId="{B3ABCB18-F7AB-41BF-B8D5-D48335D0DC79}" type="pres">
      <dgm:prSet presAssocID="{DB9CCD9C-6AFF-46BC-99B7-8AC643947F61}" presName="parTx" presStyleLbl="revTx" presStyleIdx="3" presStyleCnt="5">
        <dgm:presLayoutVars>
          <dgm:chMax val="0"/>
          <dgm:chPref val="0"/>
        </dgm:presLayoutVars>
      </dgm:prSet>
      <dgm:spPr/>
    </dgm:pt>
    <dgm:pt modelId="{085BB458-4ADD-458F-9FCC-07AFA886B1E0}" type="pres">
      <dgm:prSet presAssocID="{127285EF-F2C5-4226-ADCC-746A7A4100C6}" presName="sibTrans" presStyleCnt="0"/>
      <dgm:spPr/>
    </dgm:pt>
    <dgm:pt modelId="{62807D33-4B8B-4B1A-AA6F-4765AE73A6BC}" type="pres">
      <dgm:prSet presAssocID="{8C3FA887-CE44-488D-A346-97BE04A2A834}" presName="compNode" presStyleCnt="0"/>
      <dgm:spPr/>
    </dgm:pt>
    <dgm:pt modelId="{79A2ABC8-1498-42A3-B4F3-17C3E90EB7AE}" type="pres">
      <dgm:prSet presAssocID="{8C3FA887-CE44-488D-A346-97BE04A2A834}" presName="bgRect" presStyleLbl="bgShp" presStyleIdx="4" presStyleCnt="5" custLinFactNeighborX="561" custLinFactNeighborY="-2921"/>
      <dgm:spPr>
        <a:solidFill>
          <a:schemeClr val="tx2">
            <a:lumMod val="20000"/>
            <a:lumOff val="80000"/>
          </a:schemeClr>
        </a:solidFill>
      </dgm:spPr>
    </dgm:pt>
    <dgm:pt modelId="{E2F24877-A7F5-4D1C-9F47-16525C557256}" type="pres">
      <dgm:prSet presAssocID="{8C3FA887-CE44-488D-A346-97BE04A2A834}" presName="iconRect" presStyleLbl="node1" presStyleIdx="4" presStyleCnt="5"/>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Group of people with solid fill"/>
        </a:ext>
      </dgm:extLst>
    </dgm:pt>
    <dgm:pt modelId="{4623B145-F07E-4168-B385-072E0BB5E28C}" type="pres">
      <dgm:prSet presAssocID="{8C3FA887-CE44-488D-A346-97BE04A2A834}" presName="spaceRect" presStyleCnt="0"/>
      <dgm:spPr/>
    </dgm:pt>
    <dgm:pt modelId="{9C5CB7DD-A0F5-4FA0-A47C-37AED086429B}" type="pres">
      <dgm:prSet presAssocID="{8C3FA887-CE44-488D-A346-97BE04A2A834}" presName="parTx" presStyleLbl="revTx" presStyleIdx="4" presStyleCnt="5">
        <dgm:presLayoutVars>
          <dgm:chMax val="0"/>
          <dgm:chPref val="0"/>
        </dgm:presLayoutVars>
      </dgm:prSet>
      <dgm:spPr/>
    </dgm:pt>
  </dgm:ptLst>
  <dgm:cxnLst>
    <dgm:cxn modelId="{C5E42D24-0E1B-4606-B7B4-0E3621F96F85}" srcId="{C64D25F2-137C-4803-9927-947C57BF5F4D}" destId="{8C3FA887-CE44-488D-A346-97BE04A2A834}" srcOrd="4" destOrd="0" parTransId="{73C4B083-85D0-4C6D-BB15-CDF31C1B2B2C}" sibTransId="{A43636F9-FFB5-4987-AA93-3653E9860DD5}"/>
    <dgm:cxn modelId="{74D29A4F-B4D6-41FE-AFE6-F269FEE17154}" srcId="{C64D25F2-137C-4803-9927-947C57BF5F4D}" destId="{DB9CCD9C-6AFF-46BC-99B7-8AC643947F61}" srcOrd="3" destOrd="0" parTransId="{3891981B-F897-4E97-A34A-ADFDEFAE9200}" sibTransId="{127285EF-F2C5-4226-ADCC-746A7A4100C6}"/>
    <dgm:cxn modelId="{D6BDBF84-C5BE-4CD7-9B38-38534FBE05E0}" type="presOf" srcId="{CBCC5005-5FEE-42C5-BCA3-C9FB2D7B1784}" destId="{C195B108-8C7F-4EE9-B9C4-0573DE201F5E}" srcOrd="0" destOrd="0" presId="urn:microsoft.com/office/officeart/2018/2/layout/IconVerticalSolidList"/>
    <dgm:cxn modelId="{6CE79488-4750-4D1F-8568-D54D2EE16D59}" type="presOf" srcId="{8C3FA887-CE44-488D-A346-97BE04A2A834}" destId="{9C5CB7DD-A0F5-4FA0-A47C-37AED086429B}" srcOrd="0" destOrd="0" presId="urn:microsoft.com/office/officeart/2018/2/layout/IconVerticalSolidList"/>
    <dgm:cxn modelId="{E9227B8D-1A64-4ADE-BF06-67C1D457F970}" srcId="{C64D25F2-137C-4803-9927-947C57BF5F4D}" destId="{CBCC5005-5FEE-42C5-BCA3-C9FB2D7B1784}" srcOrd="2" destOrd="0" parTransId="{9983CD5E-BDE8-4C9E-A268-13B176D3C050}" sibTransId="{E8CCCBA2-D08A-420C-A42E-2B6805FADFAC}"/>
    <dgm:cxn modelId="{9DA075A6-7172-4B96-9792-6B7256995D1D}" type="presOf" srcId="{2B7DDDCC-9480-4B0C-8BC1-D9F9F4DAB2C8}" destId="{0C044C60-6C61-4A03-AD29-5CA4836349B2}" srcOrd="0" destOrd="0" presId="urn:microsoft.com/office/officeart/2018/2/layout/IconVerticalSolidList"/>
    <dgm:cxn modelId="{405535A7-F216-45BD-9B2F-8E92856DC311}" type="presOf" srcId="{DB9CCD9C-6AFF-46BC-99B7-8AC643947F61}" destId="{B3ABCB18-F7AB-41BF-B8D5-D48335D0DC79}" srcOrd="0" destOrd="0" presId="urn:microsoft.com/office/officeart/2018/2/layout/IconVerticalSolidList"/>
    <dgm:cxn modelId="{1F83A3AD-8ADE-40FD-A96A-53BD5B977441}" srcId="{C64D25F2-137C-4803-9927-947C57BF5F4D}" destId="{BD702D26-F2CA-444D-A87C-BC420B20145C}" srcOrd="0" destOrd="0" parTransId="{551AE939-5B5A-43A4-89AC-039C76774367}" sibTransId="{B4991406-B6A0-4E15-8AB1-89E3CF844013}"/>
    <dgm:cxn modelId="{D1343BB3-8753-4C18-9271-B47F9C633E10}" type="presOf" srcId="{BD702D26-F2CA-444D-A87C-BC420B20145C}" destId="{1132C99E-F722-4A80-9A99-883846BC9739}" srcOrd="0" destOrd="0" presId="urn:microsoft.com/office/officeart/2018/2/layout/IconVerticalSolidList"/>
    <dgm:cxn modelId="{1BDB0FC7-6AFB-47E6-989F-6A6C594D5740}" srcId="{C64D25F2-137C-4803-9927-947C57BF5F4D}" destId="{2B7DDDCC-9480-4B0C-8BC1-D9F9F4DAB2C8}" srcOrd="1" destOrd="0" parTransId="{DCF1DB0E-9D76-4D0C-8931-F201E5633CA5}" sibTransId="{7CE8BE95-0021-4EC5-8FDD-C3D6949C452B}"/>
    <dgm:cxn modelId="{CE983AFF-5F82-4426-ABF4-2E40A13C657C}" type="presOf" srcId="{C64D25F2-137C-4803-9927-947C57BF5F4D}" destId="{A2D5A680-5793-4DD7-BD8A-9DFA87F499A7}" srcOrd="0" destOrd="0" presId="urn:microsoft.com/office/officeart/2018/2/layout/IconVerticalSolidList"/>
    <dgm:cxn modelId="{954F21A1-337D-48F4-BC56-55EAD8517853}" type="presParOf" srcId="{A2D5A680-5793-4DD7-BD8A-9DFA87F499A7}" destId="{CF1228E8-D45E-4030-8833-25A073B64E99}" srcOrd="0" destOrd="0" presId="urn:microsoft.com/office/officeart/2018/2/layout/IconVerticalSolidList"/>
    <dgm:cxn modelId="{7B97BEEC-9A36-4A4E-84CB-63280348EBC4}" type="presParOf" srcId="{CF1228E8-D45E-4030-8833-25A073B64E99}" destId="{19D1CECE-D894-4B0E-A614-E58C471B82F8}" srcOrd="0" destOrd="0" presId="urn:microsoft.com/office/officeart/2018/2/layout/IconVerticalSolidList"/>
    <dgm:cxn modelId="{24990A71-D72D-4EF7-96E4-8CB6DFC14531}" type="presParOf" srcId="{CF1228E8-D45E-4030-8833-25A073B64E99}" destId="{20A40727-00DB-438E-8232-E3B20EB5C6F0}" srcOrd="1" destOrd="0" presId="urn:microsoft.com/office/officeart/2018/2/layout/IconVerticalSolidList"/>
    <dgm:cxn modelId="{DDA55A33-7F78-4E30-98EC-41E4A6DD9E3B}" type="presParOf" srcId="{CF1228E8-D45E-4030-8833-25A073B64E99}" destId="{02501535-EEA5-4A7C-9CDB-2BC0052E1B1C}" srcOrd="2" destOrd="0" presId="urn:microsoft.com/office/officeart/2018/2/layout/IconVerticalSolidList"/>
    <dgm:cxn modelId="{B7B1C579-EBCA-4C4D-A046-5BD0E356AF8C}" type="presParOf" srcId="{CF1228E8-D45E-4030-8833-25A073B64E99}" destId="{1132C99E-F722-4A80-9A99-883846BC9739}" srcOrd="3" destOrd="0" presId="urn:microsoft.com/office/officeart/2018/2/layout/IconVerticalSolidList"/>
    <dgm:cxn modelId="{48BD5E00-2BB0-458F-9BCC-183E4D3B6F12}" type="presParOf" srcId="{A2D5A680-5793-4DD7-BD8A-9DFA87F499A7}" destId="{CE8F929F-9AA8-4319-AD0B-08DB16BDD537}" srcOrd="1" destOrd="0" presId="urn:microsoft.com/office/officeart/2018/2/layout/IconVerticalSolidList"/>
    <dgm:cxn modelId="{D5154916-BC48-4178-86D3-62BC4548E41B}" type="presParOf" srcId="{A2D5A680-5793-4DD7-BD8A-9DFA87F499A7}" destId="{C13EB8D3-401C-4477-B114-E7C051F9953A}" srcOrd="2" destOrd="0" presId="urn:microsoft.com/office/officeart/2018/2/layout/IconVerticalSolidList"/>
    <dgm:cxn modelId="{1A2861FD-6CB1-4F7E-9DA4-F2716F7D71DC}" type="presParOf" srcId="{C13EB8D3-401C-4477-B114-E7C051F9953A}" destId="{1AE10F61-8194-428C-8B45-63AF924ACA08}" srcOrd="0" destOrd="0" presId="urn:microsoft.com/office/officeart/2018/2/layout/IconVerticalSolidList"/>
    <dgm:cxn modelId="{D73DA61A-F4D5-4D3E-90D4-58AB86512896}" type="presParOf" srcId="{C13EB8D3-401C-4477-B114-E7C051F9953A}" destId="{81EF7430-EA30-4A6D-A111-D3EB98C6663A}" srcOrd="1" destOrd="0" presId="urn:microsoft.com/office/officeart/2018/2/layout/IconVerticalSolidList"/>
    <dgm:cxn modelId="{AF355CAA-9710-418A-8A31-94A5B2B88CCB}" type="presParOf" srcId="{C13EB8D3-401C-4477-B114-E7C051F9953A}" destId="{9B67DC1F-891B-446B-8114-819F1FE3051F}" srcOrd="2" destOrd="0" presId="urn:microsoft.com/office/officeart/2018/2/layout/IconVerticalSolidList"/>
    <dgm:cxn modelId="{A71E894F-72F7-4CF8-B107-B5344A45E6E4}" type="presParOf" srcId="{C13EB8D3-401C-4477-B114-E7C051F9953A}" destId="{0C044C60-6C61-4A03-AD29-5CA4836349B2}" srcOrd="3" destOrd="0" presId="urn:microsoft.com/office/officeart/2018/2/layout/IconVerticalSolidList"/>
    <dgm:cxn modelId="{383BBCFE-E1B8-4C7A-8AF4-1C4B8E30CADD}" type="presParOf" srcId="{A2D5A680-5793-4DD7-BD8A-9DFA87F499A7}" destId="{0023B5AC-AF40-4A57-881D-DE34C7F6F782}" srcOrd="3" destOrd="0" presId="urn:microsoft.com/office/officeart/2018/2/layout/IconVerticalSolidList"/>
    <dgm:cxn modelId="{1191440D-D12B-4E3A-A0E9-8C19422E8C81}" type="presParOf" srcId="{A2D5A680-5793-4DD7-BD8A-9DFA87F499A7}" destId="{056A9E5B-1184-427C-95A3-6A48FC469205}" srcOrd="4" destOrd="0" presId="urn:microsoft.com/office/officeart/2018/2/layout/IconVerticalSolidList"/>
    <dgm:cxn modelId="{DCCA6127-3B8D-4CB9-8E7D-2F6647AC8B50}" type="presParOf" srcId="{056A9E5B-1184-427C-95A3-6A48FC469205}" destId="{1EC5230E-7E70-4B13-820B-4476D318BD9E}" srcOrd="0" destOrd="0" presId="urn:microsoft.com/office/officeart/2018/2/layout/IconVerticalSolidList"/>
    <dgm:cxn modelId="{1F6CA525-C6C5-486A-A5EB-ABADF4138D11}" type="presParOf" srcId="{056A9E5B-1184-427C-95A3-6A48FC469205}" destId="{53F78F3C-F689-4E65-8A17-383426EF5ADC}" srcOrd="1" destOrd="0" presId="urn:microsoft.com/office/officeart/2018/2/layout/IconVerticalSolidList"/>
    <dgm:cxn modelId="{20274FD1-7D24-42A8-92B4-D745A3FAEEC3}" type="presParOf" srcId="{056A9E5B-1184-427C-95A3-6A48FC469205}" destId="{71F9F274-5695-48FE-A182-8F0361FB3CA5}" srcOrd="2" destOrd="0" presId="urn:microsoft.com/office/officeart/2018/2/layout/IconVerticalSolidList"/>
    <dgm:cxn modelId="{598C0204-8F1F-4BDD-9D86-38018ECEA90A}" type="presParOf" srcId="{056A9E5B-1184-427C-95A3-6A48FC469205}" destId="{C195B108-8C7F-4EE9-B9C4-0573DE201F5E}" srcOrd="3" destOrd="0" presId="urn:microsoft.com/office/officeart/2018/2/layout/IconVerticalSolidList"/>
    <dgm:cxn modelId="{2022B182-43E7-422D-9001-43ED15722C8F}" type="presParOf" srcId="{A2D5A680-5793-4DD7-BD8A-9DFA87F499A7}" destId="{B8B9C13A-2DB7-42EA-AB01-C59C80DEF570}" srcOrd="5" destOrd="0" presId="urn:microsoft.com/office/officeart/2018/2/layout/IconVerticalSolidList"/>
    <dgm:cxn modelId="{503CBB76-DBE5-4804-93A4-42D37E416124}" type="presParOf" srcId="{A2D5A680-5793-4DD7-BD8A-9DFA87F499A7}" destId="{DA3984D6-B42D-4ED6-AEFC-93C0B52A86C1}" srcOrd="6" destOrd="0" presId="urn:microsoft.com/office/officeart/2018/2/layout/IconVerticalSolidList"/>
    <dgm:cxn modelId="{80889981-9C33-4427-9BDA-C6A0CE1EEB6C}" type="presParOf" srcId="{DA3984D6-B42D-4ED6-AEFC-93C0B52A86C1}" destId="{D86CA6EC-C4E6-4EBF-8B79-747DC994B8A6}" srcOrd="0" destOrd="0" presId="urn:microsoft.com/office/officeart/2018/2/layout/IconVerticalSolidList"/>
    <dgm:cxn modelId="{A45C074B-559B-4268-8C15-4A25EF0935AE}" type="presParOf" srcId="{DA3984D6-B42D-4ED6-AEFC-93C0B52A86C1}" destId="{CB1077FA-BABF-4188-B09F-929BC58776E4}" srcOrd="1" destOrd="0" presId="urn:microsoft.com/office/officeart/2018/2/layout/IconVerticalSolidList"/>
    <dgm:cxn modelId="{69BBCAF3-09A0-452E-9B17-F73768D5B22C}" type="presParOf" srcId="{DA3984D6-B42D-4ED6-AEFC-93C0B52A86C1}" destId="{8CA48053-9120-4B6F-B8E2-52ADFE1BA003}" srcOrd="2" destOrd="0" presId="urn:microsoft.com/office/officeart/2018/2/layout/IconVerticalSolidList"/>
    <dgm:cxn modelId="{FFB3239C-0792-4093-8C94-9E267811CFDC}" type="presParOf" srcId="{DA3984D6-B42D-4ED6-AEFC-93C0B52A86C1}" destId="{B3ABCB18-F7AB-41BF-B8D5-D48335D0DC79}" srcOrd="3" destOrd="0" presId="urn:microsoft.com/office/officeart/2018/2/layout/IconVerticalSolidList"/>
    <dgm:cxn modelId="{6513DBA6-FAE2-4685-90B0-9B4D80988A3F}" type="presParOf" srcId="{A2D5A680-5793-4DD7-BD8A-9DFA87F499A7}" destId="{085BB458-4ADD-458F-9FCC-07AFA886B1E0}" srcOrd="7" destOrd="0" presId="urn:microsoft.com/office/officeart/2018/2/layout/IconVerticalSolidList"/>
    <dgm:cxn modelId="{D6B4CEB8-9E9B-491C-B193-7989CE4E2AD2}" type="presParOf" srcId="{A2D5A680-5793-4DD7-BD8A-9DFA87F499A7}" destId="{62807D33-4B8B-4B1A-AA6F-4765AE73A6BC}" srcOrd="8" destOrd="0" presId="urn:microsoft.com/office/officeart/2018/2/layout/IconVerticalSolidList"/>
    <dgm:cxn modelId="{AC9A7EB8-3EA5-43CC-8325-49A7629B5069}" type="presParOf" srcId="{62807D33-4B8B-4B1A-AA6F-4765AE73A6BC}" destId="{79A2ABC8-1498-42A3-B4F3-17C3E90EB7AE}" srcOrd="0" destOrd="0" presId="urn:microsoft.com/office/officeart/2018/2/layout/IconVerticalSolidList"/>
    <dgm:cxn modelId="{89C93326-35E9-451D-A39B-0050DC98B15A}" type="presParOf" srcId="{62807D33-4B8B-4B1A-AA6F-4765AE73A6BC}" destId="{E2F24877-A7F5-4D1C-9F47-16525C557256}" srcOrd="1" destOrd="0" presId="urn:microsoft.com/office/officeart/2018/2/layout/IconVerticalSolidList"/>
    <dgm:cxn modelId="{5D271B02-2E2F-4F67-9E04-F200AA60FE1C}" type="presParOf" srcId="{62807D33-4B8B-4B1A-AA6F-4765AE73A6BC}" destId="{4623B145-F07E-4168-B385-072E0BB5E28C}" srcOrd="2" destOrd="0" presId="urn:microsoft.com/office/officeart/2018/2/layout/IconVerticalSolidList"/>
    <dgm:cxn modelId="{3BD73E1A-F5F4-4BFE-A486-3D20836846D6}" type="presParOf" srcId="{62807D33-4B8B-4B1A-AA6F-4765AE73A6BC}" destId="{9C5CB7DD-A0F5-4FA0-A47C-37AED086429B}"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D1CECE-D894-4B0E-A614-E58C471B82F8}">
      <dsp:nvSpPr>
        <dsp:cNvPr id="0" name=""/>
        <dsp:cNvSpPr/>
      </dsp:nvSpPr>
      <dsp:spPr>
        <a:xfrm>
          <a:off x="0" y="3414"/>
          <a:ext cx="11153775" cy="727259"/>
        </a:xfrm>
        <a:prstGeom prst="roundRect">
          <a:avLst>
            <a:gd name="adj" fmla="val 1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dsp:style>
    </dsp:sp>
    <dsp:sp modelId="{20A40727-00DB-438E-8232-E3B20EB5C6F0}">
      <dsp:nvSpPr>
        <dsp:cNvPr id="0" name=""/>
        <dsp:cNvSpPr/>
      </dsp:nvSpPr>
      <dsp:spPr>
        <a:xfrm>
          <a:off x="219996" y="167047"/>
          <a:ext cx="399992" cy="39999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132C99E-F722-4A80-9A99-883846BC9739}">
      <dsp:nvSpPr>
        <dsp:cNvPr id="0" name=""/>
        <dsp:cNvSpPr/>
      </dsp:nvSpPr>
      <dsp:spPr>
        <a:xfrm>
          <a:off x="839985" y="3414"/>
          <a:ext cx="10313789" cy="7272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68" tIns="76968" rIns="76968" bIns="76968" numCol="1" spcCol="1270" anchor="ctr" anchorCtr="0">
          <a:noAutofit/>
        </a:bodyPr>
        <a:lstStyle/>
        <a:p>
          <a:pPr marL="0" lvl="0" indent="0" algn="l" defTabSz="1066800">
            <a:lnSpc>
              <a:spcPct val="100000"/>
            </a:lnSpc>
            <a:spcBef>
              <a:spcPct val="0"/>
            </a:spcBef>
            <a:spcAft>
              <a:spcPct val="35000"/>
            </a:spcAft>
            <a:buNone/>
          </a:pPr>
          <a:r>
            <a:rPr lang="en-US" sz="2400" kern="1200"/>
            <a:t>Gavi worked with 200+ CSOs – INGOs, local and community </a:t>
          </a:r>
          <a:r>
            <a:rPr lang="en-US" sz="2400" kern="1200" err="1"/>
            <a:t>organisations</a:t>
          </a:r>
          <a:endParaRPr lang="en-US" sz="2400" kern="1200"/>
        </a:p>
      </dsp:txBody>
      <dsp:txXfrm>
        <a:off x="839985" y="3414"/>
        <a:ext cx="10313789" cy="727259"/>
      </dsp:txXfrm>
    </dsp:sp>
    <dsp:sp modelId="{1AE10F61-8194-428C-8B45-63AF924ACA08}">
      <dsp:nvSpPr>
        <dsp:cNvPr id="0" name=""/>
        <dsp:cNvSpPr/>
      </dsp:nvSpPr>
      <dsp:spPr>
        <a:xfrm>
          <a:off x="0" y="912489"/>
          <a:ext cx="11153775" cy="727259"/>
        </a:xfrm>
        <a:prstGeom prst="roundRect">
          <a:avLst>
            <a:gd name="adj" fmla="val 1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dsp:style>
    </dsp:sp>
    <dsp:sp modelId="{81EF7430-EA30-4A6D-A111-D3EB98C6663A}">
      <dsp:nvSpPr>
        <dsp:cNvPr id="0" name=""/>
        <dsp:cNvSpPr/>
      </dsp:nvSpPr>
      <dsp:spPr>
        <a:xfrm>
          <a:off x="219996" y="1076122"/>
          <a:ext cx="399992" cy="39999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C044C60-6C61-4A03-AD29-5CA4836349B2}">
      <dsp:nvSpPr>
        <dsp:cNvPr id="0" name=""/>
        <dsp:cNvSpPr/>
      </dsp:nvSpPr>
      <dsp:spPr>
        <a:xfrm>
          <a:off x="839985" y="912489"/>
          <a:ext cx="10313789" cy="7272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68" tIns="76968" rIns="76968" bIns="76968" numCol="1" spcCol="1270" anchor="ctr" anchorCtr="0">
          <a:noAutofit/>
        </a:bodyPr>
        <a:lstStyle/>
        <a:p>
          <a:pPr marL="0" lvl="0" indent="0" algn="l" defTabSz="1066800">
            <a:lnSpc>
              <a:spcPct val="100000"/>
            </a:lnSpc>
            <a:spcBef>
              <a:spcPct val="0"/>
            </a:spcBef>
            <a:spcAft>
              <a:spcPct val="35000"/>
            </a:spcAft>
            <a:buNone/>
          </a:pPr>
          <a:r>
            <a:rPr lang="en-US" sz="2400" kern="1200"/>
            <a:t>CSOs delivered services, built trust, outreach, mobile clinics, and supply</a:t>
          </a:r>
        </a:p>
      </dsp:txBody>
      <dsp:txXfrm>
        <a:off x="839985" y="912489"/>
        <a:ext cx="10313789" cy="727259"/>
      </dsp:txXfrm>
    </dsp:sp>
    <dsp:sp modelId="{1EC5230E-7E70-4B13-820B-4476D318BD9E}">
      <dsp:nvSpPr>
        <dsp:cNvPr id="0" name=""/>
        <dsp:cNvSpPr/>
      </dsp:nvSpPr>
      <dsp:spPr>
        <a:xfrm>
          <a:off x="0" y="1821564"/>
          <a:ext cx="11153775" cy="727259"/>
        </a:xfrm>
        <a:prstGeom prst="roundRect">
          <a:avLst>
            <a:gd name="adj" fmla="val 1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dsp:style>
    </dsp:sp>
    <dsp:sp modelId="{53F78F3C-F689-4E65-8A17-383426EF5ADC}">
      <dsp:nvSpPr>
        <dsp:cNvPr id="0" name=""/>
        <dsp:cNvSpPr/>
      </dsp:nvSpPr>
      <dsp:spPr>
        <a:xfrm>
          <a:off x="219996" y="1985197"/>
          <a:ext cx="399992" cy="39999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195B108-8C7F-4EE9-B9C4-0573DE201F5E}">
      <dsp:nvSpPr>
        <dsp:cNvPr id="0" name=""/>
        <dsp:cNvSpPr/>
      </dsp:nvSpPr>
      <dsp:spPr>
        <a:xfrm>
          <a:off x="839985" y="1821564"/>
          <a:ext cx="10313789" cy="7272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68" tIns="76968" rIns="76968" bIns="76968" numCol="1" spcCol="1270" anchor="ctr" anchorCtr="0">
          <a:noAutofit/>
        </a:bodyPr>
        <a:lstStyle/>
        <a:p>
          <a:pPr marL="0" lvl="0" indent="0" algn="l" defTabSz="1066800">
            <a:lnSpc>
              <a:spcPct val="100000"/>
            </a:lnSpc>
            <a:spcBef>
              <a:spcPct val="0"/>
            </a:spcBef>
            <a:spcAft>
              <a:spcPct val="35000"/>
            </a:spcAft>
            <a:buNone/>
          </a:pPr>
          <a:r>
            <a:rPr lang="en-US" sz="2400" kern="1200"/>
            <a:t>Gov’t-led engagement, complemented by ZIP and other modalities, enabled reach</a:t>
          </a:r>
        </a:p>
      </dsp:txBody>
      <dsp:txXfrm>
        <a:off x="839985" y="1821564"/>
        <a:ext cx="10313789" cy="727259"/>
      </dsp:txXfrm>
    </dsp:sp>
    <dsp:sp modelId="{D86CA6EC-C4E6-4EBF-8B79-747DC994B8A6}">
      <dsp:nvSpPr>
        <dsp:cNvPr id="0" name=""/>
        <dsp:cNvSpPr/>
      </dsp:nvSpPr>
      <dsp:spPr>
        <a:xfrm>
          <a:off x="0" y="2730638"/>
          <a:ext cx="11153775" cy="727259"/>
        </a:xfrm>
        <a:prstGeom prst="roundRect">
          <a:avLst>
            <a:gd name="adj" fmla="val 1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dsp:style>
    </dsp:sp>
    <dsp:sp modelId="{CB1077FA-BABF-4188-B09F-929BC58776E4}">
      <dsp:nvSpPr>
        <dsp:cNvPr id="0" name=""/>
        <dsp:cNvSpPr/>
      </dsp:nvSpPr>
      <dsp:spPr>
        <a:xfrm>
          <a:off x="219996" y="2894272"/>
          <a:ext cx="399992" cy="39999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3ABCB18-F7AB-41BF-B8D5-D48335D0DC79}">
      <dsp:nvSpPr>
        <dsp:cNvPr id="0" name=""/>
        <dsp:cNvSpPr/>
      </dsp:nvSpPr>
      <dsp:spPr>
        <a:xfrm>
          <a:off x="839985" y="2730638"/>
          <a:ext cx="10313789" cy="7272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68" tIns="76968" rIns="76968" bIns="76968" numCol="1" spcCol="1270" anchor="ctr" anchorCtr="0">
          <a:noAutofit/>
        </a:bodyPr>
        <a:lstStyle/>
        <a:p>
          <a:pPr marL="0" lvl="0" indent="0" algn="l" defTabSz="1066800">
            <a:lnSpc>
              <a:spcPct val="100000"/>
            </a:lnSpc>
            <a:spcBef>
              <a:spcPct val="0"/>
            </a:spcBef>
            <a:spcAft>
              <a:spcPct val="35000"/>
            </a:spcAft>
            <a:buNone/>
          </a:pPr>
          <a:r>
            <a:rPr lang="en-US" sz="2400" kern="1200"/>
            <a:t>Trusted intermediaries negotiated access and </a:t>
          </a:r>
          <a:r>
            <a:rPr lang="en-US" sz="2400" kern="1200" err="1"/>
            <a:t>mobilised</a:t>
          </a:r>
          <a:r>
            <a:rPr lang="en-US" sz="2400" kern="1200"/>
            <a:t> communities effectively</a:t>
          </a:r>
        </a:p>
      </dsp:txBody>
      <dsp:txXfrm>
        <a:off x="839985" y="2730638"/>
        <a:ext cx="10313789" cy="727259"/>
      </dsp:txXfrm>
    </dsp:sp>
    <dsp:sp modelId="{79A2ABC8-1498-42A3-B4F3-17C3E90EB7AE}">
      <dsp:nvSpPr>
        <dsp:cNvPr id="0" name=""/>
        <dsp:cNvSpPr/>
      </dsp:nvSpPr>
      <dsp:spPr>
        <a:xfrm>
          <a:off x="0" y="3618470"/>
          <a:ext cx="11153775" cy="727259"/>
        </a:xfrm>
        <a:prstGeom prst="roundRect">
          <a:avLst>
            <a:gd name="adj" fmla="val 1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dsp:style>
    </dsp:sp>
    <dsp:sp modelId="{E2F24877-A7F5-4D1C-9F47-16525C557256}">
      <dsp:nvSpPr>
        <dsp:cNvPr id="0" name=""/>
        <dsp:cNvSpPr/>
      </dsp:nvSpPr>
      <dsp:spPr>
        <a:xfrm>
          <a:off x="219996" y="3803347"/>
          <a:ext cx="399992" cy="399992"/>
        </a:xfrm>
        <a:prstGeom prst="rect">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C5CB7DD-A0F5-4FA0-A47C-37AED086429B}">
      <dsp:nvSpPr>
        <dsp:cNvPr id="0" name=""/>
        <dsp:cNvSpPr/>
      </dsp:nvSpPr>
      <dsp:spPr>
        <a:xfrm>
          <a:off x="839985" y="3639713"/>
          <a:ext cx="10313789" cy="7272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68" tIns="76968" rIns="76968" bIns="76968" numCol="1" spcCol="1270" anchor="ctr" anchorCtr="0">
          <a:noAutofit/>
        </a:bodyPr>
        <a:lstStyle/>
        <a:p>
          <a:pPr marL="0" lvl="0" indent="0" algn="l" defTabSz="1066800">
            <a:lnSpc>
              <a:spcPct val="100000"/>
            </a:lnSpc>
            <a:spcBef>
              <a:spcPct val="0"/>
            </a:spcBef>
            <a:spcAft>
              <a:spcPct val="35000"/>
            </a:spcAft>
            <a:buNone/>
          </a:pPr>
          <a:r>
            <a:rPr lang="en-US" sz="2400" kern="1200"/>
            <a:t>Delivery often complex, requiring flexibility, sometimes higher costs, integration</a:t>
          </a:r>
        </a:p>
      </dsp:txBody>
      <dsp:txXfrm>
        <a:off x="839985" y="3639713"/>
        <a:ext cx="10313789" cy="72725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EAE5B8-1887-744D-B3C4-E3B6006B5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Arial" panose="020B0604020202020204" pitchFamily="34" charset="0"/>
            </a:endParaRPr>
          </a:p>
        </p:txBody>
      </p:sp>
      <p:sp>
        <p:nvSpPr>
          <p:cNvPr id="4" name="Footer Placeholder 3">
            <a:extLst>
              <a:ext uri="{FF2B5EF4-FFF2-40B4-BE49-F238E27FC236}">
                <a16:creationId xmlns:a16="http://schemas.microsoft.com/office/drawing/2014/main" id="{64E8A97F-06D7-884B-8B46-968602B43C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Arial" panose="020B0604020202020204" pitchFamily="34" charset="0"/>
            </a:endParaRPr>
          </a:p>
        </p:txBody>
      </p:sp>
      <p:sp>
        <p:nvSpPr>
          <p:cNvPr id="5" name="Slide Number Placeholder 4">
            <a:extLst>
              <a:ext uri="{FF2B5EF4-FFF2-40B4-BE49-F238E27FC236}">
                <a16:creationId xmlns:a16="http://schemas.microsoft.com/office/drawing/2014/main" id="{9455DCC0-6116-C243-966D-E1A927F582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C2D543-721A-CF4A-A41A-C589B71FF5FE}" type="slidenum">
              <a:rPr lang="en-GB" smtClean="0">
                <a:latin typeface="Arial" panose="020B0604020202020204" pitchFamily="34" charset="0"/>
              </a:rPr>
              <a:t>‹#›</a:t>
            </a:fld>
            <a:endParaRPr lang="en-GB">
              <a:latin typeface="Arial" panose="020B0604020202020204" pitchFamily="34" charset="0"/>
            </a:endParaRPr>
          </a:p>
        </p:txBody>
      </p:sp>
    </p:spTree>
    <p:extLst>
      <p:ext uri="{BB962C8B-B14F-4D97-AF65-F5344CB8AC3E}">
        <p14:creationId xmlns:p14="http://schemas.microsoft.com/office/powerpoint/2010/main" val="42787907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46B02DF4-D578-9E44-A905-1D4F1D9996EB}" type="datetimeFigureOut">
              <a:rPr lang="en-GB" smtClean="0"/>
              <a:pPr/>
              <a:t>08/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4C5B49A3-D38C-2F4A-9EF6-13EF087A7D7F}" type="slidenum">
              <a:rPr lang="en-GB" smtClean="0"/>
              <a:pPr/>
              <a:t>‹#›</a:t>
            </a:fld>
            <a:endParaRPr lang="en-GB"/>
          </a:p>
        </p:txBody>
      </p:sp>
    </p:spTree>
    <p:extLst>
      <p:ext uri="{BB962C8B-B14F-4D97-AF65-F5344CB8AC3E}">
        <p14:creationId xmlns:p14="http://schemas.microsoft.com/office/powerpoint/2010/main" val="455590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1</a:t>
            </a:fld>
            <a:endParaRPr lang="en-GB"/>
          </a:p>
        </p:txBody>
      </p:sp>
    </p:spTree>
    <p:extLst>
      <p:ext uri="{BB962C8B-B14F-4D97-AF65-F5344CB8AC3E}">
        <p14:creationId xmlns:p14="http://schemas.microsoft.com/office/powerpoint/2010/main" val="901875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13EB0-F89F-4778-9F81-BCFA6690AA7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28079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13EB0-F89F-4778-9F81-BCFA6690AA7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99324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B7292-CEEB-B62B-5BB3-5DFBB77BA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3C8FAA-E6E6-69B8-EDC3-062D5DB3E3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329A6F-B40C-ADCD-6ED1-2CAA5031533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78DC49-052A-1B88-209C-F6F2E0576C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13EB0-F89F-4778-9F81-BCFA6690AA7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922483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13EB0-F89F-4778-9F81-BCFA6690AA7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280791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F45AA2-50E3-A4DC-A608-D6706CB30A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795019-DA65-43E7-AB28-BAE89FB3F2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AD673D-E078-0705-AB3D-5742D5499B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092140-4089-D612-3009-8C0F49DC81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13EB0-F89F-4778-9F81-BCFA6690AA7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97664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13EB0-F89F-4778-9F81-BCFA6690AA7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084529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13EB0-F89F-4778-9F81-BCFA6690AA7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280791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13EB0-F89F-4778-9F81-BCFA6690AA7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9932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B7292-CEEB-B62B-5BB3-5DFBB77BA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3C8FAA-E6E6-69B8-EDC3-062D5DB3E3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329A6F-B40C-ADCD-6ED1-2CAA5031533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78DC49-052A-1B88-209C-F6F2E0576C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13EB0-F89F-4778-9F81-BCFA6690AA7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922483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22</a:t>
            </a:fld>
            <a:endParaRPr lang="en-GB"/>
          </a:p>
        </p:txBody>
      </p:sp>
    </p:spTree>
    <p:extLst>
      <p:ext uri="{BB962C8B-B14F-4D97-AF65-F5344CB8AC3E}">
        <p14:creationId xmlns:p14="http://schemas.microsoft.com/office/powerpoint/2010/main" val="554789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2</a:t>
            </a:fld>
            <a:endParaRPr lang="en-GB"/>
          </a:p>
        </p:txBody>
      </p:sp>
    </p:spTree>
    <p:extLst>
      <p:ext uri="{BB962C8B-B14F-4D97-AF65-F5344CB8AC3E}">
        <p14:creationId xmlns:p14="http://schemas.microsoft.com/office/powerpoint/2010/main" val="13198330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23</a:t>
            </a:fld>
            <a:endParaRPr lang="en-GB"/>
          </a:p>
        </p:txBody>
      </p:sp>
    </p:spTree>
    <p:extLst>
      <p:ext uri="{BB962C8B-B14F-4D97-AF65-F5344CB8AC3E}">
        <p14:creationId xmlns:p14="http://schemas.microsoft.com/office/powerpoint/2010/main" val="27921149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24</a:t>
            </a:fld>
            <a:endParaRPr lang="en-GB"/>
          </a:p>
        </p:txBody>
      </p:sp>
    </p:spTree>
    <p:extLst>
      <p:ext uri="{BB962C8B-B14F-4D97-AF65-F5344CB8AC3E}">
        <p14:creationId xmlns:p14="http://schemas.microsoft.com/office/powerpoint/2010/main" val="24738279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KE"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25</a:t>
            </a:fld>
            <a:endParaRPr lang="en-GB"/>
          </a:p>
        </p:txBody>
      </p:sp>
    </p:spTree>
    <p:extLst>
      <p:ext uri="{BB962C8B-B14F-4D97-AF65-F5344CB8AC3E}">
        <p14:creationId xmlns:p14="http://schemas.microsoft.com/office/powerpoint/2010/main" val="12707001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580DBEAC-7D9D-4740-981F-7F28E5A86949}" type="slidenum">
              <a:rPr kumimoji="0" lang="en-GB"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28</a:t>
            </a:fld>
            <a:endParaRPr kumimoji="0" lang="en-GB"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622239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31</a:t>
            </a:fld>
            <a:endParaRPr lang="en-GB"/>
          </a:p>
        </p:txBody>
      </p:sp>
    </p:spTree>
    <p:extLst>
      <p:ext uri="{BB962C8B-B14F-4D97-AF65-F5344CB8AC3E}">
        <p14:creationId xmlns:p14="http://schemas.microsoft.com/office/powerpoint/2010/main" val="18981826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t>32</a:t>
            </a:fld>
            <a:endParaRPr lang="en-GB"/>
          </a:p>
        </p:txBody>
      </p:sp>
    </p:spTree>
    <p:extLst>
      <p:ext uri="{BB962C8B-B14F-4D97-AF65-F5344CB8AC3E}">
        <p14:creationId xmlns:p14="http://schemas.microsoft.com/office/powerpoint/2010/main" val="25686928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buFont typeface="+mj-lt"/>
              <a:buNone/>
            </a:pPr>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3</a:t>
            </a:fld>
            <a:endParaRPr lang="en-GB"/>
          </a:p>
        </p:txBody>
      </p:sp>
    </p:spTree>
    <p:extLst>
      <p:ext uri="{BB962C8B-B14F-4D97-AF65-F5344CB8AC3E}">
        <p14:creationId xmlns:p14="http://schemas.microsoft.com/office/powerpoint/2010/main" val="383262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buFont typeface="+mj-lt"/>
              <a:buNone/>
            </a:pPr>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4</a:t>
            </a:fld>
            <a:endParaRPr lang="en-GB"/>
          </a:p>
        </p:txBody>
      </p:sp>
    </p:spTree>
    <p:extLst>
      <p:ext uri="{BB962C8B-B14F-4D97-AF65-F5344CB8AC3E}">
        <p14:creationId xmlns:p14="http://schemas.microsoft.com/office/powerpoint/2010/main" val="1788402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5</a:t>
            </a:fld>
            <a:endParaRPr lang="en-GB"/>
          </a:p>
        </p:txBody>
      </p:sp>
    </p:spTree>
    <p:extLst>
      <p:ext uri="{BB962C8B-B14F-4D97-AF65-F5344CB8AC3E}">
        <p14:creationId xmlns:p14="http://schemas.microsoft.com/office/powerpoint/2010/main" val="33539832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6</a:t>
            </a:fld>
            <a:endParaRPr lang="en-GB"/>
          </a:p>
        </p:txBody>
      </p:sp>
    </p:spTree>
    <p:extLst>
      <p:ext uri="{BB962C8B-B14F-4D97-AF65-F5344CB8AC3E}">
        <p14:creationId xmlns:p14="http://schemas.microsoft.com/office/powerpoint/2010/main" val="1805736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7</a:t>
            </a:fld>
            <a:endParaRPr lang="en-GB"/>
          </a:p>
        </p:txBody>
      </p:sp>
    </p:spTree>
    <p:extLst>
      <p:ext uri="{BB962C8B-B14F-4D97-AF65-F5344CB8AC3E}">
        <p14:creationId xmlns:p14="http://schemas.microsoft.com/office/powerpoint/2010/main" val="2365708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8</a:t>
            </a:fld>
            <a:endParaRPr lang="en-GB"/>
          </a:p>
        </p:txBody>
      </p:sp>
    </p:spTree>
    <p:extLst>
      <p:ext uri="{BB962C8B-B14F-4D97-AF65-F5344CB8AC3E}">
        <p14:creationId xmlns:p14="http://schemas.microsoft.com/office/powerpoint/2010/main" val="970302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5B49A3-D38C-2F4A-9EF6-13EF087A7D7F}" type="slidenum">
              <a:rPr lang="en-GB" smtClean="0"/>
              <a:pPr/>
              <a:t>9</a:t>
            </a:fld>
            <a:endParaRPr lang="en-GB"/>
          </a:p>
        </p:txBody>
      </p:sp>
    </p:spTree>
    <p:extLst>
      <p:ext uri="{BB962C8B-B14F-4D97-AF65-F5344CB8AC3E}">
        <p14:creationId xmlns:p14="http://schemas.microsoft.com/office/powerpoint/2010/main" val="41875457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9.png"/><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4.emf"/><Relationship Id="rId4" Type="http://schemas.openxmlformats.org/officeDocument/2006/relationships/oleObject" Target="../embeddings/oleObject5.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33.svg"/><Relationship Id="rId7" Type="http://schemas.openxmlformats.org/officeDocument/2006/relationships/image" Target="../media/image35.svg"/><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14.png"/><Relationship Id="rId11" Type="http://schemas.openxmlformats.org/officeDocument/2006/relationships/image" Target="../media/image37.svg"/><Relationship Id="rId5" Type="http://schemas.openxmlformats.org/officeDocument/2006/relationships/image" Target="../media/image34.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36.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1.sv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33.svg"/><Relationship Id="rId7" Type="http://schemas.openxmlformats.org/officeDocument/2006/relationships/image" Target="../media/image35.sv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14.png"/><Relationship Id="rId11" Type="http://schemas.openxmlformats.org/officeDocument/2006/relationships/image" Target="../media/image37.svg"/><Relationship Id="rId5" Type="http://schemas.openxmlformats.org/officeDocument/2006/relationships/image" Target="../media/image34.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36.sv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39.sv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0.svg"/></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slideMaster" Target="../slideMasters/slideMaster5.xml"/><Relationship Id="rId7" Type="http://schemas.openxmlformats.org/officeDocument/2006/relationships/image" Target="../media/image3.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42.emf"/><Relationship Id="rId5" Type="http://schemas.openxmlformats.org/officeDocument/2006/relationships/oleObject" Target="../embeddings/oleObject8.bin"/><Relationship Id="rId4" Type="http://schemas.openxmlformats.org/officeDocument/2006/relationships/image" Target="../media/image2.pn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0.sv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0.sv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6.xml"/><Relationship Id="rId5" Type="http://schemas.microsoft.com/office/2007/relationships/hdphoto" Target="../media/hdphoto1.wdp"/><Relationship Id="rId4" Type="http://schemas.openxmlformats.org/officeDocument/2006/relationships/image" Target="../media/image5.pn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41.sv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0.sv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0.svg"/></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0.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3.svg"/></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5.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8.sv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40.svg"/></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40.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8.xml"/><Relationship Id="rId5" Type="http://schemas.microsoft.com/office/2007/relationships/hdphoto" Target="../media/hdphoto1.wdp"/><Relationship Id="rId4" Type="http://schemas.openxmlformats.org/officeDocument/2006/relationships/image" Target="../media/image5.pn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 Id="rId4" Type="http://schemas.openxmlformats.org/officeDocument/2006/relationships/image" Target="../media/image41.sv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40.sv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40.svg"/></Relationships>
</file>

<file path=ppt/slideLayouts/_rels/slideLayout30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2.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4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43.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23.sv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4.sv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4.sv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 Id="rId5" Type="http://schemas.microsoft.com/office/2007/relationships/hdphoto" Target="../media/hdphoto1.wdp"/><Relationship Id="rId4" Type="http://schemas.openxmlformats.org/officeDocument/2006/relationships/image" Target="../media/image5.pn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4.sv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4.sv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49.svg"/><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9.png"/><Relationship Id="rId5" Type="http://schemas.openxmlformats.org/officeDocument/2006/relationships/image" Target="../media/image48.emf"/><Relationship Id="rId4" Type="http://schemas.openxmlformats.org/officeDocument/2006/relationships/oleObject" Target="../embeddings/oleObject9.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0.svg"/><Relationship Id="rId7" Type="http://schemas.openxmlformats.org/officeDocument/2006/relationships/image" Target="../media/image15.sv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0.svg"/><Relationship Id="rId7" Type="http://schemas.openxmlformats.org/officeDocument/2006/relationships/image" Target="../media/image15.sv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4079169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1738996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9" y="1304926"/>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404156612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9" y="2186942"/>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6"/>
            <a:ext cx="11144931"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2541778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2" y="366372"/>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09250545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5"/>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2" y="366372"/>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5"/>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64229401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8" y="173860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1">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1">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3" cy="1163607"/>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8"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1">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1">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3" cy="1163607"/>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7" y="1915486"/>
            <a:ext cx="3355743" cy="1163607"/>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7" y="4175447"/>
            <a:ext cx="3355743" cy="1163607"/>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Tree>
    <p:extLst>
      <p:ext uri="{BB962C8B-B14F-4D97-AF65-F5344CB8AC3E}">
        <p14:creationId xmlns:p14="http://schemas.microsoft.com/office/powerpoint/2010/main" val="11755672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2" y="1711995"/>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8" y="1711995"/>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3" y="1711995"/>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6" y="1711995"/>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1" y="1711995"/>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9" y="3155669"/>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2" y="3155669"/>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8" y="3155669"/>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3" y="3155668"/>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6" y="3155669"/>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1" y="3155668"/>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9" y="4599458"/>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2" y="4599458"/>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8" y="4599458"/>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3"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6" y="4599458"/>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1"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Tree>
    <p:extLst>
      <p:ext uri="{BB962C8B-B14F-4D97-AF65-F5344CB8AC3E}">
        <p14:creationId xmlns:p14="http://schemas.microsoft.com/office/powerpoint/2010/main" val="7819897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9" y="171199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9" y="2791091"/>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9" y="3870187"/>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9" y="494928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60" y="171199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60" y="2791091"/>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60" y="3870187"/>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60" y="494928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2" y="171199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2" y="2791091"/>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2" y="3870187"/>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2" y="494928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Tree>
    <p:extLst>
      <p:ext uri="{BB962C8B-B14F-4D97-AF65-F5344CB8AC3E}">
        <p14:creationId xmlns:p14="http://schemas.microsoft.com/office/powerpoint/2010/main" val="27873758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1"/>
            <a:ext cx="11144931" cy="4204608"/>
          </a:xfrm>
        </p:spPr>
        <p:txBody>
          <a:bodyPr numCol="2" spcCol="360000">
            <a:normAutofit/>
          </a:bodyPr>
          <a:lstStyle>
            <a:lvl1pPr marL="457189" indent="-457189">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02800898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6275323"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1"/>
            <a:ext cx="5376371" cy="4204608"/>
          </a:xfrm>
        </p:spPr>
        <p:txBody>
          <a:bodyPr numCol="1" spcCol="360000">
            <a:normAutofit/>
          </a:bodyPr>
          <a:lstStyle>
            <a:lvl1pPr marL="457189" indent="-457189">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8" y="1708831"/>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40" y="366372"/>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32653499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26525677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5340034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6221041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18448380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5581880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VIS Steering Committee - April 2023</a:t>
            </a:r>
            <a:endParaRPr lang="en-GB"/>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6506546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77064355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410199752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PhAnim="0" preserve="1" userDrawn="1">
  <p:cSld name="Cover_Blue">
    <p:spTree>
      <p:nvGrpSpPr>
        <p:cNvPr id="1" name=""/>
        <p:cNvGrpSpPr/>
        <p:nvPr/>
      </p:nvGrpSpPr>
      <p:grpSpPr>
        <a:xfrm>
          <a:off x="0" y="0"/>
          <a:ext cx="0" cy="0"/>
          <a:chOff x="0" y="0"/>
          <a:chExt cx="0" cy="0"/>
        </a:xfrm>
      </p:grpSpPr>
      <p:pic>
        <p:nvPicPr>
          <p:cNvPr id="14" name="Image 13" descr="FD_02_bleu.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0" y="0"/>
            <a:ext cx="12192000" cy="5157788"/>
          </a:xfrm>
          <a:prstGeom prst="rect">
            <a:avLst/>
          </a:prstGeom>
        </p:spPr>
      </p:pic>
      <p:sp>
        <p:nvSpPr>
          <p:cNvPr id="22" name="Rectangle 21"/>
          <p:cNvSpPr/>
          <p:nvPr userDrawn="1"/>
        </p:nvSpPr>
        <p:spPr bwMode="gray">
          <a:xfrm>
            <a:off x="4847168" y="5265204"/>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pic>
        <p:nvPicPr>
          <p:cNvPr id="20" name="Image 19" descr="Bas_couv.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gray">
          <a:xfrm>
            <a:off x="1" y="5172520"/>
            <a:ext cx="4847167" cy="1685480"/>
          </a:xfrm>
          <a:prstGeom prst="rect">
            <a:avLst/>
          </a:prstGeom>
        </p:spPr>
      </p:pic>
      <p:sp>
        <p:nvSpPr>
          <p:cNvPr id="9" name="Espace réservé du texte 8"/>
          <p:cNvSpPr>
            <a:spLocks noGrp="1"/>
          </p:cNvSpPr>
          <p:nvPr>
            <p:ph type="body" sz="quarter" idx="13" hasCustomPrompt="1"/>
          </p:nvPr>
        </p:nvSpPr>
        <p:spPr bwMode="gray">
          <a:xfrm>
            <a:off x="624419" y="1036800"/>
            <a:ext cx="6432549"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24419" y="3585600"/>
            <a:ext cx="6432548"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SUBTITLE</a:t>
            </a:r>
          </a:p>
        </p:txBody>
      </p:sp>
      <p:sp>
        <p:nvSpPr>
          <p:cNvPr id="10" name="Espace réservé de la date 9"/>
          <p:cNvSpPr>
            <a:spLocks noGrp="1"/>
          </p:cNvSpPr>
          <p:nvPr>
            <p:ph type="dt" sz="half" idx="15"/>
          </p:nvPr>
        </p:nvSpPr>
        <p:spPr bwMode="gray"/>
        <p:txBody>
          <a:bodyPr/>
          <a:lstStyle/>
          <a:p>
            <a:r>
              <a:rPr lang="en-US" noProof="0"/>
              <a:t>Date</a:t>
            </a:r>
            <a:endParaRPr lang="en-GB"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24417" y="524188"/>
            <a:ext cx="6432551" cy="360000"/>
          </a:xfrm>
        </p:spPr>
        <p:txBody>
          <a:bodyPr/>
          <a:lstStyle>
            <a:lvl1pPr algn="l">
              <a:defRPr sz="18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4847168" y="6021388"/>
            <a:ext cx="6817784" cy="324000"/>
          </a:xfrm>
        </p:spPr>
        <p:txBody>
          <a:bodyPr anchor="b" anchorCtr="0"/>
          <a:lstStyle>
            <a:lvl1pPr algn="r">
              <a:lnSpc>
                <a:spcPct val="100000"/>
              </a:lnSpc>
              <a:defRPr sz="1000" b="1">
                <a:solidFill>
                  <a:schemeClr val="accent2"/>
                </a:solidFill>
              </a:defRPr>
            </a:lvl1pPr>
          </a:lstStyle>
          <a:p>
            <a:pPr lvl="0"/>
            <a:r>
              <a:rPr lang="en-GB" noProof="0"/>
              <a:t>Write your claim here</a:t>
            </a:r>
          </a:p>
        </p:txBody>
      </p:sp>
      <p:sp>
        <p:nvSpPr>
          <p:cNvPr id="16" name="Rectangle 15"/>
          <p:cNvSpPr/>
          <p:nvPr userDrawn="1"/>
        </p:nvSpPr>
        <p:spPr bwMode="gray">
          <a:xfrm>
            <a:off x="4847167" y="6354203"/>
            <a:ext cx="6817784"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000" noProof="0">
                <a:solidFill>
                  <a:schemeClr val="accent3"/>
                </a:solidFill>
              </a:rPr>
              <a:t>www.gavi.org</a:t>
            </a:r>
          </a:p>
        </p:txBody>
      </p:sp>
      <p:sp>
        <p:nvSpPr>
          <p:cNvPr id="18" name="Rectangle 17"/>
          <p:cNvSpPr/>
          <p:nvPr userDrawn="1"/>
        </p:nvSpPr>
        <p:spPr bwMode="gray">
          <a:xfrm>
            <a:off x="624417" y="3391895"/>
            <a:ext cx="326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Tree>
    <p:extLst>
      <p:ext uri="{BB962C8B-B14F-4D97-AF65-F5344CB8AC3E}">
        <p14:creationId xmlns:p14="http://schemas.microsoft.com/office/powerpoint/2010/main" val="95121696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PhAnim="0" preserve="1" userDrawn="1">
  <p:cSld name="Cover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 y="0"/>
            <a:ext cx="12192000" cy="5157788"/>
          </a:xfrm>
          <a:prstGeom prst="rect">
            <a:avLst/>
          </a:prstGeom>
        </p:spPr>
      </p:pic>
      <p:sp>
        <p:nvSpPr>
          <p:cNvPr id="22" name="Rectangle 21"/>
          <p:cNvSpPr/>
          <p:nvPr userDrawn="1"/>
        </p:nvSpPr>
        <p:spPr bwMode="gray">
          <a:xfrm>
            <a:off x="4847168" y="5265204"/>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pic>
        <p:nvPicPr>
          <p:cNvPr id="20" name="Image 19" descr="Bas_couv.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gray">
          <a:xfrm>
            <a:off x="1" y="5172520"/>
            <a:ext cx="4847167" cy="1685480"/>
          </a:xfrm>
          <a:prstGeom prst="rect">
            <a:avLst/>
          </a:prstGeom>
        </p:spPr>
      </p:pic>
      <p:sp>
        <p:nvSpPr>
          <p:cNvPr id="9" name="Espace réservé du texte 8"/>
          <p:cNvSpPr>
            <a:spLocks noGrp="1"/>
          </p:cNvSpPr>
          <p:nvPr>
            <p:ph type="body" sz="quarter" idx="13" hasCustomPrompt="1"/>
          </p:nvPr>
        </p:nvSpPr>
        <p:spPr bwMode="gray">
          <a:xfrm>
            <a:off x="624000" y="1036800"/>
            <a:ext cx="6432549"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24419" y="3585600"/>
            <a:ext cx="4790400"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SUBTITLE</a:t>
            </a:r>
          </a:p>
        </p:txBody>
      </p:sp>
      <p:sp>
        <p:nvSpPr>
          <p:cNvPr id="10" name="Espace réservé de la date 9"/>
          <p:cNvSpPr>
            <a:spLocks noGrp="1"/>
          </p:cNvSpPr>
          <p:nvPr>
            <p:ph type="dt" sz="half" idx="15"/>
          </p:nvPr>
        </p:nvSpPr>
        <p:spPr bwMode="gray"/>
        <p:txBody>
          <a:bodyPr/>
          <a:lstStyle/>
          <a:p>
            <a:r>
              <a:rPr lang="en-US" noProof="0"/>
              <a:t>Date</a:t>
            </a:r>
            <a:endParaRPr lang="en-GB"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24417" y="524188"/>
            <a:ext cx="6432551" cy="360000"/>
          </a:xfrm>
        </p:spPr>
        <p:txBody>
          <a:bodyPr/>
          <a:lstStyle>
            <a:lvl1pPr algn="l">
              <a:defRPr sz="18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4847168" y="6021388"/>
            <a:ext cx="6817784" cy="324000"/>
          </a:xfrm>
        </p:spPr>
        <p:txBody>
          <a:bodyPr anchor="b" anchorCtr="0"/>
          <a:lstStyle>
            <a:lvl1pPr algn="r">
              <a:lnSpc>
                <a:spcPct val="100000"/>
              </a:lnSpc>
              <a:defRPr sz="1000" b="1">
                <a:solidFill>
                  <a:schemeClr val="accent2"/>
                </a:solidFill>
              </a:defRPr>
            </a:lvl1pPr>
          </a:lstStyle>
          <a:p>
            <a:pPr lvl="0"/>
            <a:r>
              <a:rPr lang="en-GB" noProof="0"/>
              <a:t>Write your claim here</a:t>
            </a:r>
          </a:p>
        </p:txBody>
      </p:sp>
      <p:sp>
        <p:nvSpPr>
          <p:cNvPr id="16" name="Rectangle 15"/>
          <p:cNvSpPr/>
          <p:nvPr userDrawn="1"/>
        </p:nvSpPr>
        <p:spPr bwMode="gray">
          <a:xfrm>
            <a:off x="4847167" y="6354203"/>
            <a:ext cx="6817784"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000" noProof="0">
                <a:solidFill>
                  <a:schemeClr val="accent3"/>
                </a:solidFill>
              </a:rPr>
              <a:t>www.gavi.org</a:t>
            </a:r>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00" b="0">
                <a:solidFill>
                  <a:schemeClr val="bg1">
                    <a:alpha val="0"/>
                  </a:schemeClr>
                </a:solidFill>
              </a:defRPr>
            </a:lvl1pPr>
          </a:lstStyle>
          <a:p>
            <a:pPr lvl="0"/>
            <a:r>
              <a:rPr lang="en-GB" noProof="0"/>
              <a:t> </a:t>
            </a:r>
          </a:p>
        </p:txBody>
      </p:sp>
      <p:sp>
        <p:nvSpPr>
          <p:cNvPr id="18" name="Espace réservé pour une image  17"/>
          <p:cNvSpPr>
            <a:spLocks noGrp="1"/>
          </p:cNvSpPr>
          <p:nvPr>
            <p:ph type="pic" sz="quarter" idx="18" hasCustomPrompt="1"/>
          </p:nvPr>
        </p:nvSpPr>
        <p:spPr bwMode="gray">
          <a:xfrm>
            <a:off x="5590117" y="0"/>
            <a:ext cx="6601883"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GB" noProof="0"/>
              <a:t>Select your own photo</a:t>
            </a:r>
          </a:p>
        </p:txBody>
      </p:sp>
      <p:sp>
        <p:nvSpPr>
          <p:cNvPr id="19" name="Rectangle 18"/>
          <p:cNvSpPr/>
          <p:nvPr userDrawn="1"/>
        </p:nvSpPr>
        <p:spPr bwMode="gray">
          <a:xfrm>
            <a:off x="624417" y="3391895"/>
            <a:ext cx="326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Tree>
    <p:extLst>
      <p:ext uri="{BB962C8B-B14F-4D97-AF65-F5344CB8AC3E}">
        <p14:creationId xmlns:p14="http://schemas.microsoft.com/office/powerpoint/2010/main" val="40374922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PhAnim="0" preserve="1" userDrawn="1">
  <p:cSld name="Chapter_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E4A209-9A0F-41D6-8EDC-C53E93982E4A}"/>
              </a:ext>
            </a:extLst>
          </p:cNvPr>
          <p:cNvGraphicFramePr>
            <a:graphicFrameLocks noChangeAspect="1"/>
          </p:cNvGraphicFramePr>
          <p:nvPr userDrawn="1">
            <p:custDataLst>
              <p:tags r:id="rId2"/>
            </p:custDataLst>
            <p:extLst>
              <p:ext uri="{D42A27DB-BD31-4B8C-83A1-F6EECF244321}">
                <p14:modId xmlns:p14="http://schemas.microsoft.com/office/powerpoint/2010/main" val="255806434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02"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A7E4A209-9A0F-41D6-8EDC-C53E93982E4A}"/>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18" name="Image 17" descr="FD_03_chap_110x190,5.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0" y="0"/>
            <a:ext cx="5279136" cy="6858000"/>
          </a:xfrm>
          <a:prstGeom prst="rect">
            <a:avLst/>
          </a:prstGeom>
        </p:spPr>
      </p:pic>
      <p:sp>
        <p:nvSpPr>
          <p:cNvPr id="2" name="Titre 1"/>
          <p:cNvSpPr>
            <a:spLocks noGrp="1"/>
          </p:cNvSpPr>
          <p:nvPr>
            <p:ph type="title" hasCustomPrompt="1"/>
          </p:nvPr>
        </p:nvSpPr>
        <p:spPr bwMode="gray">
          <a:xfrm>
            <a:off x="4847166" y="1036639"/>
            <a:ext cx="6193367" cy="1268759"/>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4847167" y="2574000"/>
            <a:ext cx="6193367" cy="3447388"/>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39974"/>
            <a:ext cx="3504000" cy="5017814"/>
          </a:xfrm>
        </p:spPr>
        <p:txBody>
          <a:bodyPr/>
          <a:lstStyle>
            <a:lvl1pPr algn="r">
              <a:defRPr sz="16600" b="1">
                <a:solidFill>
                  <a:schemeClr val="bg1"/>
                </a:solidFill>
              </a:defRPr>
            </a:lvl1pPr>
          </a:lstStyle>
          <a:p>
            <a:pPr lvl="0"/>
            <a:r>
              <a:rPr lang="en-GB" noProof="0"/>
              <a:t>0</a:t>
            </a:r>
          </a:p>
        </p:txBody>
      </p:sp>
      <p:sp>
        <p:nvSpPr>
          <p:cNvPr id="11" name="Espace réservé de la date 10"/>
          <p:cNvSpPr>
            <a:spLocks noGrp="1"/>
          </p:cNvSpPr>
          <p:nvPr>
            <p:ph type="dt" sz="half" idx="15"/>
          </p:nvPr>
        </p:nvSpPr>
        <p:spPr bwMode="gray"/>
        <p:txBody>
          <a:bodyPr/>
          <a:lstStyle/>
          <a:p>
            <a:r>
              <a:rPr lang="en-US" noProof="0"/>
              <a:t>Date</a:t>
            </a:r>
            <a:endParaRPr lang="en-GB" noProof="0"/>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3" name="Espace réservé du pied de page 12"/>
          <p:cNvSpPr>
            <a:spLocks noGrp="1"/>
          </p:cNvSpPr>
          <p:nvPr>
            <p:ph type="ftr" sz="quarter" idx="17"/>
          </p:nvPr>
        </p:nvSpPr>
        <p:spPr bwMode="gray"/>
        <p:txBody>
          <a:bodyPr/>
          <a:lstStyle/>
          <a:p>
            <a:r>
              <a:rPr lang="en-GB" noProof="0"/>
              <a:t>#add your hashtag</a:t>
            </a:r>
          </a:p>
        </p:txBody>
      </p:sp>
      <p:sp>
        <p:nvSpPr>
          <p:cNvPr id="16" name="Rectangle 15"/>
          <p:cNvSpPr/>
          <p:nvPr userDrawn="1"/>
        </p:nvSpPr>
        <p:spPr bwMode="gray">
          <a:xfrm>
            <a:off x="4848000" y="2377741"/>
            <a:ext cx="2111557"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Tree>
    <p:extLst>
      <p:ext uri="{BB962C8B-B14F-4D97-AF65-F5344CB8AC3E}">
        <p14:creationId xmlns:p14="http://schemas.microsoft.com/office/powerpoint/2010/main" val="98829058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PhAnim="0" preserve="1" userDrawn="1">
  <p:cSld name="Picture&amp;Content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BC93C1-75DA-4825-B125-1C0E223E4C00}"/>
              </a:ext>
            </a:extLst>
          </p:cNvPr>
          <p:cNvGraphicFramePr>
            <a:graphicFrameLocks noChangeAspect="1"/>
          </p:cNvGraphicFramePr>
          <p:nvPr userDrawn="1">
            <p:custDataLst>
              <p:tags r:id="rId2"/>
            </p:custDataLst>
            <p:extLst>
              <p:ext uri="{D42A27DB-BD31-4B8C-83A1-F6EECF244321}">
                <p14:modId xmlns:p14="http://schemas.microsoft.com/office/powerpoint/2010/main" val="121124427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26" name="think-cell Slide" r:id="rId4" imgW="381" imgH="381" progId="TCLayout.ActiveDocument.1">
                  <p:embed/>
                </p:oleObj>
              </mc:Choice>
              <mc:Fallback>
                <p:oleObj name="think-cell Slide" r:id="rId4" imgW="381" imgH="381" progId="TCLayout.ActiveDocument.1">
                  <p:embed/>
                  <p:pic>
                    <p:nvPicPr>
                      <p:cNvPr id="4" name="Object 3" hidden="1">
                        <a:extLst>
                          <a:ext uri="{FF2B5EF4-FFF2-40B4-BE49-F238E27FC236}">
                            <a16:creationId xmlns:a16="http://schemas.microsoft.com/office/drawing/2014/main" id="{C3BC93C1-75DA-4825-B125-1C0E223E4C00}"/>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4847861" y="1304926"/>
            <a:ext cx="6192672"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0" y="1341438"/>
            <a:ext cx="4558717" cy="4679950"/>
          </a:xfrm>
        </p:spPr>
        <p:txBody>
          <a:bodyPr tIns="1008000" anchor="ctr" anchorCtr="0"/>
          <a:lstStyle>
            <a:lvl1pPr algn="ctr">
              <a:defRPr/>
            </a:lvl1pPr>
          </a:lstStyle>
          <a:p>
            <a:r>
              <a:rPr lang="en-GB" noProof="0"/>
              <a:t>Select your own photo</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6"/>
          </p:nvPr>
        </p:nvSpPr>
        <p:spPr bwMode="gray"/>
        <p:txBody>
          <a:bodyPr/>
          <a:lstStyle/>
          <a:p>
            <a:r>
              <a:rPr lang="en-GB" noProof="0"/>
              <a:t>#add your hashtag</a:t>
            </a:r>
          </a:p>
        </p:txBody>
      </p:sp>
    </p:spTree>
    <p:extLst>
      <p:ext uri="{BB962C8B-B14F-4D97-AF65-F5344CB8AC3E}">
        <p14:creationId xmlns:p14="http://schemas.microsoft.com/office/powerpoint/2010/main" val="23298875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79274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PhAnim="0" preserve="1" userDrawn="1">
  <p:cSld name="2_Contents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8B29E4-757A-4A07-A36B-6968B8FB4998}"/>
              </a:ext>
            </a:extLst>
          </p:cNvPr>
          <p:cNvGraphicFramePr>
            <a:graphicFrameLocks noChangeAspect="1"/>
          </p:cNvGraphicFramePr>
          <p:nvPr userDrawn="1">
            <p:custDataLst>
              <p:tags r:id="rId2"/>
            </p:custDataLst>
            <p:extLst>
              <p:ext uri="{D42A27DB-BD31-4B8C-83A1-F6EECF244321}">
                <p14:modId xmlns:p14="http://schemas.microsoft.com/office/powerpoint/2010/main" val="143624258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50" name="think-cell Slide" r:id="rId4" imgW="381" imgH="381" progId="TCLayout.ActiveDocument.1">
                  <p:embed/>
                </p:oleObj>
              </mc:Choice>
              <mc:Fallback>
                <p:oleObj name="think-cell Slide" r:id="rId4" imgW="381" imgH="381" progId="TCLayout.ActiveDocument.1">
                  <p:embed/>
                  <p:pic>
                    <p:nvPicPr>
                      <p:cNvPr id="4" name="Object 3" hidden="1">
                        <a:extLst>
                          <a:ext uri="{FF2B5EF4-FFF2-40B4-BE49-F238E27FC236}">
                            <a16:creationId xmlns:a16="http://schemas.microsoft.com/office/drawing/2014/main" id="{8D8B29E4-757A-4A07-A36B-6968B8FB4998}"/>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1304926"/>
            <a:ext cx="4752000"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r>
              <a:rPr lang="en-US" noProof="0"/>
              <a:t>Date</a:t>
            </a:r>
            <a:endParaRPr lang="en-GB" noProof="0"/>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2"/>
          </p:nvPr>
        </p:nvSpPr>
        <p:spPr bwMode="gray"/>
        <p:txBody>
          <a:bodyPr/>
          <a:lstStyle/>
          <a:p>
            <a:r>
              <a:rPr lang="en-GB" noProof="0"/>
              <a:t>#add your hashtag</a:t>
            </a:r>
          </a:p>
        </p:txBody>
      </p:sp>
      <p:sp>
        <p:nvSpPr>
          <p:cNvPr id="9" name="Espace réservé du contenu 2"/>
          <p:cNvSpPr>
            <a:spLocks noGrp="1"/>
          </p:cNvSpPr>
          <p:nvPr>
            <p:ph idx="13" hasCustomPrompt="1"/>
          </p:nvPr>
        </p:nvSpPr>
        <p:spPr bwMode="gray">
          <a:xfrm>
            <a:off x="6288533" y="1304926"/>
            <a:ext cx="4752000"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78362041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PhAnim="0" preserve="1" userDrawn="1">
  <p:cSld name="Text&amp;Content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ED53B1-E169-4303-AA3F-C59DC8CB9C18}"/>
              </a:ext>
            </a:extLst>
          </p:cNvPr>
          <p:cNvGraphicFramePr>
            <a:graphicFrameLocks noChangeAspect="1"/>
          </p:cNvGraphicFramePr>
          <p:nvPr userDrawn="1">
            <p:custDataLst>
              <p:tags r:id="rId2"/>
            </p:custDataLst>
            <p:extLst>
              <p:ext uri="{D42A27DB-BD31-4B8C-83A1-F6EECF244321}">
                <p14:modId xmlns:p14="http://schemas.microsoft.com/office/powerpoint/2010/main" val="20229585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74" name="think-cell Slide" r:id="rId4" imgW="381" imgH="381" progId="TCLayout.ActiveDocument.1">
                  <p:embed/>
                </p:oleObj>
              </mc:Choice>
              <mc:Fallback>
                <p:oleObj name="think-cell Slide" r:id="rId4" imgW="381" imgH="381" progId="TCLayout.ActiveDocument.1">
                  <p:embed/>
                  <p:pic>
                    <p:nvPicPr>
                      <p:cNvPr id="4" name="Object 3" hidden="1">
                        <a:extLst>
                          <a:ext uri="{FF2B5EF4-FFF2-40B4-BE49-F238E27FC236}">
                            <a16:creationId xmlns:a16="http://schemas.microsoft.com/office/drawing/2014/main" id="{B5ED53B1-E169-4303-AA3F-C59DC8CB9C18}"/>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2781388"/>
            <a:ext cx="9793816"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246717" y="1304924"/>
            <a:ext cx="9793816"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Tree>
    <p:extLst>
      <p:ext uri="{BB962C8B-B14F-4D97-AF65-F5344CB8AC3E}">
        <p14:creationId xmlns:p14="http://schemas.microsoft.com/office/powerpoint/2010/main" val="371380983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PhAnim="0" preserve="1" userDrawn="1">
  <p:cSld name="Text&amp;Content&amp;Picture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22579B-0567-4508-80AC-90F455B3B0C2}"/>
              </a:ext>
            </a:extLst>
          </p:cNvPr>
          <p:cNvGraphicFramePr>
            <a:graphicFrameLocks noChangeAspect="1"/>
          </p:cNvGraphicFramePr>
          <p:nvPr userDrawn="1">
            <p:custDataLst>
              <p:tags r:id="rId2"/>
            </p:custDataLst>
            <p:extLst>
              <p:ext uri="{D42A27DB-BD31-4B8C-83A1-F6EECF244321}">
                <p14:modId xmlns:p14="http://schemas.microsoft.com/office/powerpoint/2010/main" val="140304820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198" name="think-cell Slide" r:id="rId4" imgW="381" imgH="381" progId="TCLayout.ActiveDocument.1">
                  <p:embed/>
                </p:oleObj>
              </mc:Choice>
              <mc:Fallback>
                <p:oleObj name="think-cell Slide" r:id="rId4" imgW="381" imgH="381" progId="TCLayout.ActiveDocument.1">
                  <p:embed/>
                  <p:pic>
                    <p:nvPicPr>
                      <p:cNvPr id="4" name="Object 3" hidden="1">
                        <a:extLst>
                          <a:ext uri="{FF2B5EF4-FFF2-40B4-BE49-F238E27FC236}">
                            <a16:creationId xmlns:a16="http://schemas.microsoft.com/office/drawing/2014/main" id="{A622579B-0567-4508-80AC-90F455B3B0C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2781388"/>
            <a:ext cx="5856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246717" y="1304924"/>
            <a:ext cx="9793816"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2" name="Espace réservé pour une image  8"/>
          <p:cNvSpPr>
            <a:spLocks noGrp="1"/>
          </p:cNvSpPr>
          <p:nvPr>
            <p:ph type="pic" sz="quarter" idx="17" hasCustomPrompt="1"/>
          </p:nvPr>
        </p:nvSpPr>
        <p:spPr bwMode="gray">
          <a:xfrm>
            <a:off x="7392533" y="2781388"/>
            <a:ext cx="3648000" cy="32400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12166273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PhAnim="0" preserve="1" userDrawn="1">
  <p:cSld name="Text&amp;2_Contents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05927A-6B3A-485E-95BB-9F563FA747F9}"/>
              </a:ext>
            </a:extLst>
          </p:cNvPr>
          <p:cNvGraphicFramePr>
            <a:graphicFrameLocks noChangeAspect="1"/>
          </p:cNvGraphicFramePr>
          <p:nvPr userDrawn="1">
            <p:custDataLst>
              <p:tags r:id="rId2"/>
            </p:custDataLst>
            <p:extLst>
              <p:ext uri="{D42A27DB-BD31-4B8C-83A1-F6EECF244321}">
                <p14:modId xmlns:p14="http://schemas.microsoft.com/office/powerpoint/2010/main" val="140351967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22" name="think-cell Slide" r:id="rId4" imgW="381" imgH="381" progId="TCLayout.ActiveDocument.1">
                  <p:embed/>
                </p:oleObj>
              </mc:Choice>
              <mc:Fallback>
                <p:oleObj name="think-cell Slide" r:id="rId4" imgW="381" imgH="381" progId="TCLayout.ActiveDocument.1">
                  <p:embed/>
                  <p:pic>
                    <p:nvPicPr>
                      <p:cNvPr id="4" name="Object 3" hidden="1">
                        <a:extLst>
                          <a:ext uri="{FF2B5EF4-FFF2-40B4-BE49-F238E27FC236}">
                            <a16:creationId xmlns:a16="http://schemas.microsoft.com/office/drawing/2014/main" id="{1F05927A-6B3A-485E-95BB-9F563FA747F9}"/>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2781388"/>
            <a:ext cx="4752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246717" y="1304924"/>
            <a:ext cx="9793816"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2" name="Espace réservé du contenu 2"/>
          <p:cNvSpPr>
            <a:spLocks noGrp="1"/>
          </p:cNvSpPr>
          <p:nvPr>
            <p:ph idx="17" hasCustomPrompt="1"/>
          </p:nvPr>
        </p:nvSpPr>
        <p:spPr bwMode="gray">
          <a:xfrm>
            <a:off x="6288533" y="2781388"/>
            <a:ext cx="4752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80148383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PhAnim="0" preserve="1" userDrawn="1">
  <p:cSld name="Text&amp;3_Contents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DFAB2E-9183-430E-BDA4-849F8DFD8BD7}"/>
              </a:ext>
            </a:extLst>
          </p:cNvPr>
          <p:cNvGraphicFramePr>
            <a:graphicFrameLocks noChangeAspect="1"/>
          </p:cNvGraphicFramePr>
          <p:nvPr userDrawn="1">
            <p:custDataLst>
              <p:tags r:id="rId2"/>
            </p:custDataLst>
            <p:extLst>
              <p:ext uri="{D42A27DB-BD31-4B8C-83A1-F6EECF244321}">
                <p14:modId xmlns:p14="http://schemas.microsoft.com/office/powerpoint/2010/main" val="177104494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46" name="think-cell Slide" r:id="rId4" imgW="381" imgH="381" progId="TCLayout.ActiveDocument.1">
                  <p:embed/>
                </p:oleObj>
              </mc:Choice>
              <mc:Fallback>
                <p:oleObj name="think-cell Slide" r:id="rId4" imgW="381" imgH="381" progId="TCLayout.ActiveDocument.1">
                  <p:embed/>
                  <p:pic>
                    <p:nvPicPr>
                      <p:cNvPr id="4" name="Object 3" hidden="1">
                        <a:extLst>
                          <a:ext uri="{FF2B5EF4-FFF2-40B4-BE49-F238E27FC236}">
                            <a16:creationId xmlns:a16="http://schemas.microsoft.com/office/drawing/2014/main" id="{56DFAB2E-9183-430E-BDA4-849F8DFD8BD7}"/>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2781388"/>
            <a:ext cx="3072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246717" y="1304924"/>
            <a:ext cx="9793816"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3" name="Espace réservé du contenu 2"/>
          <p:cNvSpPr>
            <a:spLocks noGrp="1"/>
          </p:cNvSpPr>
          <p:nvPr>
            <p:ph idx="17" hasCustomPrompt="1"/>
          </p:nvPr>
        </p:nvSpPr>
        <p:spPr bwMode="gray">
          <a:xfrm>
            <a:off x="4607625" y="2781388"/>
            <a:ext cx="3072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7968533" y="2781388"/>
            <a:ext cx="3072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75221761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PhAnim="0" preserve="1" userDrawn="1">
  <p:cSld name="4_Contents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DDBF28-16FE-4E31-99DE-F9E3CAAA3D22}"/>
              </a:ext>
            </a:extLst>
          </p:cNvPr>
          <p:cNvGraphicFramePr>
            <a:graphicFrameLocks noChangeAspect="1"/>
          </p:cNvGraphicFramePr>
          <p:nvPr userDrawn="1">
            <p:custDataLst>
              <p:tags r:id="rId2"/>
            </p:custDataLst>
            <p:extLst>
              <p:ext uri="{D42A27DB-BD31-4B8C-83A1-F6EECF244321}">
                <p14:modId xmlns:p14="http://schemas.microsoft.com/office/powerpoint/2010/main" val="210804110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70" name="think-cell Slide" r:id="rId4" imgW="381" imgH="381" progId="TCLayout.ActiveDocument.1">
                  <p:embed/>
                </p:oleObj>
              </mc:Choice>
              <mc:Fallback>
                <p:oleObj name="think-cell Slide" r:id="rId4" imgW="381" imgH="381" progId="TCLayout.ActiveDocument.1">
                  <p:embed/>
                  <p:pic>
                    <p:nvPicPr>
                      <p:cNvPr id="4" name="Object 3" hidden="1">
                        <a:extLst>
                          <a:ext uri="{FF2B5EF4-FFF2-40B4-BE49-F238E27FC236}">
                            <a16:creationId xmlns:a16="http://schemas.microsoft.com/office/drawing/2014/main" id="{F3DDBF28-16FE-4E31-99DE-F9E3CAAA3D2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246717" y="1304924"/>
            <a:ext cx="4752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r>
              <a:rPr lang="en-US" noProof="0"/>
              <a:t>Date</a:t>
            </a:r>
            <a:endParaRPr lang="en-GB" noProof="0"/>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2"/>
          </p:nvPr>
        </p:nvSpPr>
        <p:spPr bwMode="gray"/>
        <p:txBody>
          <a:bodyPr/>
          <a:lstStyle/>
          <a:p>
            <a:r>
              <a:rPr lang="en-GB" noProof="0"/>
              <a:t>#add your hashtag</a:t>
            </a:r>
          </a:p>
        </p:txBody>
      </p:sp>
      <p:sp>
        <p:nvSpPr>
          <p:cNvPr id="9" name="Espace réservé du contenu 2"/>
          <p:cNvSpPr>
            <a:spLocks noGrp="1"/>
          </p:cNvSpPr>
          <p:nvPr>
            <p:ph idx="13" hasCustomPrompt="1"/>
          </p:nvPr>
        </p:nvSpPr>
        <p:spPr bwMode="gray">
          <a:xfrm>
            <a:off x="6288533" y="1304925"/>
            <a:ext cx="4752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1246717" y="3771388"/>
            <a:ext cx="4752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6288533" y="3771388"/>
            <a:ext cx="4752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0869100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PhAnim="0" preserve="1" userDrawn="1">
  <p:cSld name="Picture_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254F9C9-0BEB-4582-91F9-973481CD517C}"/>
              </a:ext>
            </a:extLst>
          </p:cNvPr>
          <p:cNvGraphicFramePr>
            <a:graphicFrameLocks noChangeAspect="1"/>
          </p:cNvGraphicFramePr>
          <p:nvPr userDrawn="1">
            <p:custDataLst>
              <p:tags r:id="rId2"/>
            </p:custDataLst>
            <p:extLst>
              <p:ext uri="{D42A27DB-BD31-4B8C-83A1-F6EECF244321}">
                <p14:modId xmlns:p14="http://schemas.microsoft.com/office/powerpoint/2010/main" val="73350159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294"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7254F9C9-0BEB-4582-91F9-973481CD517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2" name="Espace réservé pour une image  8"/>
          <p:cNvSpPr>
            <a:spLocks noGrp="1"/>
          </p:cNvSpPr>
          <p:nvPr>
            <p:ph type="pic" sz="quarter" idx="17" hasCustomPrompt="1"/>
          </p:nvPr>
        </p:nvSpPr>
        <p:spPr bwMode="gray">
          <a:xfrm>
            <a:off x="1246717" y="1341438"/>
            <a:ext cx="9793816" cy="467995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64810680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PhAnim="0" preserve="1" userDrawn="1">
  <p:cSld name="Text&amp;4_Blocks_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B9E292-DBA2-46B2-8DFA-09E5C550EA96}"/>
              </a:ext>
            </a:extLst>
          </p:cNvPr>
          <p:cNvGraphicFramePr>
            <a:graphicFrameLocks noChangeAspect="1"/>
          </p:cNvGraphicFramePr>
          <p:nvPr userDrawn="1">
            <p:custDataLst>
              <p:tags r:id="rId2"/>
            </p:custDataLst>
            <p:extLst>
              <p:ext uri="{D42A27DB-BD31-4B8C-83A1-F6EECF244321}">
                <p14:modId xmlns:p14="http://schemas.microsoft.com/office/powerpoint/2010/main" val="252283203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3318"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7FB9E292-DBA2-46B2-8DFA-09E5C550EA96}"/>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1246717" y="1304924"/>
            <a:ext cx="9793816"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21" name="Espace réservé du texte 9"/>
          <p:cNvSpPr>
            <a:spLocks noGrp="1"/>
          </p:cNvSpPr>
          <p:nvPr>
            <p:ph type="body" sz="quarter" idx="19" hasCustomPrompt="1"/>
          </p:nvPr>
        </p:nvSpPr>
        <p:spPr bwMode="gray">
          <a:xfrm>
            <a:off x="1246717" y="2241550"/>
            <a:ext cx="4752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1246717" y="2565550"/>
            <a:ext cx="4752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288533" y="2241550"/>
            <a:ext cx="4752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288533" y="2565550"/>
            <a:ext cx="4752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1246717" y="4131488"/>
            <a:ext cx="4752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1246717" y="4455488"/>
            <a:ext cx="4752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6288533" y="4131488"/>
            <a:ext cx="4752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6288533" y="4455488"/>
            <a:ext cx="4752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79891591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PhAnim="0" preserve="1" userDrawn="1">
  <p:cSld name="4_Blocks_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927D37-2A7F-4B1E-880F-5D029158D2E7}"/>
              </a:ext>
            </a:extLst>
          </p:cNvPr>
          <p:cNvGraphicFramePr>
            <a:graphicFrameLocks noChangeAspect="1"/>
          </p:cNvGraphicFramePr>
          <p:nvPr userDrawn="1">
            <p:custDataLst>
              <p:tags r:id="rId2"/>
            </p:custDataLst>
            <p:extLst>
              <p:ext uri="{D42A27DB-BD31-4B8C-83A1-F6EECF244321}">
                <p14:modId xmlns:p14="http://schemas.microsoft.com/office/powerpoint/2010/main" val="426094313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42"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C3927D37-2A7F-4B1E-880F-5D029158D2E7}"/>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21" name="Espace réservé du texte 9"/>
          <p:cNvSpPr>
            <a:spLocks noGrp="1"/>
          </p:cNvSpPr>
          <p:nvPr>
            <p:ph type="body" sz="quarter" idx="19" hasCustomPrompt="1"/>
          </p:nvPr>
        </p:nvSpPr>
        <p:spPr bwMode="gray">
          <a:xfrm>
            <a:off x="1246717" y="1341438"/>
            <a:ext cx="1920000" cy="792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3168000" y="1341438"/>
            <a:ext cx="7872533" cy="792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16" name="Espace réservé du texte 9"/>
          <p:cNvSpPr>
            <a:spLocks noGrp="1"/>
          </p:cNvSpPr>
          <p:nvPr>
            <p:ph type="body" sz="quarter" idx="21" hasCustomPrompt="1"/>
          </p:nvPr>
        </p:nvSpPr>
        <p:spPr bwMode="gray">
          <a:xfrm>
            <a:off x="1246717" y="2349555"/>
            <a:ext cx="1920000" cy="792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17" name="Espace réservé du texte 9"/>
          <p:cNvSpPr>
            <a:spLocks noGrp="1"/>
          </p:cNvSpPr>
          <p:nvPr>
            <p:ph type="body" sz="quarter" idx="22" hasCustomPrompt="1"/>
          </p:nvPr>
        </p:nvSpPr>
        <p:spPr bwMode="gray">
          <a:xfrm>
            <a:off x="3168000" y="2349555"/>
            <a:ext cx="7872533" cy="792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18" name="Espace réservé du texte 9"/>
          <p:cNvSpPr>
            <a:spLocks noGrp="1"/>
          </p:cNvSpPr>
          <p:nvPr>
            <p:ph type="body" sz="quarter" idx="23" hasCustomPrompt="1"/>
          </p:nvPr>
        </p:nvSpPr>
        <p:spPr bwMode="gray">
          <a:xfrm>
            <a:off x="1246717" y="3357672"/>
            <a:ext cx="1920000" cy="792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19" name="Espace réservé du texte 9"/>
          <p:cNvSpPr>
            <a:spLocks noGrp="1"/>
          </p:cNvSpPr>
          <p:nvPr>
            <p:ph type="body" sz="quarter" idx="24" hasCustomPrompt="1"/>
          </p:nvPr>
        </p:nvSpPr>
        <p:spPr bwMode="gray">
          <a:xfrm>
            <a:off x="3168000" y="3357672"/>
            <a:ext cx="7872533" cy="792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0" name="Espace réservé du texte 9"/>
          <p:cNvSpPr>
            <a:spLocks noGrp="1"/>
          </p:cNvSpPr>
          <p:nvPr>
            <p:ph type="body" sz="quarter" idx="25" hasCustomPrompt="1"/>
          </p:nvPr>
        </p:nvSpPr>
        <p:spPr bwMode="gray">
          <a:xfrm>
            <a:off x="1246717" y="4365788"/>
            <a:ext cx="1920000" cy="792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9" name="Espace réservé du texte 9"/>
          <p:cNvSpPr>
            <a:spLocks noGrp="1"/>
          </p:cNvSpPr>
          <p:nvPr>
            <p:ph type="body" sz="quarter" idx="26" hasCustomPrompt="1"/>
          </p:nvPr>
        </p:nvSpPr>
        <p:spPr bwMode="gray">
          <a:xfrm>
            <a:off x="3168000" y="4365788"/>
            <a:ext cx="7872533" cy="792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39403704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PhAnim="0" preserve="1" userDrawn="1">
  <p:cSld name="2_Blocks_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5E8721C-CD81-4F66-A462-2FA309910965}"/>
              </a:ext>
            </a:extLst>
          </p:cNvPr>
          <p:cNvGraphicFramePr>
            <a:graphicFrameLocks noChangeAspect="1"/>
          </p:cNvGraphicFramePr>
          <p:nvPr userDrawn="1">
            <p:custDataLst>
              <p:tags r:id="rId2"/>
            </p:custDataLst>
            <p:extLst>
              <p:ext uri="{D42A27DB-BD31-4B8C-83A1-F6EECF244321}">
                <p14:modId xmlns:p14="http://schemas.microsoft.com/office/powerpoint/2010/main" val="61451073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66"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55E8721C-CD81-4F66-A462-2FA3099109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US" noProof="0"/>
              <a:t>Date</a:t>
            </a:r>
            <a:endParaRPr lang="en-GB"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21" name="Espace réservé du texte 9"/>
          <p:cNvSpPr>
            <a:spLocks noGrp="1"/>
          </p:cNvSpPr>
          <p:nvPr>
            <p:ph type="body" sz="quarter" idx="19" hasCustomPrompt="1"/>
          </p:nvPr>
        </p:nvSpPr>
        <p:spPr bwMode="gray">
          <a:xfrm>
            <a:off x="1246717" y="1341438"/>
            <a:ext cx="4752000" cy="335714"/>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1246717" y="1665438"/>
            <a:ext cx="4752000" cy="414005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288533" y="1341438"/>
            <a:ext cx="4752000" cy="335714"/>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288533" y="1665438"/>
            <a:ext cx="4752000" cy="414005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26875731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27144911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PhAnim="0" preserve="1" userDrawn="1">
  <p:cSld name="Thank_you_2">
    <p:spTree>
      <p:nvGrpSpPr>
        <p:cNvPr id="1" name=""/>
        <p:cNvGrpSpPr/>
        <p:nvPr/>
      </p:nvGrpSpPr>
      <p:grpSpPr>
        <a:xfrm>
          <a:off x="0" y="0"/>
          <a:ext cx="0" cy="0"/>
          <a:chOff x="0" y="0"/>
          <a:chExt cx="0" cy="0"/>
        </a:xfrm>
      </p:grpSpPr>
      <p:pic>
        <p:nvPicPr>
          <p:cNvPr id="21" name="Image 20" descr="Image_03.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424000" y="1"/>
            <a:ext cx="6768000" cy="5185751"/>
          </a:xfrm>
          <a:prstGeom prst="rect">
            <a:avLst/>
          </a:prstGeom>
        </p:spPr>
      </p:pic>
      <p:sp>
        <p:nvSpPr>
          <p:cNvPr id="14" name="Forme libre 13"/>
          <p:cNvSpPr/>
          <p:nvPr userDrawn="1"/>
        </p:nvSpPr>
        <p:spPr bwMode="gray">
          <a:xfrm>
            <a:off x="2" y="0"/>
            <a:ext cx="9199033" cy="5157788"/>
          </a:xfrm>
          <a:custGeom>
            <a:avLst/>
            <a:gdLst>
              <a:gd name="connsiteX0" fmla="*/ 0 w 6899275"/>
              <a:gd name="connsiteY0" fmla="*/ 0 h 5157788"/>
              <a:gd name="connsiteX1" fmla="*/ 6899275 w 6899275"/>
              <a:gd name="connsiteY1" fmla="*/ 0 h 5157788"/>
              <a:gd name="connsiteX2" fmla="*/ 5436096 w 6899275"/>
              <a:gd name="connsiteY2" fmla="*/ 2564905 h 5157788"/>
              <a:gd name="connsiteX3" fmla="*/ 4192589 w 6899275"/>
              <a:gd name="connsiteY3" fmla="*/ 5157788 h 5157788"/>
              <a:gd name="connsiteX4" fmla="*/ 0 w 6899275"/>
              <a:gd name="connsiteY4" fmla="*/ 5157788 h 5157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9275" h="5157788">
                <a:moveTo>
                  <a:pt x="0" y="0"/>
                </a:moveTo>
                <a:lnTo>
                  <a:pt x="6899275" y="0"/>
                </a:lnTo>
                <a:cubicBezTo>
                  <a:pt x="6858543" y="709899"/>
                  <a:pt x="6060035" y="1706304"/>
                  <a:pt x="5436096" y="2564905"/>
                </a:cubicBezTo>
                <a:cubicBezTo>
                  <a:pt x="4375629" y="4028322"/>
                  <a:pt x="4276999" y="4546571"/>
                  <a:pt x="4192589" y="5157788"/>
                </a:cubicBezTo>
                <a:lnTo>
                  <a:pt x="0" y="5157788"/>
                </a:lnTo>
                <a:close/>
              </a:path>
            </a:pathLst>
          </a:cu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
        <p:nvSpPr>
          <p:cNvPr id="22" name="Rectangle 21"/>
          <p:cNvSpPr/>
          <p:nvPr userDrawn="1"/>
        </p:nvSpPr>
        <p:spPr bwMode="gray">
          <a:xfrm>
            <a:off x="4847168" y="5265204"/>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pic>
        <p:nvPicPr>
          <p:cNvPr id="20" name="Image 19" descr="Bas_couv.png"/>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gray">
          <a:xfrm>
            <a:off x="1" y="5172520"/>
            <a:ext cx="4847167" cy="1685480"/>
          </a:xfrm>
          <a:prstGeom prst="rect">
            <a:avLst/>
          </a:prstGeom>
        </p:spPr>
      </p:pic>
      <p:sp>
        <p:nvSpPr>
          <p:cNvPr id="9" name="Espace réservé du texte 8"/>
          <p:cNvSpPr>
            <a:spLocks noGrp="1"/>
          </p:cNvSpPr>
          <p:nvPr>
            <p:ph type="body" sz="quarter" idx="13" hasCustomPrompt="1"/>
          </p:nvPr>
        </p:nvSpPr>
        <p:spPr bwMode="gray">
          <a:xfrm>
            <a:off x="624000" y="1036800"/>
            <a:ext cx="6432549"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r>
              <a:rPr lang="en-GB"/>
              <a:t>THANK YOU</a:t>
            </a:r>
          </a:p>
        </p:txBody>
      </p:sp>
      <p:sp>
        <p:nvSpPr>
          <p:cNvPr id="10" name="Espace réservé de la date 9"/>
          <p:cNvSpPr>
            <a:spLocks noGrp="1"/>
          </p:cNvSpPr>
          <p:nvPr>
            <p:ph type="dt" sz="half" idx="15"/>
          </p:nvPr>
        </p:nvSpPr>
        <p:spPr bwMode="gray"/>
        <p:txBody>
          <a:bodyPr/>
          <a:lstStyle/>
          <a:p>
            <a:r>
              <a:rPr lang="en-US" noProof="0"/>
              <a:t>Date</a:t>
            </a:r>
            <a:endParaRPr lang="en-GB"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24417" y="524188"/>
            <a:ext cx="6432551" cy="360000"/>
          </a:xfrm>
        </p:spPr>
        <p:txBody>
          <a:bodyPr/>
          <a:lstStyle>
            <a:lvl1pPr algn="l">
              <a:defRPr sz="18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4847168" y="6021388"/>
            <a:ext cx="6817784" cy="324000"/>
          </a:xfrm>
        </p:spPr>
        <p:txBody>
          <a:bodyPr anchor="b" anchorCtr="0"/>
          <a:lstStyle>
            <a:lvl1pPr algn="r">
              <a:lnSpc>
                <a:spcPct val="100000"/>
              </a:lnSpc>
              <a:defRPr sz="1000" b="1">
                <a:solidFill>
                  <a:schemeClr val="accent2"/>
                </a:solidFill>
              </a:defRPr>
            </a:lvl1pPr>
          </a:lstStyle>
          <a:p>
            <a:pPr lvl="0"/>
            <a:r>
              <a:rPr lang="en-GB" noProof="0"/>
              <a:t>Write your claim here</a:t>
            </a:r>
          </a:p>
        </p:txBody>
      </p:sp>
      <p:sp>
        <p:nvSpPr>
          <p:cNvPr id="16" name="Rectangle 15"/>
          <p:cNvSpPr/>
          <p:nvPr userDrawn="1"/>
        </p:nvSpPr>
        <p:spPr bwMode="gray">
          <a:xfrm>
            <a:off x="4847167" y="6354203"/>
            <a:ext cx="6817784"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000" noProof="0">
                <a:solidFill>
                  <a:schemeClr val="accent3"/>
                </a:solidFill>
              </a:rPr>
              <a:t>www.gavi.org</a:t>
            </a:r>
          </a:p>
        </p:txBody>
      </p:sp>
      <p:sp>
        <p:nvSpPr>
          <p:cNvPr id="19" name="Rectangle 18"/>
          <p:cNvSpPr/>
          <p:nvPr userDrawn="1"/>
        </p:nvSpPr>
        <p:spPr bwMode="gray">
          <a:xfrm>
            <a:off x="624417" y="3391895"/>
            <a:ext cx="326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00"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100055006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PhAnim="0" preserve="1" userDrawn="1">
  <p:cSld name="Thank_you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 y="0"/>
            <a:ext cx="12192000" cy="5157788"/>
          </a:xfrm>
          <a:prstGeom prst="rect">
            <a:avLst/>
          </a:prstGeom>
        </p:spPr>
      </p:pic>
      <p:sp>
        <p:nvSpPr>
          <p:cNvPr id="18" name="Espace réservé pour une image  17"/>
          <p:cNvSpPr>
            <a:spLocks noGrp="1"/>
          </p:cNvSpPr>
          <p:nvPr>
            <p:ph type="pic" sz="quarter" idx="18" hasCustomPrompt="1"/>
          </p:nvPr>
        </p:nvSpPr>
        <p:spPr bwMode="gray">
          <a:xfrm>
            <a:off x="5590117" y="0"/>
            <a:ext cx="6601883"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GB" noProof="0"/>
              <a:t>Select your own photo</a:t>
            </a:r>
          </a:p>
        </p:txBody>
      </p:sp>
      <p:sp>
        <p:nvSpPr>
          <p:cNvPr id="22" name="Rectangle 21"/>
          <p:cNvSpPr/>
          <p:nvPr userDrawn="1"/>
        </p:nvSpPr>
        <p:spPr bwMode="gray">
          <a:xfrm>
            <a:off x="4847168" y="5265204"/>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pic>
        <p:nvPicPr>
          <p:cNvPr id="20" name="Image 19" descr="Bas_couv.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gray">
          <a:xfrm>
            <a:off x="1" y="5172520"/>
            <a:ext cx="4847167" cy="1685480"/>
          </a:xfrm>
          <a:prstGeom prst="rect">
            <a:avLst/>
          </a:prstGeom>
        </p:spPr>
      </p:pic>
      <p:sp>
        <p:nvSpPr>
          <p:cNvPr id="9" name="Espace réservé du texte 8"/>
          <p:cNvSpPr>
            <a:spLocks noGrp="1"/>
          </p:cNvSpPr>
          <p:nvPr>
            <p:ph type="body" sz="quarter" idx="13" hasCustomPrompt="1"/>
          </p:nvPr>
        </p:nvSpPr>
        <p:spPr bwMode="gray">
          <a:xfrm>
            <a:off x="624000" y="1036800"/>
            <a:ext cx="6432549"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r>
              <a:rPr lang="en-GB"/>
              <a:t>THANK YOU</a:t>
            </a:r>
          </a:p>
        </p:txBody>
      </p:sp>
      <p:sp>
        <p:nvSpPr>
          <p:cNvPr id="10" name="Espace réservé de la date 9"/>
          <p:cNvSpPr>
            <a:spLocks noGrp="1"/>
          </p:cNvSpPr>
          <p:nvPr>
            <p:ph type="dt" sz="half" idx="15"/>
          </p:nvPr>
        </p:nvSpPr>
        <p:spPr bwMode="gray"/>
        <p:txBody>
          <a:bodyPr/>
          <a:lstStyle/>
          <a:p>
            <a:r>
              <a:rPr lang="en-US" noProof="0"/>
              <a:t>Date</a:t>
            </a:r>
            <a:endParaRPr lang="en-GB" noProof="0"/>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24417" y="524188"/>
            <a:ext cx="6432551" cy="360000"/>
          </a:xfrm>
        </p:spPr>
        <p:txBody>
          <a:bodyPr/>
          <a:lstStyle>
            <a:lvl1pPr algn="l">
              <a:defRPr sz="18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4847168" y="6021388"/>
            <a:ext cx="6817784" cy="324000"/>
          </a:xfrm>
        </p:spPr>
        <p:txBody>
          <a:bodyPr anchor="b" anchorCtr="0"/>
          <a:lstStyle>
            <a:lvl1pPr algn="r">
              <a:lnSpc>
                <a:spcPct val="100000"/>
              </a:lnSpc>
              <a:defRPr sz="1000" b="1">
                <a:solidFill>
                  <a:schemeClr val="accent2"/>
                </a:solidFill>
              </a:defRPr>
            </a:lvl1pPr>
          </a:lstStyle>
          <a:p>
            <a:pPr lvl="0"/>
            <a:r>
              <a:rPr lang="en-GB" noProof="0"/>
              <a:t>Write your claim here</a:t>
            </a:r>
          </a:p>
        </p:txBody>
      </p:sp>
      <p:sp>
        <p:nvSpPr>
          <p:cNvPr id="16" name="Rectangle 15"/>
          <p:cNvSpPr/>
          <p:nvPr userDrawn="1"/>
        </p:nvSpPr>
        <p:spPr bwMode="gray">
          <a:xfrm>
            <a:off x="4847167" y="6354203"/>
            <a:ext cx="6817784"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000" noProof="0">
                <a:solidFill>
                  <a:schemeClr val="accent3"/>
                </a:solidFill>
              </a:rPr>
              <a:t>www.gavi.org</a:t>
            </a:r>
          </a:p>
        </p:txBody>
      </p:sp>
      <p:sp>
        <p:nvSpPr>
          <p:cNvPr id="19" name="Rectangle 18"/>
          <p:cNvSpPr/>
          <p:nvPr userDrawn="1"/>
        </p:nvSpPr>
        <p:spPr bwMode="gray">
          <a:xfrm>
            <a:off x="624417" y="3391895"/>
            <a:ext cx="326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00"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9585655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PhAnim="0" preserve="1" userDrawn="1">
  <p:cSld name="Colors">
    <p:spTree>
      <p:nvGrpSpPr>
        <p:cNvPr id="1" name=""/>
        <p:cNvGrpSpPr/>
        <p:nvPr/>
      </p:nvGrpSpPr>
      <p:grpSpPr>
        <a:xfrm>
          <a:off x="0" y="0"/>
          <a:ext cx="0" cy="0"/>
          <a:chOff x="0" y="0"/>
          <a:chExt cx="0" cy="0"/>
        </a:xfrm>
      </p:grpSpPr>
      <p:sp>
        <p:nvSpPr>
          <p:cNvPr id="3" name="ZoneTexte 2"/>
          <p:cNvSpPr txBox="1"/>
          <p:nvPr userDrawn="1"/>
        </p:nvSpPr>
        <p:spPr>
          <a:xfrm>
            <a:off x="1231560" y="1310115"/>
            <a:ext cx="4358557" cy="2244398"/>
          </a:xfrm>
          <a:prstGeom prst="rect">
            <a:avLst/>
          </a:prstGeom>
          <a:noFill/>
        </p:spPr>
        <p:txBody>
          <a:bodyPr wrap="square" lIns="0" tIns="0" rIns="0" bIns="0" rtlCol="0">
            <a:noAutofit/>
          </a:bodyPr>
          <a:lstStyle/>
          <a:p>
            <a:pPr>
              <a:lnSpc>
                <a:spcPct val="110000"/>
              </a:lnSpc>
            </a:pPr>
            <a:r>
              <a:rPr lang="en-GB" sz="2000" b="1" noProof="0">
                <a:solidFill>
                  <a:schemeClr val="accent1"/>
                </a:solidFill>
              </a:rPr>
              <a:t>Primary</a:t>
            </a:r>
          </a:p>
          <a:p>
            <a:pPr marL="357188" lvl="1" indent="-174625">
              <a:lnSpc>
                <a:spcPct val="110000"/>
              </a:lnSpc>
              <a:buClr>
                <a:schemeClr val="accent3"/>
              </a:buClr>
              <a:buFont typeface="Arial" panose="020B0604020202020204" pitchFamily="34" charset="0"/>
              <a:buChar char="•"/>
            </a:pPr>
            <a:r>
              <a:rPr lang="en-GB" sz="1800" b="1" noProof="0"/>
              <a:t>Corporate Colours</a:t>
            </a:r>
          </a:p>
          <a:p>
            <a:pPr lvl="2">
              <a:lnSpc>
                <a:spcPct val="110000"/>
              </a:lnSpc>
            </a:pPr>
            <a:endParaRPr lang="en-GB" sz="1800" b="1" noProof="0"/>
          </a:p>
          <a:p>
            <a:pPr lvl="2">
              <a:lnSpc>
                <a:spcPct val="110000"/>
              </a:lnSpc>
            </a:pPr>
            <a:endParaRPr lang="en-GB" sz="1800" b="1" noProof="0"/>
          </a:p>
          <a:p>
            <a:pPr marL="357188" lvl="1" indent="-174625">
              <a:lnSpc>
                <a:spcPct val="110000"/>
              </a:lnSpc>
              <a:buClr>
                <a:schemeClr val="accent3"/>
              </a:buClr>
              <a:buFont typeface="Arial" panose="020B0604020202020204" pitchFamily="34" charset="0"/>
              <a:buChar char="•"/>
            </a:pPr>
            <a:r>
              <a:rPr lang="en-GB" sz="1800" b="1" noProof="0"/>
              <a:t>Strategic Goal Colours</a:t>
            </a:r>
          </a:p>
          <a:p>
            <a:pPr lvl="2">
              <a:lnSpc>
                <a:spcPct val="110000"/>
              </a:lnSpc>
            </a:pPr>
            <a:endParaRPr lang="en-GB" sz="1800" noProof="0"/>
          </a:p>
          <a:p>
            <a:pPr>
              <a:lnSpc>
                <a:spcPct val="110000"/>
              </a:lnSpc>
            </a:pPr>
            <a:r>
              <a:rPr lang="en-GB" sz="2000" b="1" noProof="0">
                <a:solidFill>
                  <a:schemeClr val="accent1"/>
                </a:solidFill>
              </a:rPr>
              <a:t>Secondary</a:t>
            </a:r>
          </a:p>
        </p:txBody>
      </p:sp>
      <p:sp>
        <p:nvSpPr>
          <p:cNvPr id="13" name="Espace réservé de la date 12"/>
          <p:cNvSpPr>
            <a:spLocks noGrp="1"/>
          </p:cNvSpPr>
          <p:nvPr>
            <p:ph type="dt" sz="half" idx="10"/>
          </p:nvPr>
        </p:nvSpPr>
        <p:spPr bwMode="gray"/>
        <p:txBody>
          <a:bodyPr/>
          <a:lstStyle/>
          <a:p>
            <a:r>
              <a:rPr lang="en-US" noProof="0"/>
              <a:t>Date</a:t>
            </a:r>
            <a:endParaRPr lang="en-GB" noProof="0"/>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
        <p:nvSpPr>
          <p:cNvPr id="15" name="Espace réservé du pied de page 14"/>
          <p:cNvSpPr>
            <a:spLocks noGrp="1"/>
          </p:cNvSpPr>
          <p:nvPr>
            <p:ph type="ftr" sz="quarter" idx="12"/>
          </p:nvPr>
        </p:nvSpPr>
        <p:spPr bwMode="gray"/>
        <p:txBody>
          <a:bodyPr/>
          <a:lstStyle/>
          <a:p>
            <a:r>
              <a:rPr lang="en-GB" noProof="0"/>
              <a:t>#add your hashtag</a:t>
            </a:r>
          </a:p>
        </p:txBody>
      </p:sp>
      <p:sp>
        <p:nvSpPr>
          <p:cNvPr id="64" name="Freeform 8"/>
          <p:cNvSpPr>
            <a:spLocks/>
          </p:cNvSpPr>
          <p:nvPr userDrawn="1"/>
        </p:nvSpPr>
        <p:spPr bwMode="auto">
          <a:xfrm>
            <a:off x="5894401" y="1341438"/>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65" name="Rectangle 64"/>
          <p:cNvSpPr/>
          <p:nvPr userDrawn="1"/>
        </p:nvSpPr>
        <p:spPr>
          <a:xfrm>
            <a:off x="6518400" y="1341438"/>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noProof="0">
                <a:solidFill>
                  <a:schemeClr val="tx1"/>
                </a:solidFill>
              </a:rPr>
              <a:t>R: 0</a:t>
            </a:r>
          </a:p>
          <a:p>
            <a:r>
              <a:rPr lang="en-GB" sz="700" noProof="0">
                <a:solidFill>
                  <a:schemeClr val="tx1"/>
                </a:solidFill>
              </a:rPr>
              <a:t>G: 92</a:t>
            </a:r>
          </a:p>
          <a:p>
            <a:r>
              <a:rPr lang="en-GB" sz="700" noProof="0">
                <a:solidFill>
                  <a:schemeClr val="tx1"/>
                </a:solidFill>
              </a:rPr>
              <a:t>B: 185</a:t>
            </a:r>
          </a:p>
        </p:txBody>
      </p:sp>
      <p:sp>
        <p:nvSpPr>
          <p:cNvPr id="66" name="Freeform 8"/>
          <p:cNvSpPr>
            <a:spLocks/>
          </p:cNvSpPr>
          <p:nvPr userDrawn="1"/>
        </p:nvSpPr>
        <p:spPr bwMode="auto">
          <a:xfrm>
            <a:off x="7442242" y="1341438"/>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67" name="Rectangle 66"/>
          <p:cNvSpPr/>
          <p:nvPr userDrawn="1"/>
        </p:nvSpPr>
        <p:spPr>
          <a:xfrm>
            <a:off x="8066956" y="1341438"/>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noProof="0">
                <a:solidFill>
                  <a:schemeClr val="tx1"/>
                </a:solidFill>
              </a:rPr>
              <a:t>R: 0</a:t>
            </a:r>
          </a:p>
          <a:p>
            <a:r>
              <a:rPr lang="en-GB" sz="700" noProof="0">
                <a:solidFill>
                  <a:schemeClr val="tx1"/>
                </a:solidFill>
              </a:rPr>
              <a:t>G: 161</a:t>
            </a:r>
          </a:p>
          <a:p>
            <a:r>
              <a:rPr lang="en-GB" sz="700" noProof="0">
                <a:solidFill>
                  <a:schemeClr val="tx1"/>
                </a:solidFill>
              </a:rPr>
              <a:t>B: 223</a:t>
            </a:r>
          </a:p>
        </p:txBody>
      </p:sp>
      <p:sp>
        <p:nvSpPr>
          <p:cNvPr id="68" name="Freeform 8"/>
          <p:cNvSpPr>
            <a:spLocks/>
          </p:cNvSpPr>
          <p:nvPr userDrawn="1"/>
        </p:nvSpPr>
        <p:spPr bwMode="auto">
          <a:xfrm>
            <a:off x="8990083" y="1341438"/>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69" name="Rectangle 68"/>
          <p:cNvSpPr/>
          <p:nvPr userDrawn="1"/>
        </p:nvSpPr>
        <p:spPr>
          <a:xfrm>
            <a:off x="9615512" y="1341438"/>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noProof="0">
                <a:solidFill>
                  <a:schemeClr val="tx1"/>
                </a:solidFill>
              </a:rPr>
              <a:t>R: 149</a:t>
            </a:r>
          </a:p>
          <a:p>
            <a:r>
              <a:rPr lang="en-GB" sz="700" noProof="0">
                <a:solidFill>
                  <a:schemeClr val="tx1"/>
                </a:solidFill>
              </a:rPr>
              <a:t>G: 214</a:t>
            </a:r>
          </a:p>
          <a:p>
            <a:r>
              <a:rPr lang="en-GB" sz="700" noProof="0">
                <a:solidFill>
                  <a:schemeClr val="tx1"/>
                </a:solidFill>
              </a:rPr>
              <a:t>B: 0</a:t>
            </a:r>
          </a:p>
        </p:txBody>
      </p:sp>
      <p:sp>
        <p:nvSpPr>
          <p:cNvPr id="70" name="Freeform 8"/>
          <p:cNvSpPr>
            <a:spLocks/>
          </p:cNvSpPr>
          <p:nvPr userDrawn="1"/>
        </p:nvSpPr>
        <p:spPr bwMode="auto">
          <a:xfrm>
            <a:off x="10537926" y="1341438"/>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71" name="Rectangle 70"/>
          <p:cNvSpPr/>
          <p:nvPr userDrawn="1"/>
        </p:nvSpPr>
        <p:spPr>
          <a:xfrm>
            <a:off x="11164069" y="1341438"/>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noProof="0">
                <a:solidFill>
                  <a:schemeClr val="tx1"/>
                </a:solidFill>
              </a:rPr>
              <a:t>R: 135</a:t>
            </a:r>
          </a:p>
          <a:p>
            <a:r>
              <a:rPr lang="en-GB" sz="700" noProof="0">
                <a:solidFill>
                  <a:schemeClr val="tx1"/>
                </a:solidFill>
              </a:rPr>
              <a:t>G: 135</a:t>
            </a:r>
          </a:p>
          <a:p>
            <a:r>
              <a:rPr lang="en-GB" sz="700" noProof="0">
                <a:solidFill>
                  <a:schemeClr val="tx1"/>
                </a:solidFill>
              </a:rPr>
              <a:t>B: 135</a:t>
            </a:r>
          </a:p>
        </p:txBody>
      </p:sp>
      <p:sp>
        <p:nvSpPr>
          <p:cNvPr id="72" name="Freeform 8"/>
          <p:cNvSpPr>
            <a:spLocks/>
          </p:cNvSpPr>
          <p:nvPr userDrawn="1"/>
        </p:nvSpPr>
        <p:spPr bwMode="auto">
          <a:xfrm>
            <a:off x="5894401" y="2278063"/>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73" name="Rectangle 72"/>
          <p:cNvSpPr/>
          <p:nvPr userDrawn="1"/>
        </p:nvSpPr>
        <p:spPr>
          <a:xfrm>
            <a:off x="6518400" y="2278063"/>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ACCELERATE</a:t>
            </a:r>
          </a:p>
          <a:p>
            <a:r>
              <a:rPr lang="en-GB" sz="700" b="1" noProof="0">
                <a:solidFill>
                  <a:schemeClr val="tx1"/>
                </a:solidFill>
              </a:rPr>
              <a:t>VACCINES</a:t>
            </a:r>
          </a:p>
          <a:p>
            <a:r>
              <a:rPr lang="en-GB" sz="700" noProof="0">
                <a:solidFill>
                  <a:schemeClr val="tx1"/>
                </a:solidFill>
              </a:rPr>
              <a:t>R: 165</a:t>
            </a:r>
          </a:p>
          <a:p>
            <a:r>
              <a:rPr lang="en-GB" sz="700" noProof="0">
                <a:solidFill>
                  <a:schemeClr val="tx1"/>
                </a:solidFill>
              </a:rPr>
              <a:t>G: 24</a:t>
            </a:r>
          </a:p>
          <a:p>
            <a:r>
              <a:rPr lang="en-GB" sz="700" noProof="0">
                <a:solidFill>
                  <a:schemeClr val="tx1"/>
                </a:solidFill>
              </a:rPr>
              <a:t>B: 144</a:t>
            </a:r>
          </a:p>
        </p:txBody>
      </p:sp>
      <p:sp>
        <p:nvSpPr>
          <p:cNvPr id="74" name="Freeform 8"/>
          <p:cNvSpPr>
            <a:spLocks/>
          </p:cNvSpPr>
          <p:nvPr userDrawn="1"/>
        </p:nvSpPr>
        <p:spPr bwMode="auto">
          <a:xfrm>
            <a:off x="7442242" y="2278063"/>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75" name="Rectangle 74"/>
          <p:cNvSpPr/>
          <p:nvPr userDrawn="1"/>
        </p:nvSpPr>
        <p:spPr>
          <a:xfrm>
            <a:off x="8066956" y="2278063"/>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STRENGTHEN</a:t>
            </a:r>
          </a:p>
          <a:p>
            <a:r>
              <a:rPr lang="en-GB" sz="700" b="1" noProof="0">
                <a:solidFill>
                  <a:schemeClr val="tx1"/>
                </a:solidFill>
              </a:rPr>
              <a:t>CAPACITY</a:t>
            </a:r>
          </a:p>
          <a:p>
            <a:r>
              <a:rPr lang="en-GB" sz="700" noProof="0">
                <a:solidFill>
                  <a:schemeClr val="tx1"/>
                </a:solidFill>
              </a:rPr>
              <a:t>R: 206</a:t>
            </a:r>
          </a:p>
          <a:p>
            <a:r>
              <a:rPr lang="en-GB" sz="700" noProof="0">
                <a:solidFill>
                  <a:schemeClr val="tx1"/>
                </a:solidFill>
              </a:rPr>
              <a:t>G: 15</a:t>
            </a:r>
          </a:p>
          <a:p>
            <a:r>
              <a:rPr lang="en-GB" sz="700" noProof="0">
                <a:solidFill>
                  <a:schemeClr val="tx1"/>
                </a:solidFill>
              </a:rPr>
              <a:t>B: 105</a:t>
            </a:r>
          </a:p>
        </p:txBody>
      </p:sp>
      <p:sp>
        <p:nvSpPr>
          <p:cNvPr id="76" name="Freeform 8"/>
          <p:cNvSpPr>
            <a:spLocks/>
          </p:cNvSpPr>
          <p:nvPr userDrawn="1"/>
        </p:nvSpPr>
        <p:spPr bwMode="auto">
          <a:xfrm>
            <a:off x="8990083" y="2278063"/>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77" name="Rectangle 76"/>
          <p:cNvSpPr/>
          <p:nvPr userDrawn="1"/>
        </p:nvSpPr>
        <p:spPr>
          <a:xfrm>
            <a:off x="9615512" y="2278063"/>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INCREASE</a:t>
            </a:r>
          </a:p>
          <a:p>
            <a:r>
              <a:rPr lang="en-GB" sz="700" b="1" noProof="0">
                <a:solidFill>
                  <a:schemeClr val="tx1"/>
                </a:solidFill>
              </a:rPr>
              <a:t>PREDICTABILITY</a:t>
            </a:r>
          </a:p>
          <a:p>
            <a:r>
              <a:rPr lang="en-GB" sz="700" noProof="0">
                <a:solidFill>
                  <a:schemeClr val="tx1"/>
                </a:solidFill>
              </a:rPr>
              <a:t>R: 149</a:t>
            </a:r>
          </a:p>
          <a:p>
            <a:r>
              <a:rPr lang="en-GB" sz="700" noProof="0">
                <a:solidFill>
                  <a:schemeClr val="tx1"/>
                </a:solidFill>
              </a:rPr>
              <a:t>G: 214</a:t>
            </a:r>
          </a:p>
          <a:p>
            <a:r>
              <a:rPr lang="en-GB" sz="700" noProof="0">
                <a:solidFill>
                  <a:schemeClr val="tx1"/>
                </a:solidFill>
              </a:rPr>
              <a:t>B: 0</a:t>
            </a:r>
          </a:p>
        </p:txBody>
      </p:sp>
      <p:sp>
        <p:nvSpPr>
          <p:cNvPr id="78" name="Freeform 8"/>
          <p:cNvSpPr>
            <a:spLocks/>
          </p:cNvSpPr>
          <p:nvPr userDrawn="1"/>
        </p:nvSpPr>
        <p:spPr bwMode="auto">
          <a:xfrm>
            <a:off x="10537926" y="2278063"/>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79" name="Rectangle 78"/>
          <p:cNvSpPr/>
          <p:nvPr userDrawn="1"/>
        </p:nvSpPr>
        <p:spPr>
          <a:xfrm>
            <a:off x="11164069" y="2278063"/>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SHAPE</a:t>
            </a:r>
          </a:p>
          <a:p>
            <a:r>
              <a:rPr lang="en-GB" sz="700" b="1" noProof="0">
                <a:solidFill>
                  <a:schemeClr val="tx1"/>
                </a:solidFill>
              </a:rPr>
              <a:t>THE MARKET</a:t>
            </a:r>
          </a:p>
          <a:p>
            <a:r>
              <a:rPr lang="en-GB" sz="700" noProof="0">
                <a:solidFill>
                  <a:schemeClr val="tx1"/>
                </a:solidFill>
              </a:rPr>
              <a:t>R: 0</a:t>
            </a:r>
          </a:p>
          <a:p>
            <a:r>
              <a:rPr lang="en-GB" sz="700" noProof="0">
                <a:solidFill>
                  <a:schemeClr val="tx1"/>
                </a:solidFill>
              </a:rPr>
              <a:t>G: 161</a:t>
            </a:r>
          </a:p>
          <a:p>
            <a:r>
              <a:rPr lang="en-GB" sz="700" noProof="0">
                <a:solidFill>
                  <a:schemeClr val="tx1"/>
                </a:solidFill>
              </a:rPr>
              <a:t>B: 223</a:t>
            </a:r>
          </a:p>
        </p:txBody>
      </p:sp>
      <p:sp>
        <p:nvSpPr>
          <p:cNvPr id="80" name="Freeform 8"/>
          <p:cNvSpPr>
            <a:spLocks/>
          </p:cNvSpPr>
          <p:nvPr userDrawn="1"/>
        </p:nvSpPr>
        <p:spPr bwMode="auto">
          <a:xfrm>
            <a:off x="5892322"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81" name="Rectangle 80"/>
          <p:cNvSpPr/>
          <p:nvPr userDrawn="1"/>
        </p:nvSpPr>
        <p:spPr>
          <a:xfrm>
            <a:off x="6518465"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IPV</a:t>
            </a:r>
          </a:p>
          <a:p>
            <a:r>
              <a:rPr lang="en-GB" sz="700" b="1" noProof="0">
                <a:solidFill>
                  <a:schemeClr val="tx1"/>
                </a:solidFill>
              </a:rPr>
              <a:t>INJECTABLE</a:t>
            </a:r>
          </a:p>
          <a:p>
            <a:r>
              <a:rPr lang="en-GB" sz="700" b="1" noProof="0">
                <a:solidFill>
                  <a:schemeClr val="tx1"/>
                </a:solidFill>
              </a:rPr>
              <a:t>POLIO</a:t>
            </a:r>
          </a:p>
          <a:p>
            <a:r>
              <a:rPr lang="en-GB" sz="700" noProof="0">
                <a:solidFill>
                  <a:schemeClr val="tx1"/>
                </a:solidFill>
              </a:rPr>
              <a:t>R: 206</a:t>
            </a:r>
          </a:p>
          <a:p>
            <a:r>
              <a:rPr lang="en-GB" sz="700" noProof="0">
                <a:solidFill>
                  <a:schemeClr val="tx1"/>
                </a:solidFill>
              </a:rPr>
              <a:t>G: 220</a:t>
            </a:r>
          </a:p>
          <a:p>
            <a:r>
              <a:rPr lang="en-GB" sz="700" noProof="0">
                <a:solidFill>
                  <a:schemeClr val="tx1"/>
                </a:solidFill>
              </a:rPr>
              <a:t>B: 0</a:t>
            </a:r>
          </a:p>
        </p:txBody>
      </p:sp>
      <p:sp>
        <p:nvSpPr>
          <p:cNvPr id="82" name="Freeform 8"/>
          <p:cNvSpPr>
            <a:spLocks/>
          </p:cNvSpPr>
          <p:nvPr userDrawn="1"/>
        </p:nvSpPr>
        <p:spPr bwMode="auto">
          <a:xfrm>
            <a:off x="7440857"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83" name="Rectangle 82"/>
          <p:cNvSpPr/>
          <p:nvPr userDrawn="1"/>
        </p:nvSpPr>
        <p:spPr>
          <a:xfrm>
            <a:off x="8067000"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JAPANESE</a:t>
            </a:r>
          </a:p>
          <a:p>
            <a:r>
              <a:rPr lang="en-GB" sz="700" b="1" noProof="0">
                <a:solidFill>
                  <a:schemeClr val="tx1"/>
                </a:solidFill>
              </a:rPr>
              <a:t>ENCEPHALITIS</a:t>
            </a:r>
          </a:p>
          <a:p>
            <a:r>
              <a:rPr lang="en-GB" sz="700" noProof="0">
                <a:solidFill>
                  <a:schemeClr val="tx1"/>
                </a:solidFill>
              </a:rPr>
              <a:t>R: 178</a:t>
            </a:r>
          </a:p>
          <a:p>
            <a:r>
              <a:rPr lang="en-GB" sz="700" noProof="0">
                <a:solidFill>
                  <a:schemeClr val="tx1"/>
                </a:solidFill>
              </a:rPr>
              <a:t>G: 136</a:t>
            </a:r>
          </a:p>
          <a:p>
            <a:r>
              <a:rPr lang="en-GB" sz="700" noProof="0">
                <a:solidFill>
                  <a:schemeClr val="tx1"/>
                </a:solidFill>
              </a:rPr>
              <a:t>B: 185</a:t>
            </a:r>
          </a:p>
        </p:txBody>
      </p:sp>
      <p:sp>
        <p:nvSpPr>
          <p:cNvPr id="84" name="Freeform 8"/>
          <p:cNvSpPr>
            <a:spLocks/>
          </p:cNvSpPr>
          <p:nvPr userDrawn="1"/>
        </p:nvSpPr>
        <p:spPr bwMode="auto">
          <a:xfrm>
            <a:off x="8989391"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85" name="Rectangle 84"/>
          <p:cNvSpPr/>
          <p:nvPr userDrawn="1"/>
        </p:nvSpPr>
        <p:spPr>
          <a:xfrm>
            <a:off x="9615535"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EASLES</a:t>
            </a:r>
          </a:p>
          <a:p>
            <a:r>
              <a:rPr lang="en-GB" sz="700" noProof="0">
                <a:solidFill>
                  <a:schemeClr val="tx1"/>
                </a:solidFill>
              </a:rPr>
              <a:t>R: 65</a:t>
            </a:r>
          </a:p>
          <a:p>
            <a:r>
              <a:rPr lang="en-GB" sz="700" noProof="0">
                <a:solidFill>
                  <a:schemeClr val="tx1"/>
                </a:solidFill>
              </a:rPr>
              <a:t>G: 182</a:t>
            </a:r>
          </a:p>
          <a:p>
            <a:r>
              <a:rPr lang="en-GB" sz="700" noProof="0">
                <a:solidFill>
                  <a:schemeClr val="tx1"/>
                </a:solidFill>
              </a:rPr>
              <a:t>B: 230</a:t>
            </a:r>
          </a:p>
        </p:txBody>
      </p:sp>
      <p:sp>
        <p:nvSpPr>
          <p:cNvPr id="86" name="Freeform 8"/>
          <p:cNvSpPr>
            <a:spLocks/>
          </p:cNvSpPr>
          <p:nvPr userDrawn="1"/>
        </p:nvSpPr>
        <p:spPr bwMode="auto">
          <a:xfrm>
            <a:off x="10537926"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87" name="Rectangle 86"/>
          <p:cNvSpPr/>
          <p:nvPr userDrawn="1"/>
        </p:nvSpPr>
        <p:spPr>
          <a:xfrm>
            <a:off x="11164069"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EASLES</a:t>
            </a:r>
          </a:p>
          <a:p>
            <a:r>
              <a:rPr lang="en-GB" sz="700" b="1" noProof="0">
                <a:solidFill>
                  <a:schemeClr val="tx1"/>
                </a:solidFill>
              </a:rPr>
              <a:t>2</a:t>
            </a:r>
            <a:r>
              <a:rPr lang="en-GB" sz="700" b="1" baseline="30000" noProof="0">
                <a:solidFill>
                  <a:schemeClr val="tx1"/>
                </a:solidFill>
              </a:rPr>
              <a:t>ND</a:t>
            </a:r>
            <a:r>
              <a:rPr lang="en-GB" sz="700" b="1" noProof="0">
                <a:solidFill>
                  <a:schemeClr val="tx1"/>
                </a:solidFill>
              </a:rPr>
              <a:t> DOSE</a:t>
            </a:r>
          </a:p>
          <a:p>
            <a:r>
              <a:rPr lang="en-GB" sz="700" noProof="0">
                <a:solidFill>
                  <a:schemeClr val="tx1"/>
                </a:solidFill>
              </a:rPr>
              <a:t>R: 0</a:t>
            </a:r>
          </a:p>
          <a:p>
            <a:r>
              <a:rPr lang="en-GB" sz="700" noProof="0">
                <a:solidFill>
                  <a:schemeClr val="tx1"/>
                </a:solidFill>
              </a:rPr>
              <a:t>G: 151</a:t>
            </a:r>
          </a:p>
          <a:p>
            <a:r>
              <a:rPr lang="en-GB" sz="700" noProof="0">
                <a:solidFill>
                  <a:schemeClr val="tx1"/>
                </a:solidFill>
              </a:rPr>
              <a:t>B: 169</a:t>
            </a:r>
          </a:p>
        </p:txBody>
      </p:sp>
      <p:sp>
        <p:nvSpPr>
          <p:cNvPr id="88" name="Freeform 8"/>
          <p:cNvSpPr>
            <a:spLocks/>
          </p:cNvSpPr>
          <p:nvPr userDrawn="1"/>
        </p:nvSpPr>
        <p:spPr bwMode="auto">
          <a:xfrm>
            <a:off x="5892926"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89" name="Rectangle 88"/>
          <p:cNvSpPr/>
          <p:nvPr userDrawn="1"/>
        </p:nvSpPr>
        <p:spPr>
          <a:xfrm>
            <a:off x="6517785"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PNEUMO</a:t>
            </a:r>
          </a:p>
          <a:p>
            <a:r>
              <a:rPr lang="en-GB" sz="700" noProof="0">
                <a:solidFill>
                  <a:schemeClr val="tx1"/>
                </a:solidFill>
              </a:rPr>
              <a:t>R: 0</a:t>
            </a:r>
          </a:p>
          <a:p>
            <a:r>
              <a:rPr lang="en-GB" sz="700" noProof="0">
                <a:solidFill>
                  <a:schemeClr val="tx1"/>
                </a:solidFill>
              </a:rPr>
              <a:t>G: 51</a:t>
            </a:r>
          </a:p>
          <a:p>
            <a:r>
              <a:rPr lang="en-GB" sz="700" noProof="0">
                <a:solidFill>
                  <a:schemeClr val="tx1"/>
                </a:solidFill>
              </a:rPr>
              <a:t>B: 160</a:t>
            </a:r>
          </a:p>
        </p:txBody>
      </p:sp>
      <p:sp>
        <p:nvSpPr>
          <p:cNvPr id="90" name="Freeform 8"/>
          <p:cNvSpPr>
            <a:spLocks/>
          </p:cNvSpPr>
          <p:nvPr userDrawn="1"/>
        </p:nvSpPr>
        <p:spPr bwMode="auto">
          <a:xfrm>
            <a:off x="7441662"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91" name="Rectangle 90"/>
          <p:cNvSpPr/>
          <p:nvPr userDrawn="1"/>
        </p:nvSpPr>
        <p:spPr>
          <a:xfrm>
            <a:off x="8066093"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ROTAVIRUS</a:t>
            </a:r>
          </a:p>
          <a:p>
            <a:r>
              <a:rPr lang="en-GB" sz="700" noProof="0">
                <a:solidFill>
                  <a:schemeClr val="tx1"/>
                </a:solidFill>
              </a:rPr>
              <a:t>R: 216</a:t>
            </a:r>
          </a:p>
          <a:p>
            <a:r>
              <a:rPr lang="en-GB" sz="700" noProof="0">
                <a:solidFill>
                  <a:schemeClr val="tx1"/>
                </a:solidFill>
              </a:rPr>
              <a:t>G: 96</a:t>
            </a:r>
          </a:p>
          <a:p>
            <a:r>
              <a:rPr lang="en-GB" sz="700" noProof="0">
                <a:solidFill>
                  <a:schemeClr val="tx1"/>
                </a:solidFill>
              </a:rPr>
              <a:t>B: 24</a:t>
            </a:r>
          </a:p>
        </p:txBody>
      </p:sp>
      <p:sp>
        <p:nvSpPr>
          <p:cNvPr id="92" name="Freeform 8"/>
          <p:cNvSpPr>
            <a:spLocks/>
          </p:cNvSpPr>
          <p:nvPr userDrawn="1"/>
        </p:nvSpPr>
        <p:spPr bwMode="auto">
          <a:xfrm>
            <a:off x="8990401"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93" name="Rectangle 92"/>
          <p:cNvSpPr/>
          <p:nvPr userDrawn="1"/>
        </p:nvSpPr>
        <p:spPr>
          <a:xfrm>
            <a:off x="9614400"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YELLOW</a:t>
            </a:r>
          </a:p>
          <a:p>
            <a:r>
              <a:rPr lang="en-GB" sz="700" b="1" noProof="0">
                <a:solidFill>
                  <a:schemeClr val="tx1"/>
                </a:solidFill>
              </a:rPr>
              <a:t>FEVER</a:t>
            </a:r>
          </a:p>
          <a:p>
            <a:r>
              <a:rPr lang="en-GB" sz="700" noProof="0">
                <a:solidFill>
                  <a:schemeClr val="tx1"/>
                </a:solidFill>
              </a:rPr>
              <a:t>R: 234</a:t>
            </a:r>
          </a:p>
          <a:p>
            <a:r>
              <a:rPr lang="en-GB" sz="700" noProof="0">
                <a:solidFill>
                  <a:schemeClr val="tx1"/>
                </a:solidFill>
              </a:rPr>
              <a:t>G: 170</a:t>
            </a:r>
          </a:p>
          <a:p>
            <a:r>
              <a:rPr lang="en-GB" sz="700" noProof="0">
                <a:solidFill>
                  <a:schemeClr val="tx1"/>
                </a:solidFill>
              </a:rPr>
              <a:t>B: 0</a:t>
            </a:r>
          </a:p>
        </p:txBody>
      </p:sp>
      <p:sp>
        <p:nvSpPr>
          <p:cNvPr id="94" name="Freeform 8"/>
          <p:cNvSpPr>
            <a:spLocks/>
          </p:cNvSpPr>
          <p:nvPr userDrawn="1"/>
        </p:nvSpPr>
        <p:spPr bwMode="auto">
          <a:xfrm>
            <a:off x="1246718"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95" name="Rectangle 94"/>
          <p:cNvSpPr/>
          <p:nvPr userDrawn="1"/>
        </p:nvSpPr>
        <p:spPr>
          <a:xfrm>
            <a:off x="1872861"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CHOLERA</a:t>
            </a:r>
          </a:p>
          <a:p>
            <a:r>
              <a:rPr lang="en-GB" sz="700" noProof="0">
                <a:solidFill>
                  <a:schemeClr val="tx1"/>
                </a:solidFill>
              </a:rPr>
              <a:t>R: 175</a:t>
            </a:r>
          </a:p>
          <a:p>
            <a:r>
              <a:rPr lang="en-GB" sz="700" noProof="0">
                <a:solidFill>
                  <a:schemeClr val="tx1"/>
                </a:solidFill>
              </a:rPr>
              <a:t>G: 92</a:t>
            </a:r>
          </a:p>
          <a:p>
            <a:r>
              <a:rPr lang="en-GB" sz="700" noProof="0">
                <a:solidFill>
                  <a:schemeClr val="tx1"/>
                </a:solidFill>
              </a:rPr>
              <a:t>B: 55</a:t>
            </a:r>
          </a:p>
        </p:txBody>
      </p:sp>
      <p:sp>
        <p:nvSpPr>
          <p:cNvPr id="96" name="Freeform 8"/>
          <p:cNvSpPr>
            <a:spLocks/>
          </p:cNvSpPr>
          <p:nvPr userDrawn="1"/>
        </p:nvSpPr>
        <p:spPr bwMode="auto">
          <a:xfrm>
            <a:off x="2795253"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97" name="Rectangle 96"/>
          <p:cNvSpPr/>
          <p:nvPr userDrawn="1"/>
        </p:nvSpPr>
        <p:spPr>
          <a:xfrm>
            <a:off x="3421396"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HEPB</a:t>
            </a:r>
          </a:p>
          <a:p>
            <a:r>
              <a:rPr lang="en-GB" sz="700" noProof="0">
                <a:solidFill>
                  <a:schemeClr val="tx1"/>
                </a:solidFill>
              </a:rPr>
              <a:t>R: 213</a:t>
            </a:r>
          </a:p>
          <a:p>
            <a:r>
              <a:rPr lang="en-GB" sz="700" noProof="0">
                <a:solidFill>
                  <a:schemeClr val="tx1"/>
                </a:solidFill>
              </a:rPr>
              <a:t>G: 0</a:t>
            </a:r>
          </a:p>
          <a:p>
            <a:r>
              <a:rPr lang="en-GB" sz="700" noProof="0">
                <a:solidFill>
                  <a:schemeClr val="tx1"/>
                </a:solidFill>
              </a:rPr>
              <a:t>B: 50</a:t>
            </a:r>
          </a:p>
        </p:txBody>
      </p:sp>
      <p:sp>
        <p:nvSpPr>
          <p:cNvPr id="98" name="Freeform 8"/>
          <p:cNvSpPr>
            <a:spLocks/>
          </p:cNvSpPr>
          <p:nvPr userDrawn="1"/>
        </p:nvSpPr>
        <p:spPr bwMode="auto">
          <a:xfrm>
            <a:off x="4343787" y="356365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99" name="Rectangle 98"/>
          <p:cNvSpPr/>
          <p:nvPr userDrawn="1"/>
        </p:nvSpPr>
        <p:spPr>
          <a:xfrm>
            <a:off x="4969931" y="356365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HPV</a:t>
            </a:r>
          </a:p>
          <a:p>
            <a:r>
              <a:rPr lang="en-GB" sz="700" noProof="0">
                <a:solidFill>
                  <a:schemeClr val="tx1"/>
                </a:solidFill>
              </a:rPr>
              <a:t>R: 245</a:t>
            </a:r>
          </a:p>
          <a:p>
            <a:r>
              <a:rPr lang="en-GB" sz="700" noProof="0">
                <a:solidFill>
                  <a:schemeClr val="tx1"/>
                </a:solidFill>
              </a:rPr>
              <a:t>G: 155</a:t>
            </a:r>
          </a:p>
          <a:p>
            <a:r>
              <a:rPr lang="en-GB" sz="700" noProof="0">
                <a:solidFill>
                  <a:schemeClr val="tx1"/>
                </a:solidFill>
              </a:rPr>
              <a:t>B: 187</a:t>
            </a:r>
          </a:p>
        </p:txBody>
      </p:sp>
      <p:sp>
        <p:nvSpPr>
          <p:cNvPr id="100" name="Freeform 8"/>
          <p:cNvSpPr>
            <a:spLocks/>
          </p:cNvSpPr>
          <p:nvPr userDrawn="1"/>
        </p:nvSpPr>
        <p:spPr bwMode="auto">
          <a:xfrm>
            <a:off x="1246718"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01" name="Rectangle 100"/>
          <p:cNvSpPr/>
          <p:nvPr userDrawn="1"/>
        </p:nvSpPr>
        <p:spPr>
          <a:xfrm>
            <a:off x="1872861"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EASLES</a:t>
            </a:r>
          </a:p>
          <a:p>
            <a:r>
              <a:rPr lang="en-GB" sz="700" b="1" noProof="0">
                <a:solidFill>
                  <a:schemeClr val="tx1"/>
                </a:solidFill>
              </a:rPr>
              <a:t>RUBELLA</a:t>
            </a:r>
          </a:p>
          <a:p>
            <a:r>
              <a:rPr lang="en-GB" sz="700" noProof="0">
                <a:solidFill>
                  <a:schemeClr val="tx1"/>
                </a:solidFill>
              </a:rPr>
              <a:t>R: 0</a:t>
            </a:r>
          </a:p>
          <a:p>
            <a:r>
              <a:rPr lang="en-GB" sz="700" noProof="0">
                <a:solidFill>
                  <a:schemeClr val="tx1"/>
                </a:solidFill>
              </a:rPr>
              <a:t>G: 90</a:t>
            </a:r>
          </a:p>
          <a:p>
            <a:r>
              <a:rPr lang="en-GB" sz="700" noProof="0">
                <a:solidFill>
                  <a:schemeClr val="tx1"/>
                </a:solidFill>
              </a:rPr>
              <a:t>B: 112</a:t>
            </a:r>
          </a:p>
        </p:txBody>
      </p:sp>
      <p:sp>
        <p:nvSpPr>
          <p:cNvPr id="102" name="Freeform 8"/>
          <p:cNvSpPr>
            <a:spLocks/>
          </p:cNvSpPr>
          <p:nvPr userDrawn="1"/>
        </p:nvSpPr>
        <p:spPr bwMode="auto">
          <a:xfrm>
            <a:off x="2795454"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03" name="Rectangle 102"/>
          <p:cNvSpPr/>
          <p:nvPr userDrawn="1"/>
        </p:nvSpPr>
        <p:spPr>
          <a:xfrm>
            <a:off x="3421169"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ENINGITIS</a:t>
            </a:r>
          </a:p>
          <a:p>
            <a:r>
              <a:rPr lang="en-GB" sz="700" b="1" noProof="0">
                <a:solidFill>
                  <a:schemeClr val="tx1"/>
                </a:solidFill>
              </a:rPr>
              <a:t>A</a:t>
            </a:r>
          </a:p>
          <a:p>
            <a:r>
              <a:rPr lang="en-GB" sz="700" noProof="0">
                <a:solidFill>
                  <a:schemeClr val="tx1"/>
                </a:solidFill>
              </a:rPr>
              <a:t>R: 0</a:t>
            </a:r>
          </a:p>
          <a:p>
            <a:r>
              <a:rPr lang="en-GB" sz="700" noProof="0">
                <a:solidFill>
                  <a:schemeClr val="tx1"/>
                </a:solidFill>
              </a:rPr>
              <a:t>G: 150</a:t>
            </a:r>
          </a:p>
          <a:p>
            <a:r>
              <a:rPr lang="en-GB" sz="700" noProof="0">
                <a:solidFill>
                  <a:schemeClr val="tx1"/>
                </a:solidFill>
              </a:rPr>
              <a:t>B: 57</a:t>
            </a:r>
          </a:p>
        </p:txBody>
      </p:sp>
      <p:sp>
        <p:nvSpPr>
          <p:cNvPr id="104" name="Freeform 8"/>
          <p:cNvSpPr>
            <a:spLocks/>
          </p:cNvSpPr>
          <p:nvPr userDrawn="1"/>
        </p:nvSpPr>
        <p:spPr bwMode="auto">
          <a:xfrm>
            <a:off x="4344190"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05" name="Rectangle 104"/>
          <p:cNvSpPr/>
          <p:nvPr userDrawn="1"/>
        </p:nvSpPr>
        <p:spPr>
          <a:xfrm>
            <a:off x="4969477"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PENTA</a:t>
            </a:r>
          </a:p>
          <a:p>
            <a:r>
              <a:rPr lang="en-GB" sz="700" b="1" noProof="0">
                <a:solidFill>
                  <a:schemeClr val="tx1"/>
                </a:solidFill>
              </a:rPr>
              <a:t>DTP–HEP-HIB</a:t>
            </a:r>
          </a:p>
          <a:p>
            <a:r>
              <a:rPr lang="en-GB" sz="700" noProof="0">
                <a:solidFill>
                  <a:schemeClr val="tx1"/>
                </a:solidFill>
              </a:rPr>
              <a:t>R: 101</a:t>
            </a:r>
          </a:p>
          <a:p>
            <a:r>
              <a:rPr lang="en-GB" sz="700" noProof="0">
                <a:solidFill>
                  <a:schemeClr val="tx1"/>
                </a:solidFill>
              </a:rPr>
              <a:t>G: 50</a:t>
            </a:r>
          </a:p>
          <a:p>
            <a:r>
              <a:rPr lang="en-GB" sz="700" noProof="0">
                <a:solidFill>
                  <a:schemeClr val="tx1"/>
                </a:solidFill>
              </a:rPr>
              <a:t>B: 121</a:t>
            </a:r>
          </a:p>
        </p:txBody>
      </p:sp>
      <p:sp>
        <p:nvSpPr>
          <p:cNvPr id="106" name="Rectangle 105"/>
          <p:cNvSpPr/>
          <p:nvPr userDrawn="1"/>
        </p:nvSpPr>
        <p:spPr>
          <a:xfrm>
            <a:off x="7440150" y="5279243"/>
            <a:ext cx="4224801" cy="7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1200" b="1" noProof="0">
                <a:solidFill>
                  <a:schemeClr val="tx1"/>
                </a:solidFill>
              </a:rPr>
              <a:t>Please use the four Gavi corporate colours where possible.  Specific strategic goals </a:t>
            </a:r>
            <a:br>
              <a:rPr lang="en-GB" sz="1200" b="1" noProof="0">
                <a:solidFill>
                  <a:schemeClr val="tx1"/>
                </a:solidFill>
              </a:rPr>
            </a:br>
            <a:r>
              <a:rPr lang="en-GB" sz="1200" b="1" noProof="0">
                <a:solidFill>
                  <a:schemeClr val="tx1"/>
                </a:solidFill>
              </a:rPr>
              <a:t>or vaccines should be highlighted using the key above. </a:t>
            </a:r>
          </a:p>
        </p:txBody>
      </p:sp>
      <p:sp>
        <p:nvSpPr>
          <p:cNvPr id="107" name="Freeform 8"/>
          <p:cNvSpPr>
            <a:spLocks/>
          </p:cNvSpPr>
          <p:nvPr userDrawn="1"/>
        </p:nvSpPr>
        <p:spPr bwMode="auto">
          <a:xfrm>
            <a:off x="5894401" y="5308462"/>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08" name="Rectangle 107"/>
          <p:cNvSpPr/>
          <p:nvPr userDrawn="1"/>
        </p:nvSpPr>
        <p:spPr>
          <a:xfrm>
            <a:off x="6518400" y="5308462"/>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RABIES</a:t>
            </a:r>
          </a:p>
          <a:p>
            <a:r>
              <a:rPr lang="en-GB" sz="700" noProof="0">
                <a:solidFill>
                  <a:schemeClr val="tx1"/>
                </a:solidFill>
              </a:rPr>
              <a:t>R: 100</a:t>
            </a:r>
          </a:p>
          <a:p>
            <a:r>
              <a:rPr lang="en-GB" sz="700" noProof="0">
                <a:solidFill>
                  <a:schemeClr val="tx1"/>
                </a:solidFill>
              </a:rPr>
              <a:t>G: 99</a:t>
            </a:r>
          </a:p>
          <a:p>
            <a:r>
              <a:rPr lang="en-GB" sz="700" noProof="0">
                <a:solidFill>
                  <a:schemeClr val="tx1"/>
                </a:solidFill>
              </a:rPr>
              <a:t>B: 99</a:t>
            </a:r>
          </a:p>
        </p:txBody>
      </p:sp>
      <p:sp>
        <p:nvSpPr>
          <p:cNvPr id="109" name="Freeform 8"/>
          <p:cNvSpPr>
            <a:spLocks/>
          </p:cNvSpPr>
          <p:nvPr userDrawn="1"/>
        </p:nvSpPr>
        <p:spPr bwMode="auto">
          <a:xfrm>
            <a:off x="1246718" y="5308462"/>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10" name="Rectangle 109"/>
          <p:cNvSpPr/>
          <p:nvPr userDrawn="1"/>
        </p:nvSpPr>
        <p:spPr>
          <a:xfrm>
            <a:off x="1872861" y="5308462"/>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DENGUE</a:t>
            </a:r>
          </a:p>
          <a:p>
            <a:r>
              <a:rPr lang="en-GB" sz="700" noProof="0">
                <a:solidFill>
                  <a:schemeClr val="tx1"/>
                </a:solidFill>
              </a:rPr>
              <a:t>R: 198</a:t>
            </a:r>
          </a:p>
          <a:p>
            <a:r>
              <a:rPr lang="en-GB" sz="700" noProof="0">
                <a:solidFill>
                  <a:schemeClr val="tx1"/>
                </a:solidFill>
              </a:rPr>
              <a:t>G: 198</a:t>
            </a:r>
          </a:p>
          <a:p>
            <a:r>
              <a:rPr lang="en-GB" sz="700" noProof="0">
                <a:solidFill>
                  <a:schemeClr val="tx1"/>
                </a:solidFill>
              </a:rPr>
              <a:t>B: 198</a:t>
            </a:r>
          </a:p>
        </p:txBody>
      </p:sp>
      <p:sp>
        <p:nvSpPr>
          <p:cNvPr id="111" name="Freeform 8"/>
          <p:cNvSpPr>
            <a:spLocks/>
          </p:cNvSpPr>
          <p:nvPr userDrawn="1"/>
        </p:nvSpPr>
        <p:spPr bwMode="auto">
          <a:xfrm>
            <a:off x="2795946" y="5308462"/>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12" name="Rectangle 111"/>
          <p:cNvSpPr/>
          <p:nvPr userDrawn="1"/>
        </p:nvSpPr>
        <p:spPr>
          <a:xfrm>
            <a:off x="3421375" y="5308462"/>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ALARIA</a:t>
            </a:r>
          </a:p>
          <a:p>
            <a:r>
              <a:rPr lang="en-GB" sz="700" noProof="0">
                <a:solidFill>
                  <a:schemeClr val="tx1"/>
                </a:solidFill>
              </a:rPr>
              <a:t>R: 168</a:t>
            </a:r>
          </a:p>
          <a:p>
            <a:r>
              <a:rPr lang="en-GB" sz="700" noProof="0">
                <a:solidFill>
                  <a:schemeClr val="tx1"/>
                </a:solidFill>
              </a:rPr>
              <a:t>G: 168</a:t>
            </a:r>
          </a:p>
          <a:p>
            <a:r>
              <a:rPr lang="en-GB" sz="700" noProof="0">
                <a:solidFill>
                  <a:schemeClr val="tx1"/>
                </a:solidFill>
              </a:rPr>
              <a:t>B: 167</a:t>
            </a:r>
          </a:p>
        </p:txBody>
      </p:sp>
      <p:sp>
        <p:nvSpPr>
          <p:cNvPr id="113" name="Freeform 8"/>
          <p:cNvSpPr>
            <a:spLocks/>
          </p:cNvSpPr>
          <p:nvPr userDrawn="1"/>
        </p:nvSpPr>
        <p:spPr bwMode="auto">
          <a:xfrm>
            <a:off x="4345174" y="5308462"/>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800" noProof="0"/>
          </a:p>
        </p:txBody>
      </p:sp>
      <p:sp>
        <p:nvSpPr>
          <p:cNvPr id="114" name="Rectangle 113"/>
          <p:cNvSpPr/>
          <p:nvPr userDrawn="1"/>
        </p:nvSpPr>
        <p:spPr>
          <a:xfrm>
            <a:off x="4969888" y="5308462"/>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MATERNAL</a:t>
            </a:r>
          </a:p>
          <a:p>
            <a:r>
              <a:rPr lang="en-GB" sz="700" b="1" noProof="0">
                <a:solidFill>
                  <a:schemeClr val="tx1"/>
                </a:solidFill>
              </a:rPr>
              <a:t>FLU</a:t>
            </a:r>
          </a:p>
          <a:p>
            <a:r>
              <a:rPr lang="en-GB" sz="700" noProof="0">
                <a:solidFill>
                  <a:schemeClr val="tx1"/>
                </a:solidFill>
              </a:rPr>
              <a:t>R: 135</a:t>
            </a:r>
          </a:p>
          <a:p>
            <a:r>
              <a:rPr lang="en-GB" sz="700" noProof="0">
                <a:solidFill>
                  <a:schemeClr val="tx1"/>
                </a:solidFill>
              </a:rPr>
              <a:t>G: 135</a:t>
            </a:r>
          </a:p>
          <a:p>
            <a:r>
              <a:rPr lang="en-GB" sz="700" noProof="0">
                <a:solidFill>
                  <a:schemeClr val="tx1"/>
                </a:solidFill>
              </a:rPr>
              <a:t>B: 135</a:t>
            </a:r>
          </a:p>
        </p:txBody>
      </p:sp>
      <p:sp>
        <p:nvSpPr>
          <p:cNvPr id="115" name="Freeform 8"/>
          <p:cNvSpPr>
            <a:spLocks/>
          </p:cNvSpPr>
          <p:nvPr userDrawn="1"/>
        </p:nvSpPr>
        <p:spPr bwMode="auto">
          <a:xfrm>
            <a:off x="10537926" y="4431007"/>
            <a:ext cx="591207" cy="65750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p:spPr>
        <p:txBody>
          <a:bodyPr vert="horz" wrap="square" lIns="91440" tIns="45720" rIns="91440" bIns="45720" numCol="1" anchor="t" anchorCtr="0" compatLnSpc="1">
            <a:prstTxWarp prst="textNoShape">
              <a:avLst/>
            </a:prstTxWarp>
          </a:bodyPr>
          <a:lstStyle/>
          <a:p>
            <a:pPr eaLnBrk="1"/>
            <a:endParaRPr lang="en-GB" sz="1800" noProof="0"/>
          </a:p>
        </p:txBody>
      </p:sp>
      <p:sp>
        <p:nvSpPr>
          <p:cNvPr id="116" name="Rectangle 115"/>
          <p:cNvSpPr/>
          <p:nvPr userDrawn="1"/>
        </p:nvSpPr>
        <p:spPr>
          <a:xfrm>
            <a:off x="11164069" y="4431007"/>
            <a:ext cx="1008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700" b="1" noProof="0">
                <a:solidFill>
                  <a:schemeClr val="tx1"/>
                </a:solidFill>
              </a:rPr>
              <a:t>TYPHOÏD</a:t>
            </a:r>
          </a:p>
          <a:p>
            <a:r>
              <a:rPr lang="en-GB" sz="700" noProof="0">
                <a:solidFill>
                  <a:schemeClr val="tx1"/>
                </a:solidFill>
              </a:rPr>
              <a:t>R: 125</a:t>
            </a:r>
          </a:p>
          <a:p>
            <a:r>
              <a:rPr lang="en-GB" sz="700" noProof="0">
                <a:solidFill>
                  <a:schemeClr val="tx1"/>
                </a:solidFill>
              </a:rPr>
              <a:t>G: 112</a:t>
            </a:r>
          </a:p>
          <a:p>
            <a:r>
              <a:rPr lang="en-GB" sz="700" noProof="0">
                <a:solidFill>
                  <a:schemeClr val="tx1"/>
                </a:solidFill>
              </a:rPr>
              <a:t>B: 97</a:t>
            </a:r>
          </a:p>
        </p:txBody>
      </p:sp>
      <p:sp>
        <p:nvSpPr>
          <p:cNvPr id="4" name="ZoneTexte 3"/>
          <p:cNvSpPr txBox="1"/>
          <p:nvPr userDrawn="1"/>
        </p:nvSpPr>
        <p:spPr>
          <a:xfrm>
            <a:off x="1120714" y="0"/>
            <a:ext cx="10544237" cy="1080094"/>
          </a:xfrm>
          <a:prstGeom prst="rect">
            <a:avLst/>
          </a:prstGeom>
          <a:noFill/>
        </p:spPr>
        <p:txBody>
          <a:bodyPr wrap="square" rtlCol="0" anchor="b" anchorCtr="0">
            <a:noAutofit/>
          </a:bodyPr>
          <a:lstStyle/>
          <a:p>
            <a:r>
              <a:rPr lang="en-GB" sz="2800" noProof="0">
                <a:solidFill>
                  <a:schemeClr val="accent1"/>
                </a:solidFill>
              </a:rPr>
              <a:t>BRAND COLOUR PALETTE</a:t>
            </a:r>
          </a:p>
        </p:txBody>
      </p:sp>
    </p:spTree>
    <p:extLst>
      <p:ext uri="{BB962C8B-B14F-4D97-AF65-F5344CB8AC3E}">
        <p14:creationId xmlns:p14="http://schemas.microsoft.com/office/powerpoint/2010/main" val="299311104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1_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8000" y="1304930"/>
            <a:ext cx="10532533"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e la date 12"/>
          <p:cNvSpPr>
            <a:spLocks noGrp="1"/>
          </p:cNvSpPr>
          <p:nvPr>
            <p:ph type="dt" sz="half" idx="10"/>
          </p:nvPr>
        </p:nvSpPr>
        <p:spPr bwMode="gray">
          <a:xfrm>
            <a:off x="-738718" y="6498000"/>
            <a:ext cx="1246719" cy="360000"/>
          </a:xfrm>
          <a:prstGeom prst="rect">
            <a:avLst/>
          </a:prstGeom>
        </p:spPr>
        <p:txBody>
          <a:bodyPr/>
          <a:lstStyle/>
          <a:p>
            <a:r>
              <a:rPr lang="fr-CH" noProof="0"/>
              <a:t>Date</a:t>
            </a:r>
            <a:endParaRPr lang="en-GB" noProof="0"/>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196759528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6_Full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09CDB214-91CC-5B4C-8CD3-704527D44115}"/>
              </a:ext>
            </a:extLst>
          </p:cNvPr>
          <p:cNvSpPr>
            <a:spLocks noGrp="1"/>
          </p:cNvSpPr>
          <p:nvPr>
            <p:ph type="pic" sz="quarter" idx="15"/>
          </p:nvPr>
        </p:nvSpPr>
        <p:spPr>
          <a:xfrm>
            <a:off x="2037491" y="2081464"/>
            <a:ext cx="4162104" cy="2607045"/>
          </a:xfrm>
          <a:prstGeom prst="rect">
            <a:avLst/>
          </a:prstGeom>
          <a:solidFill>
            <a:schemeClr val="bg1">
              <a:lumMod val="95000"/>
            </a:schemeClr>
          </a:solidFill>
        </p:spPr>
        <p:txBody>
          <a:bodyPr>
            <a:normAutofit/>
          </a:bodyPr>
          <a:lstStyle>
            <a:lvl1pPr>
              <a:defRPr sz="1051"/>
            </a:lvl1pPr>
          </a:lstStyle>
          <a:p>
            <a:endParaRPr lang="en-US"/>
          </a:p>
        </p:txBody>
      </p:sp>
      <p:sp>
        <p:nvSpPr>
          <p:cNvPr id="6" name="Picture Placeholder 8">
            <a:extLst>
              <a:ext uri="{FF2B5EF4-FFF2-40B4-BE49-F238E27FC236}">
                <a16:creationId xmlns:a16="http://schemas.microsoft.com/office/drawing/2014/main" id="{0817A464-9E5E-6C45-9C40-5486069F0C23}"/>
              </a:ext>
            </a:extLst>
          </p:cNvPr>
          <p:cNvSpPr>
            <a:spLocks noGrp="1"/>
          </p:cNvSpPr>
          <p:nvPr>
            <p:ph type="pic" sz="quarter" idx="17"/>
          </p:nvPr>
        </p:nvSpPr>
        <p:spPr>
          <a:xfrm>
            <a:off x="6048357" y="2994624"/>
            <a:ext cx="4162104" cy="2607045"/>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5126988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6_Slide">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3AF8D21A-6CCE-CD43-8AE8-35782B027FA3}"/>
              </a:ext>
            </a:extLst>
          </p:cNvPr>
          <p:cNvSpPr>
            <a:spLocks noGrp="1"/>
          </p:cNvSpPr>
          <p:nvPr>
            <p:ph type="pic" sz="quarter" idx="17"/>
          </p:nvPr>
        </p:nvSpPr>
        <p:spPr>
          <a:xfrm>
            <a:off x="3499485" y="-1"/>
            <a:ext cx="3222601" cy="4572001"/>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295158261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0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DC0EE312-4016-7A42-A2BC-FA22EFDB2291}"/>
              </a:ext>
            </a:extLst>
          </p:cNvPr>
          <p:cNvSpPr>
            <a:spLocks noGrp="1"/>
          </p:cNvSpPr>
          <p:nvPr>
            <p:ph type="pic" sz="quarter" idx="14"/>
          </p:nvPr>
        </p:nvSpPr>
        <p:spPr>
          <a:xfrm>
            <a:off x="1629348" y="720996"/>
            <a:ext cx="4990276" cy="5416010"/>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71837222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8321710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33034846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6634763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58131908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71373746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279273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70592724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98203290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70715535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3261189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6827105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9881347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66435479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26964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97254640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03521970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38703275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90710033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411821484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07431471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24548403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413228461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86275772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9046681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27622838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30455295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62558688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80121662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82876797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133943012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09627038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54694053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83040627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63204646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262505483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2955022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82825084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84229814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49280611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4553728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24236050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64172587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38421352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51051308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14097720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1081961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6350391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32087560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72713734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64226728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val="0"/>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ESA EPI Manager Meeting - 26 June 2024</a:t>
            </a:r>
            <a:endParaRPr lang="en-GB"/>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54413673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Slide + Image">
    <p:bg>
      <p:bgPr>
        <a:blipFill dpi="0" rotWithShape="1">
          <a:blip r:embed="rId2" cstate="email">
            <a:lum/>
            <a:extLst>
              <a:ext uri="{28A0092B-C50C-407E-A947-70E740481C1C}">
                <a14:useLocalDpi xmlns:a14="http://schemas.microsoft.com/office/drawing/2010/main" val="0"/>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141803945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D2D8C-219E-960F-BB05-16D5B9BA4C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F714CC-E585-AEE2-BC19-16DE386E26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02732845-4900-6D92-DB4E-CE62E2711150}"/>
              </a:ext>
            </a:extLst>
          </p:cNvPr>
          <p:cNvSpPr>
            <a:spLocks noGrp="1"/>
          </p:cNvSpPr>
          <p:nvPr>
            <p:ph type="ftr" sz="quarter" idx="10"/>
          </p:nvPr>
        </p:nvSpPr>
        <p:spPr/>
        <p:txBody>
          <a:bodyPr/>
          <a:lstStyle/>
          <a:p>
            <a:r>
              <a:rPr lang="en-GB"/>
              <a:t>Gavi Presentation Template</a:t>
            </a:r>
          </a:p>
        </p:txBody>
      </p:sp>
      <p:sp>
        <p:nvSpPr>
          <p:cNvPr id="5" name="Slide Number Placeholder 4">
            <a:extLst>
              <a:ext uri="{FF2B5EF4-FFF2-40B4-BE49-F238E27FC236}">
                <a16:creationId xmlns:a16="http://schemas.microsoft.com/office/drawing/2014/main" id="{30AD4E0C-ACE9-C8BC-C58D-8332E1008A42}"/>
              </a:ext>
            </a:extLst>
          </p:cNvPr>
          <p:cNvSpPr>
            <a:spLocks noGrp="1"/>
          </p:cNvSpPr>
          <p:nvPr>
            <p:ph type="sldNum" sz="quarter" idx="11"/>
          </p:nvPr>
        </p:nvSpPr>
        <p:spPr/>
        <p:txBody>
          <a:bodyPr/>
          <a:lstStyle/>
          <a:p>
            <a:fld id="{AB746B08-255A-2748-8A21-40BE94A17FD1}" type="slidenum">
              <a:rPr lang="en-GB" smtClean="0"/>
              <a:pPr/>
              <a:t>‹#›</a:t>
            </a:fld>
            <a:endParaRPr lang="en-GB"/>
          </a:p>
        </p:txBody>
      </p:sp>
    </p:spTree>
    <p:extLst>
      <p:ext uri="{BB962C8B-B14F-4D97-AF65-F5344CB8AC3E}">
        <p14:creationId xmlns:p14="http://schemas.microsoft.com/office/powerpoint/2010/main" val="71230058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272174905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23473234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06541790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04124449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5613028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80994361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65788570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2202233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50921460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04305975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92557464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64039669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6275476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7508018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89576664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6441852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30369853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20749983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72893062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80485426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424382538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70927580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87884581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28334958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8147921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9075131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181237402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1266039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17567531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59498976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03683140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63012624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50683869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91644743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0849674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82603470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114331196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424834880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5511540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426079409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50496749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67661839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09092034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01019894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03433382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3822527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32246291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73342757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32533649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5803780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7D641-25C4-327A-559E-CE081D4210E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C56B0E1-C579-868C-0C21-5B30D771AF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5CC6567-02E1-0A15-0287-62A60923A93D}"/>
              </a:ext>
            </a:extLst>
          </p:cNvPr>
          <p:cNvSpPr>
            <a:spLocks noGrp="1"/>
          </p:cNvSpPr>
          <p:nvPr>
            <p:ph type="dt" sz="half" idx="10"/>
          </p:nvPr>
        </p:nvSpPr>
        <p:spPr/>
        <p:txBody>
          <a:bodyPr/>
          <a:lstStyle/>
          <a:p>
            <a:fld id="{44041AFC-FB85-4B59-9411-43951B776C2E}" type="datetimeFigureOut">
              <a:rPr lang="en-GB" smtClean="0"/>
              <a:t>08/10/2025</a:t>
            </a:fld>
            <a:endParaRPr lang="en-GB"/>
          </a:p>
        </p:txBody>
      </p:sp>
      <p:sp>
        <p:nvSpPr>
          <p:cNvPr id="5" name="Footer Placeholder 4">
            <a:extLst>
              <a:ext uri="{FF2B5EF4-FFF2-40B4-BE49-F238E27FC236}">
                <a16:creationId xmlns:a16="http://schemas.microsoft.com/office/drawing/2014/main" id="{6F700007-54F8-DE89-ABA4-7604ADA74A1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B76D2D2-1764-9629-2204-1B3BC3E5D5E7}"/>
              </a:ext>
            </a:extLst>
          </p:cNvPr>
          <p:cNvSpPr>
            <a:spLocks noGrp="1"/>
          </p:cNvSpPr>
          <p:nvPr>
            <p:ph type="sldNum" sz="quarter" idx="12"/>
          </p:nvPr>
        </p:nvSpPr>
        <p:spPr/>
        <p:txBody>
          <a:bodyPr/>
          <a:lstStyle/>
          <a:p>
            <a:fld id="{F8CE4096-A8F4-4F17-946C-AC33682DAA01}" type="slidenum">
              <a:rPr lang="en-GB" smtClean="0"/>
              <a:t>‹#›</a:t>
            </a:fld>
            <a:endParaRPr lang="en-GB"/>
          </a:p>
        </p:txBody>
      </p:sp>
    </p:spTree>
    <p:extLst>
      <p:ext uri="{BB962C8B-B14F-4D97-AF65-F5344CB8AC3E}">
        <p14:creationId xmlns:p14="http://schemas.microsoft.com/office/powerpoint/2010/main" val="250960493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ESA EPI Manager Meeting - 26 June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06526062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val="0"/>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ESA EPI Manager Meeting - 26 June 2024</a:t>
            </a:r>
            <a:endParaRPr lang="en-GB"/>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424838325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hank You">
    <p:bg>
      <p:bgPr>
        <a:blipFill dpi="0" rotWithShape="1">
          <a:blip r:embed="rId2">
            <a:lum/>
            <a:extLst>
              <a:ext uri="{28A0092B-C50C-407E-A947-70E740481C1C}">
                <a14:useLocalDpi xmlns:a14="http://schemas.microsoft.com/office/drawing/2010/main" val="0"/>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325240648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hank You + Image">
    <p:bg>
      <p:bgPr>
        <a:blipFill dpi="0" rotWithShape="1">
          <a:blip r:embed="rId4">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7F8944-1C3A-B3CB-AE5D-5F79D01BF34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8" name="think-cell Slide" r:id="rId5" imgW="405" imgH="405" progId="TCLayout.ActiveDocument.1">
                  <p:embed/>
                </p:oleObj>
              </mc:Choice>
              <mc:Fallback>
                <p:oleObj name="think-cell Slide" r:id="rId5" imgW="405" imgH="405" progId="TCLayout.ActiveDocument.1">
                  <p:embed/>
                  <p:pic>
                    <p:nvPicPr>
                      <p:cNvPr id="3" name="think-cell data - do not delete" hidden="1">
                        <a:extLst>
                          <a:ext uri="{FF2B5EF4-FFF2-40B4-BE49-F238E27FC236}">
                            <a16:creationId xmlns:a16="http://schemas.microsoft.com/office/drawing/2014/main" id="{1A7F8944-1C3A-B3CB-AE5D-5F79D01BF3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vert="horz" anchor="ctr">
            <a:noAutofit/>
          </a:bodyPr>
          <a:lstStyle>
            <a:lvl1pPr rtl="0">
              <a:lnSpc>
                <a:spcPct val="90000"/>
              </a:lnSpc>
              <a:defRPr sz="6000">
                <a:solidFill>
                  <a:schemeClr val="bg1"/>
                </a:solidFill>
              </a:defRPr>
            </a:lvl1pPr>
          </a:lstStyle>
          <a:p>
            <a:r>
              <a:rPr lang="en-US"/>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rtl="0">
              <a:defRPr sz="1600">
                <a:solidFill>
                  <a:schemeClr val="bg1">
                    <a:lumMod val="50000"/>
                  </a:schemeClr>
                </a:solidFill>
              </a:defRPr>
            </a:lvl1pPr>
          </a:lstStyle>
          <a:p>
            <a:r>
              <a:rPr lang="en-US"/>
              <a:t>Click icon to add picture</a:t>
            </a:r>
          </a:p>
        </p:txBody>
      </p:sp>
    </p:spTree>
    <p:extLst>
      <p:ext uri="{BB962C8B-B14F-4D97-AF65-F5344CB8AC3E}">
        <p14:creationId xmlns:p14="http://schemas.microsoft.com/office/powerpoint/2010/main" val="270354703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D2D8C-219E-960F-BB05-16D5B9BA4C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F714CC-E585-AEE2-BC19-16DE386E26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02732845-4900-6D92-DB4E-CE62E2711150}"/>
              </a:ext>
            </a:extLst>
          </p:cNvPr>
          <p:cNvSpPr>
            <a:spLocks noGrp="1"/>
          </p:cNvSpPr>
          <p:nvPr>
            <p:ph type="ftr" sz="quarter" idx="10"/>
          </p:nvPr>
        </p:nvSpPr>
        <p:spPr/>
        <p:txBody>
          <a:bodyPr/>
          <a:lstStyle/>
          <a:p>
            <a:r>
              <a:rPr lang="en-GB"/>
              <a:t>Gavi Presentation Template</a:t>
            </a:r>
          </a:p>
        </p:txBody>
      </p:sp>
      <p:sp>
        <p:nvSpPr>
          <p:cNvPr id="5" name="Slide Number Placeholder 4">
            <a:extLst>
              <a:ext uri="{FF2B5EF4-FFF2-40B4-BE49-F238E27FC236}">
                <a16:creationId xmlns:a16="http://schemas.microsoft.com/office/drawing/2014/main" id="{30AD4E0C-ACE9-C8BC-C58D-8332E1008A42}"/>
              </a:ext>
            </a:extLst>
          </p:cNvPr>
          <p:cNvSpPr>
            <a:spLocks noGrp="1"/>
          </p:cNvSpPr>
          <p:nvPr>
            <p:ph type="sldNum" sz="quarter" idx="11"/>
          </p:nvPr>
        </p:nvSpPr>
        <p:spPr/>
        <p:txBody>
          <a:bodyPr/>
          <a:lstStyle/>
          <a:p>
            <a:fld id="{AB746B08-255A-2748-8A21-40BE94A17FD1}" type="slidenum">
              <a:rPr lang="en-GB" smtClean="0"/>
              <a:pPr/>
              <a:t>‹#›</a:t>
            </a:fld>
            <a:endParaRPr lang="en-GB"/>
          </a:p>
        </p:txBody>
      </p:sp>
    </p:spTree>
    <p:extLst>
      <p:ext uri="{BB962C8B-B14F-4D97-AF65-F5344CB8AC3E}">
        <p14:creationId xmlns:p14="http://schemas.microsoft.com/office/powerpoint/2010/main" val="359988860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fr"/>
              <a:t>LE SOUS-TITRE VA ICI : TAPEZ EN MAJUSCULE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fr"/>
              <a:t>Cliquez pour modifier le style de titre du gabarit</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fr"/>
              <a:t>Le sous-titre va ici</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fr" sz="1800" b="1">
                <a:solidFill>
                  <a:schemeClr val="bg2"/>
                </a:solidFill>
              </a:rPr>
              <a:t>gavi.org</a:t>
            </a:r>
          </a:p>
        </p:txBody>
      </p:sp>
    </p:spTree>
    <p:extLst>
      <p:ext uri="{BB962C8B-B14F-4D97-AF65-F5344CB8AC3E}">
        <p14:creationId xmlns:p14="http://schemas.microsoft.com/office/powerpoint/2010/main" val="90388774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fr"/>
              <a:t>Cliquez sur l'icône pour insérer l'imag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fr"/>
              <a:t>LE SOUS-TITRE VA ICI : TAPEZ EN MAJUSCULE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fr"/>
              <a:t>Cliquez pour modifier le style de titre du gabarit</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fr"/>
              <a:t>Le sous-titre va ici</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fr"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58819744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fr"/>
              <a:t>LE SOUS-TITRE VA ICI : TAPEZ EN MAJUSCULE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fr"/>
              <a:t>Cliquez pour modifier le style de titre du gabarit</a:t>
            </a:r>
            <a:endParaRPr lang="en-GB"/>
          </a:p>
        </p:txBody>
      </p:sp>
      <p:pic>
        <p:nvPicPr>
          <p:cNvPr id="7" name="Picture 6" descr="Forme&#10;&#10;Description générée automatiquement">
            <a:extLst>
              <a:ext uri="{FF2B5EF4-FFF2-40B4-BE49-F238E27FC236}">
                <a16:creationId xmlns:a16="http://schemas.microsoft.com/office/drawing/2014/main" id="{D2830A3C-7ED1-2741-8ED4-600D60D8DBDA}"/>
              </a:ext>
            </a:extLst>
          </p:cNvPr>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fr"/>
              <a:t>XX</a:t>
            </a:r>
          </a:p>
        </p:txBody>
      </p:sp>
    </p:spTree>
    <p:extLst>
      <p:ext uri="{BB962C8B-B14F-4D97-AF65-F5344CB8AC3E}">
        <p14:creationId xmlns:p14="http://schemas.microsoft.com/office/powerpoint/2010/main" val="244209973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Une image contenant des raies, des poissons&#10;&#10;Description générée automatiquement">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fr"/>
              <a:t>X</a:t>
            </a:r>
          </a:p>
        </p:txBody>
      </p:sp>
    </p:spTree>
    <p:extLst>
      <p:ext uri="{BB962C8B-B14F-4D97-AF65-F5344CB8AC3E}">
        <p14:creationId xmlns:p14="http://schemas.microsoft.com/office/powerpoint/2010/main" val="384737075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fr"/>
              <a:t>Cliquez sur l'icône pour ajouter une imag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22609481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52323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fr"/>
              <a:t>Cliquez sur l'icône pour ajouter une imag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76412658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fr"/>
              <a:t>Cliquez sur l'icône pour ajouter une imag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200819404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fr"/>
              <a:t>Cliquez sur l'icône pour ajouter une imag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345304978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310864049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290746638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36811545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fr"/>
              <a:t>Cliquez sur l'icône pour ajouter une imag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34344447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43473077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116341574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37271964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5714330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95860514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208415412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fr"/>
              <a:t>Merci</a:t>
            </a:r>
          </a:p>
        </p:txBody>
      </p:sp>
    </p:spTree>
    <p:extLst>
      <p:ext uri="{BB962C8B-B14F-4D97-AF65-F5344CB8AC3E}">
        <p14:creationId xmlns:p14="http://schemas.microsoft.com/office/powerpoint/2010/main" val="275052509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fr"/>
              <a:t>Merci</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fr"/>
              <a:t>Cliquez sur l'icône pour ajouter une image</a:t>
            </a:r>
            <a:endParaRPr lang="en-GB"/>
          </a:p>
        </p:txBody>
      </p:sp>
    </p:spTree>
    <p:extLst>
      <p:ext uri="{BB962C8B-B14F-4D97-AF65-F5344CB8AC3E}">
        <p14:creationId xmlns:p14="http://schemas.microsoft.com/office/powerpoint/2010/main" val="182522850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fr"/>
              <a:t>Ajouter un titr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40" y="742950"/>
            <a:ext cx="11471999" cy="468000"/>
          </a:xfrm>
        </p:spPr>
        <p:txBody>
          <a:bodyPr>
            <a:noAutofit/>
          </a:bodyPr>
          <a:lstStyle>
            <a:lvl1pPr marL="0" indent="0">
              <a:buFont typeface="Arial" panose="020B0604020202020204" pitchFamily="34" charset="0"/>
              <a:buNone/>
              <a:tabLst/>
              <a:defRPr sz="3199">
                <a:latin typeface="+mn-lt"/>
              </a:defRPr>
            </a:lvl1pPr>
            <a:lvl2pPr marL="0" indent="0">
              <a:buFont typeface="Arial" panose="020B0604020202020204" pitchFamily="34" charset="0"/>
              <a:buNone/>
              <a:tabLst/>
              <a:defRPr sz="3199">
                <a:latin typeface="+mn-lt"/>
              </a:defRPr>
            </a:lvl2pPr>
            <a:lvl3pPr marL="0" indent="0">
              <a:buFont typeface="Arial" panose="020B0604020202020204" pitchFamily="34" charset="0"/>
              <a:buNone/>
              <a:tabLst/>
              <a:defRPr sz="3199">
                <a:latin typeface="+mn-lt"/>
              </a:defRPr>
            </a:lvl3pPr>
            <a:lvl4pPr marL="0" indent="0">
              <a:buFont typeface="Arial" panose="020B0604020202020204" pitchFamily="34" charset="0"/>
              <a:buNone/>
              <a:tabLst/>
              <a:defRPr sz="3199">
                <a:latin typeface="+mn-lt"/>
              </a:defRPr>
            </a:lvl4pPr>
            <a:lvl5pPr marL="0" indent="0">
              <a:buFont typeface="Arial" panose="020B0604020202020204" pitchFamily="34" charset="0"/>
              <a:buNone/>
              <a:tabLst/>
              <a:defRPr sz="3199">
                <a:latin typeface="+mn-lt"/>
              </a:defRPr>
            </a:lvl5pPr>
          </a:lstStyle>
          <a:p>
            <a:pPr lvl="0"/>
            <a:r>
              <a:rPr lang="fr"/>
              <a:t>Ajouter un sous-titre</a:t>
            </a:r>
          </a:p>
        </p:txBody>
      </p:sp>
    </p:spTree>
    <p:extLst>
      <p:ext uri="{BB962C8B-B14F-4D97-AF65-F5344CB8AC3E}">
        <p14:creationId xmlns:p14="http://schemas.microsoft.com/office/powerpoint/2010/main" val="133594960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fr"/>
              <a:t>Cliquez pour modifier le style de titre du gabarit</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fr"/>
              <a:t>Cliquez pour modifier les styles de texte du modèle</a:t>
            </a:r>
          </a:p>
          <a:p>
            <a:pPr lvl="1"/>
            <a:r>
              <a:rPr lang="fr"/>
              <a:t>Deuxième niveau</a:t>
            </a:r>
          </a:p>
          <a:p>
            <a:pPr lvl="2"/>
            <a:r>
              <a:rPr lang="fr"/>
              <a:t>Troisième niveau</a:t>
            </a:r>
          </a:p>
          <a:p>
            <a:pPr lvl="3"/>
            <a:r>
              <a:rPr lang="fr"/>
              <a:t>Quatrième niveau</a:t>
            </a:r>
          </a:p>
          <a:p>
            <a:pPr lvl="4"/>
            <a:r>
              <a:rPr lang="fr"/>
              <a:t>Cinquième niveau</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fr"/>
              <a:t>Cliquez pour modifier les styles de texte du modè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fr"/>
              <a:t>Comité de pilotage du VIS - Av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02677162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fr"/>
              <a:t>Cliquez pour modifier le style de titre du gabarit</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fr"/>
              <a:t>Cliquez pour modifier les styles de texte du modèle</a:t>
            </a:r>
          </a:p>
          <a:p>
            <a:pPr lvl="1"/>
            <a:r>
              <a:rPr lang="fr"/>
              <a:t>Deuxième niveau</a:t>
            </a:r>
          </a:p>
          <a:p>
            <a:pPr lvl="2"/>
            <a:r>
              <a:rPr lang="fr"/>
              <a:t>Troisième niveau</a:t>
            </a:r>
          </a:p>
          <a:p>
            <a:pPr lvl="3"/>
            <a:r>
              <a:rPr lang="fr"/>
              <a:t>Quatrième niveau</a:t>
            </a:r>
          </a:p>
          <a:p>
            <a:pPr lvl="4"/>
            <a:r>
              <a:rPr lang="fr"/>
              <a:t>Cinquième niveau</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319099"/>
            <a:ext cx="8449636"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033651"/>
            <a:ext cx="4114800" cy="136526"/>
          </a:xfrm>
          <a:prstGeom prst="rect">
            <a:avLst/>
          </a:prstGeom>
        </p:spPr>
        <p:txBody>
          <a:bodyPr anchor="b"/>
          <a:lstStyle>
            <a:lvl1pPr>
              <a:defRPr sz="800"/>
            </a:lvl1pPr>
          </a:lstStyle>
          <a:p>
            <a:r>
              <a:rPr lang="fr"/>
              <a:t>Pied de page de la présentation</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pic>
        <p:nvPicPr>
          <p:cNvPr id="3" name="Picture 2" descr="Un logo bleu et noir&#10;&#10;Description générée automatiquement">
            <a:extLst>
              <a:ext uri="{FF2B5EF4-FFF2-40B4-BE49-F238E27FC236}">
                <a16:creationId xmlns:a16="http://schemas.microsoft.com/office/drawing/2014/main" id="{614AFCE5-7E38-A587-9945-F37EE4B8955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186134" y="6195816"/>
            <a:ext cx="1172148" cy="277244"/>
          </a:xfrm>
          <a:prstGeom prst="rect">
            <a:avLst/>
          </a:prstGeom>
        </p:spPr>
      </p:pic>
    </p:spTree>
    <p:extLst>
      <p:ext uri="{BB962C8B-B14F-4D97-AF65-F5344CB8AC3E}">
        <p14:creationId xmlns:p14="http://schemas.microsoft.com/office/powerpoint/2010/main" val="329919040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fr"/>
              <a:t>Cliquez pour modifier le style de titre du gabarit</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fr"/>
              <a:t>Cliquez pour modifier les styles de texte du modèle</a:t>
            </a:r>
          </a:p>
          <a:p>
            <a:pPr lvl="1"/>
            <a:r>
              <a:rPr lang="fr"/>
              <a:t>Deuxième niveau</a:t>
            </a:r>
          </a:p>
          <a:p>
            <a:pPr lvl="2"/>
            <a:r>
              <a:rPr lang="fr"/>
              <a:t>Troisième niveau</a:t>
            </a:r>
          </a:p>
          <a:p>
            <a:pPr lvl="3"/>
            <a:r>
              <a:rPr lang="fr"/>
              <a:t>Quatrième niveau</a:t>
            </a:r>
          </a:p>
          <a:p>
            <a:pPr lvl="4"/>
            <a:r>
              <a:rPr lang="fr"/>
              <a:t>Cinquième niveau</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fr"/>
              <a:t>Pied de page de la présentation</a:t>
            </a:r>
          </a:p>
        </p:txBody>
      </p:sp>
      <p:cxnSp>
        <p:nvCxnSpPr>
          <p:cNvPr id="2" name="Straight Connector 1">
            <a:extLst>
              <a:ext uri="{FF2B5EF4-FFF2-40B4-BE49-F238E27FC236}">
                <a16:creationId xmlns:a16="http://schemas.microsoft.com/office/drawing/2014/main" id="{A141D57C-5330-9821-E5E2-41FE5F73FD85}"/>
              </a:ext>
            </a:extLst>
          </p:cNvPr>
          <p:cNvCxnSpPr>
            <a:cxnSpLocks/>
          </p:cNvCxnSpPr>
          <p:nvPr userDrawn="1"/>
        </p:nvCxnSpPr>
        <p:spPr>
          <a:xfrm>
            <a:off x="515937" y="6319099"/>
            <a:ext cx="8449636"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11">
            <a:extLst>
              <a:ext uri="{FF2B5EF4-FFF2-40B4-BE49-F238E27FC236}">
                <a16:creationId xmlns:a16="http://schemas.microsoft.com/office/drawing/2014/main" id="{087997CB-2097-1E9C-EF4B-9A9338092C9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pic>
        <p:nvPicPr>
          <p:cNvPr id="4" name="Picture 3" descr="Un logo bleu et noir&#10;&#10;Description générée automatiquement">
            <a:extLst>
              <a:ext uri="{FF2B5EF4-FFF2-40B4-BE49-F238E27FC236}">
                <a16:creationId xmlns:a16="http://schemas.microsoft.com/office/drawing/2014/main" id="{EF5A63ED-599B-7551-1D74-99639922E30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186134" y="6195816"/>
            <a:ext cx="1172148" cy="277244"/>
          </a:xfrm>
          <a:prstGeom prst="rect">
            <a:avLst/>
          </a:prstGeom>
        </p:spPr>
      </p:pic>
    </p:spTree>
    <p:extLst>
      <p:ext uri="{BB962C8B-B14F-4D97-AF65-F5344CB8AC3E}">
        <p14:creationId xmlns:p14="http://schemas.microsoft.com/office/powerpoint/2010/main" val="849072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fr"/>
              <a:t>Cliquez pour modifier le style de titre du gabarit</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fr"/>
              <a:t>Pied de page de la présentation</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fr"/>
              <a:t>Cliquez pour modifier les styles de texte du modèle</a:t>
            </a:r>
          </a:p>
        </p:txBody>
      </p:sp>
    </p:spTree>
    <p:extLst>
      <p:ext uri="{BB962C8B-B14F-4D97-AF65-F5344CB8AC3E}">
        <p14:creationId xmlns:p14="http://schemas.microsoft.com/office/powerpoint/2010/main" val="218889146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fr"/>
              <a:t>Cliquez pour modifier le style de titre du gabarit</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fr"/>
              <a:t>Pied de page de la présentation</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fr"/>
              <a:t>Cliquez pour modifier les styles de texte du modèle</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fr"/>
              <a:t>Mois – Mois</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fr"/>
              <a:t>Mois – Mois</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fr"/>
              <a:t>Mois – Mois</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fr"/>
              <a:t>Mois – Mois</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fr"/>
              <a:t>Cliquez pour modifier les styles de texte du modèle</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fr"/>
              <a:t>Cliquez pour modifier les styles de texte du modèle</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fr"/>
              <a:t>Cliquez pour modifier les styles de texte du modèle</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fr"/>
              <a:t>Cliquez pour modifier les styles de texte du modèle</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fr"/>
              <a:t>Cliquez pour modifier les styles de texte du modèle</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fr"/>
              <a:t>Cliquez pour modifier les styles de texte du modèle</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fr"/>
              <a:t>Cliquez pour modifier les styles de texte du modèle</a:t>
            </a:r>
          </a:p>
        </p:txBody>
      </p:sp>
    </p:spTree>
    <p:extLst>
      <p:ext uri="{BB962C8B-B14F-4D97-AF65-F5344CB8AC3E}">
        <p14:creationId xmlns:p14="http://schemas.microsoft.com/office/powerpoint/2010/main" val="1955994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22869257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fr"/>
              <a:t>Cliquez pour modifier le style de titre du gabarit</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fr"/>
              <a:t>Pied de page de la présentation</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fr"/>
              <a:t>Cliquez pour modifier les styles de texte du modèle</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fr"/>
              <a:t>Cliquez pour modifier les styles de texte du modèle</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fr"/>
              <a:t>Cliquez pour modifier les styles de texte du modèle</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fr"/>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fr"/>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fr"/>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fr"/>
              <a:t>Cliquez pour modifier les styles de texte du modèle</a:t>
            </a:r>
          </a:p>
        </p:txBody>
      </p:sp>
    </p:spTree>
    <p:extLst>
      <p:ext uri="{BB962C8B-B14F-4D97-AF65-F5344CB8AC3E}">
        <p14:creationId xmlns:p14="http://schemas.microsoft.com/office/powerpoint/2010/main" val="307368338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Large Key Stat">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fr"/>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FFFFFF">
                    <a:lumMod val="8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FFFFFF">
                  <a:lumMod val="85000"/>
                </a:srgbClr>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noProof="0">
                <a:ln>
                  <a:noFill/>
                </a:ln>
                <a:solidFill>
                  <a:srgbClr val="FFFFFF">
                    <a:lumMod val="85000"/>
                  </a:srgbClr>
                </a:solidFill>
                <a:effectLst/>
                <a:uLnTx/>
                <a:uFillTx/>
                <a:latin typeface="Arial" panose="020B0604020202020204" pitchFamily="34" charset="0"/>
                <a:ea typeface="+mn-ea"/>
                <a:cs typeface="Arial" panose="020B0604020202020204" pitchFamily="34" charset="0"/>
              </a:rPr>
              <a:t>Pied de page de la présentation</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fr"/>
              <a:t>Cliquez pour modifier les styles de texte du modèle</a:t>
            </a:r>
          </a:p>
        </p:txBody>
      </p:sp>
    </p:spTree>
    <p:extLst>
      <p:ext uri="{BB962C8B-B14F-4D97-AF65-F5344CB8AC3E}">
        <p14:creationId xmlns:p14="http://schemas.microsoft.com/office/powerpoint/2010/main" val="131277953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98072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fr"/>
              <a:t>Cliquez pour modifier le style de titre du gabarit</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fr"/>
              <a:t>Cliquez pour modifier les styles de texte du modèle</a:t>
            </a:r>
          </a:p>
          <a:p>
            <a:pPr lvl="1"/>
            <a:r>
              <a:rPr lang="fr"/>
              <a:t>Deuxième niveau</a:t>
            </a:r>
          </a:p>
          <a:p>
            <a:pPr lvl="2"/>
            <a:r>
              <a:rPr lang="fr"/>
              <a:t>Troisième niveau</a:t>
            </a:r>
          </a:p>
          <a:p>
            <a:pPr lvl="3"/>
            <a:r>
              <a:rPr lang="fr"/>
              <a:t>Quatrième niveau</a:t>
            </a:r>
          </a:p>
          <a:p>
            <a:pPr lvl="4"/>
            <a:r>
              <a:rPr lang="fr"/>
              <a:t>Cinquième niveau</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fr"/>
              <a:t>Comité de pilotage du VIS - Av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fr"/>
              <a:t>Cliquez pour modifier les styles de texte du modèle</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fr"/>
              <a:t>Titr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fr"/>
              <a:t>Cliquez sur l'icône pour ajouter une imag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fr"/>
              <a:t>Cliquez pour modifier les styles de texte du modèle</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fr"/>
              <a:t>Titr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fr"/>
              <a:t>Cliquez sur l'icône pour ajouter une imag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fr"/>
              <a:t>Cliquez pour modifier les styles de texte du modèle</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fr"/>
              <a:t>Titr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fr"/>
              <a:t>Cliquez sur l'icône pour ajouter une image</a:t>
            </a:r>
          </a:p>
        </p:txBody>
      </p:sp>
    </p:spTree>
    <p:extLst>
      <p:ext uri="{BB962C8B-B14F-4D97-AF65-F5344CB8AC3E}">
        <p14:creationId xmlns:p14="http://schemas.microsoft.com/office/powerpoint/2010/main" val="25252668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7D641-25C4-327A-559E-CE081D4210E2}"/>
              </a:ext>
            </a:extLst>
          </p:cNvPr>
          <p:cNvSpPr>
            <a:spLocks noGrp="1"/>
          </p:cNvSpPr>
          <p:nvPr>
            <p:ph type="ctrTitle"/>
          </p:nvPr>
        </p:nvSpPr>
        <p:spPr>
          <a:xfrm>
            <a:off x="1524000" y="1122363"/>
            <a:ext cx="9144000" cy="2387600"/>
          </a:xfrm>
        </p:spPr>
        <p:txBody>
          <a:bodyPr anchor="b"/>
          <a:lstStyle>
            <a:lvl1pPr algn="ctr">
              <a:defRPr sz="6000"/>
            </a:lvl1pPr>
          </a:lstStyle>
          <a:p>
            <a:r>
              <a:rPr lang="fr"/>
              <a:t>Cliquez pour modifier le style de titre du gabarit</a:t>
            </a:r>
            <a:endParaRPr lang="en-GB"/>
          </a:p>
        </p:txBody>
      </p:sp>
      <p:sp>
        <p:nvSpPr>
          <p:cNvPr id="3" name="Subtitle 2">
            <a:extLst>
              <a:ext uri="{FF2B5EF4-FFF2-40B4-BE49-F238E27FC236}">
                <a16:creationId xmlns:a16="http://schemas.microsoft.com/office/drawing/2014/main" id="{1C56B0E1-C579-868C-0C21-5B30D771AF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
              <a:t>Cliquez pour modifier le style de sous-titres du masque</a:t>
            </a:r>
            <a:endParaRPr lang="en-GB"/>
          </a:p>
        </p:txBody>
      </p:sp>
      <p:sp>
        <p:nvSpPr>
          <p:cNvPr id="4" name="Date Placeholder 3">
            <a:extLst>
              <a:ext uri="{FF2B5EF4-FFF2-40B4-BE49-F238E27FC236}">
                <a16:creationId xmlns:a16="http://schemas.microsoft.com/office/drawing/2014/main" id="{95CC6567-02E1-0A15-0287-62A60923A93D}"/>
              </a:ext>
            </a:extLst>
          </p:cNvPr>
          <p:cNvSpPr>
            <a:spLocks noGrp="1"/>
          </p:cNvSpPr>
          <p:nvPr>
            <p:ph type="dt" sz="half" idx="10"/>
          </p:nvPr>
        </p:nvSpPr>
        <p:spPr/>
        <p:txBody>
          <a:bodyPr/>
          <a:lstStyle/>
          <a:p>
            <a:fld id="{44041AFC-FB85-4B59-9411-43951B776C2E}" type="datetimeFigureOut">
              <a:rPr lang="en-GB" smtClean="0"/>
              <a:t>08/10/2025</a:t>
            </a:fld>
            <a:endParaRPr lang="en-GB"/>
          </a:p>
        </p:txBody>
      </p:sp>
      <p:sp>
        <p:nvSpPr>
          <p:cNvPr id="5" name="Footer Placeholder 4">
            <a:extLst>
              <a:ext uri="{FF2B5EF4-FFF2-40B4-BE49-F238E27FC236}">
                <a16:creationId xmlns:a16="http://schemas.microsoft.com/office/drawing/2014/main" id="{6F700007-54F8-DE89-ABA4-7604ADA74A1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B76D2D2-1764-9629-2204-1B3BC3E5D5E7}"/>
              </a:ext>
            </a:extLst>
          </p:cNvPr>
          <p:cNvSpPr>
            <a:spLocks noGrp="1"/>
          </p:cNvSpPr>
          <p:nvPr>
            <p:ph type="sldNum" sz="quarter" idx="12"/>
          </p:nvPr>
        </p:nvSpPr>
        <p:spPr/>
        <p:txBody>
          <a:bodyPr/>
          <a:lstStyle/>
          <a:p>
            <a:fld id="{F8CE4096-A8F4-4F17-946C-AC33682DAA01}" type="slidenum">
              <a:rPr lang="en-GB" smtClean="0"/>
              <a:t>‹#›</a:t>
            </a:fld>
            <a:endParaRPr lang="en-GB"/>
          </a:p>
        </p:txBody>
      </p:sp>
    </p:spTree>
    <p:extLst>
      <p:ext uri="{BB962C8B-B14F-4D97-AF65-F5344CB8AC3E}">
        <p14:creationId xmlns:p14="http://schemas.microsoft.com/office/powerpoint/2010/main" val="305440025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fr"/>
              <a:t>LE SOUS-TITRE VA ICI : TAPEZ EN MAJUSCULE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fr"/>
              <a:t>Cliquez pour modifier le style de titre du gabarit</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fr"/>
              <a:t>Le sous-titre va ici</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fr" sz="1800" b="1">
                <a:solidFill>
                  <a:schemeClr val="bg2"/>
                </a:solidFill>
              </a:rPr>
              <a:t>gavi.org</a:t>
            </a:r>
          </a:p>
        </p:txBody>
      </p:sp>
    </p:spTree>
    <p:extLst>
      <p:ext uri="{BB962C8B-B14F-4D97-AF65-F5344CB8AC3E}">
        <p14:creationId xmlns:p14="http://schemas.microsoft.com/office/powerpoint/2010/main" val="103276155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fr"/>
              <a:t>Cliquez sur l'icône pour insérer l'imag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fr"/>
              <a:t>LE SOUS-TITRE VA ICI : TAPEZ EN MAJUSCULE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fr"/>
              <a:t>Cliquez pour modifier le style de titre du gabarit</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fr"/>
              <a:t>Le sous-titre va ici</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fr"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112612598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fr"/>
              <a:t>LE SOUS-TITRE VA ICI : TAPEZ EN MAJUSCULE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fr"/>
              <a:t>Cliquez pour modifier le style de titre du gabarit</a:t>
            </a:r>
            <a:endParaRPr lang="en-GB"/>
          </a:p>
        </p:txBody>
      </p:sp>
      <p:pic>
        <p:nvPicPr>
          <p:cNvPr id="7" name="Picture 6" descr="Forme&#10;&#10;Description générée automatiquement">
            <a:extLst>
              <a:ext uri="{FF2B5EF4-FFF2-40B4-BE49-F238E27FC236}">
                <a16:creationId xmlns:a16="http://schemas.microsoft.com/office/drawing/2014/main" id="{D2830A3C-7ED1-2741-8ED4-600D60D8DBDA}"/>
              </a:ext>
            </a:extLst>
          </p:cNvPr>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fr"/>
              <a:t>XX</a:t>
            </a:r>
          </a:p>
        </p:txBody>
      </p:sp>
    </p:spTree>
    <p:extLst>
      <p:ext uri="{BB962C8B-B14F-4D97-AF65-F5344CB8AC3E}">
        <p14:creationId xmlns:p14="http://schemas.microsoft.com/office/powerpoint/2010/main" val="5224296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Une image contenant des raies, des poissons&#10;&#10;Description générée automatiquement">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fr"/>
              <a:t>X</a:t>
            </a:r>
          </a:p>
        </p:txBody>
      </p:sp>
    </p:spTree>
    <p:extLst>
      <p:ext uri="{BB962C8B-B14F-4D97-AF65-F5344CB8AC3E}">
        <p14:creationId xmlns:p14="http://schemas.microsoft.com/office/powerpoint/2010/main" val="391758740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fr"/>
              <a:t>Cliquez sur l'icône pour ajouter une imag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2635410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8577615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fr"/>
              <a:t>Cliquez sur l'icône pour ajouter une imag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46026238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fr"/>
              <a:t>Cliquez sur l'icône pour ajouter une imag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388171335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fr"/>
              <a:t>Cliquez sur l'icône pour ajouter une imag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78069174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340732920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35850852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fr"/>
              <a:t>LE SOUS-TITRE VA ICI : TAPEZ EN MAJUSCULES</a:t>
            </a:r>
          </a:p>
        </p:txBody>
      </p:sp>
    </p:spTree>
    <p:extLst>
      <p:ext uri="{BB962C8B-B14F-4D97-AF65-F5344CB8AC3E}">
        <p14:creationId xmlns:p14="http://schemas.microsoft.com/office/powerpoint/2010/main" val="419484027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fr"/>
              <a:t>Cliquez sur l'icône pour ajouter une imag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217049650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90108484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299556718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26987212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503427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305184636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fr"/>
              <a:t>Cliquez sur l'icône pour ajouter une imag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fr"/>
              <a:t>Le titre de la section va ici</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fr"/>
              <a:t>LE SOUS-TITRE VA ICI : TAPEZ EN MAJUSCULES</a:t>
            </a:r>
          </a:p>
        </p:txBody>
      </p:sp>
    </p:spTree>
    <p:extLst>
      <p:ext uri="{BB962C8B-B14F-4D97-AF65-F5344CB8AC3E}">
        <p14:creationId xmlns:p14="http://schemas.microsoft.com/office/powerpoint/2010/main" val="286418263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fr"/>
              <a:t>Merci</a:t>
            </a:r>
          </a:p>
        </p:txBody>
      </p:sp>
    </p:spTree>
    <p:extLst>
      <p:ext uri="{BB962C8B-B14F-4D97-AF65-F5344CB8AC3E}">
        <p14:creationId xmlns:p14="http://schemas.microsoft.com/office/powerpoint/2010/main" val="409007544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fr"/>
              <a:t>Merci</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fr"/>
              <a:t>Cliquez sur l'icône pour ajouter une image</a:t>
            </a:r>
            <a:endParaRPr lang="en-GB"/>
          </a:p>
        </p:txBody>
      </p:sp>
    </p:spTree>
    <p:extLst>
      <p:ext uri="{BB962C8B-B14F-4D97-AF65-F5344CB8AC3E}">
        <p14:creationId xmlns:p14="http://schemas.microsoft.com/office/powerpoint/2010/main" val="152343659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fr"/>
              <a:t>Cliquez pour modifier le style de titre du gabarit</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fr"/>
              <a:t>Cliquez pour modifier les styles de texte du modèle</a:t>
            </a:r>
          </a:p>
          <a:p>
            <a:pPr lvl="1"/>
            <a:r>
              <a:rPr lang="fr"/>
              <a:t>Deuxième niveau</a:t>
            </a:r>
          </a:p>
          <a:p>
            <a:pPr lvl="2"/>
            <a:r>
              <a:rPr lang="fr"/>
              <a:t>Troisième niveau</a:t>
            </a:r>
          </a:p>
          <a:p>
            <a:pPr lvl="3"/>
            <a:r>
              <a:rPr lang="fr"/>
              <a:t>Quatrième niveau</a:t>
            </a:r>
          </a:p>
          <a:p>
            <a:pPr lvl="4"/>
            <a:r>
              <a:rPr lang="fr"/>
              <a:t>Cinquième niveau</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fr"/>
              <a:t>Pied de page de la présentation</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645765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_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fr"/>
              <a:t>Cliquez pour modifier le style de titre du gabarit</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fr"/>
              <a:t>Cliquez pour modifier les styles de texte du modèle</a:t>
            </a:r>
          </a:p>
          <a:p>
            <a:pPr lvl="1"/>
            <a:r>
              <a:rPr lang="fr"/>
              <a:t>Deuxième niveau</a:t>
            </a:r>
          </a:p>
          <a:p>
            <a:pPr lvl="2"/>
            <a:r>
              <a:rPr lang="fr"/>
              <a:t>Troisième niveau</a:t>
            </a:r>
          </a:p>
          <a:p>
            <a:pPr lvl="3"/>
            <a:r>
              <a:rPr lang="fr"/>
              <a:t>Quatrième niveau</a:t>
            </a:r>
          </a:p>
          <a:p>
            <a:pPr lvl="4"/>
            <a:r>
              <a:rPr lang="fr"/>
              <a:t>Cinquième niveau</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fr"/>
              <a:t>Cliquez pour modifier les styles de texte du modè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fr"/>
              <a:t>Comité de pilotage du VIS - Av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6259435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fr"/>
              <a:t>Cliquez pour modifier le style de titre du gabarit</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fr"/>
              <a:t>Pied de page de la présentation</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fr"/>
              <a:t>Cliquez pour modifier les styles de texte du modèle</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fr"/>
              <a:t>Cliquez pour modifier les styles de texte du modèle</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fr"/>
              <a:t>Cliquez pour modifier les styles de texte du modèle</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fr"/>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fr"/>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fr"/>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fr"/>
              <a:t>Cliquez pour modifier les styles de texte du modèle</a:t>
            </a:r>
          </a:p>
        </p:txBody>
      </p:sp>
    </p:spTree>
    <p:extLst>
      <p:ext uri="{BB962C8B-B14F-4D97-AF65-F5344CB8AC3E}">
        <p14:creationId xmlns:p14="http://schemas.microsoft.com/office/powerpoint/2010/main" val="172248498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7D641-25C4-327A-559E-CE081D4210E2}"/>
              </a:ext>
            </a:extLst>
          </p:cNvPr>
          <p:cNvSpPr>
            <a:spLocks noGrp="1"/>
          </p:cNvSpPr>
          <p:nvPr>
            <p:ph type="ctrTitle"/>
          </p:nvPr>
        </p:nvSpPr>
        <p:spPr>
          <a:xfrm>
            <a:off x="1524000" y="1122363"/>
            <a:ext cx="9144000" cy="2387600"/>
          </a:xfrm>
        </p:spPr>
        <p:txBody>
          <a:bodyPr anchor="b"/>
          <a:lstStyle>
            <a:lvl1pPr algn="ctr">
              <a:defRPr sz="6000"/>
            </a:lvl1pPr>
          </a:lstStyle>
          <a:p>
            <a:r>
              <a:rPr lang="fr"/>
              <a:t>Cliquez pour modifier le style de titre du gabarit</a:t>
            </a:r>
            <a:endParaRPr lang="en-GB"/>
          </a:p>
        </p:txBody>
      </p:sp>
      <p:sp>
        <p:nvSpPr>
          <p:cNvPr id="3" name="Subtitle 2">
            <a:extLst>
              <a:ext uri="{FF2B5EF4-FFF2-40B4-BE49-F238E27FC236}">
                <a16:creationId xmlns:a16="http://schemas.microsoft.com/office/drawing/2014/main" id="{1C56B0E1-C579-868C-0C21-5B30D771AF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
              <a:t>Cliquez pour modifier le style de sous-titres du masque</a:t>
            </a:r>
            <a:endParaRPr lang="en-GB"/>
          </a:p>
        </p:txBody>
      </p:sp>
      <p:sp>
        <p:nvSpPr>
          <p:cNvPr id="4" name="Date Placeholder 3">
            <a:extLst>
              <a:ext uri="{FF2B5EF4-FFF2-40B4-BE49-F238E27FC236}">
                <a16:creationId xmlns:a16="http://schemas.microsoft.com/office/drawing/2014/main" id="{95CC6567-02E1-0A15-0287-62A60923A93D}"/>
              </a:ext>
            </a:extLst>
          </p:cNvPr>
          <p:cNvSpPr>
            <a:spLocks noGrp="1"/>
          </p:cNvSpPr>
          <p:nvPr>
            <p:ph type="dt" sz="half" idx="10"/>
          </p:nvPr>
        </p:nvSpPr>
        <p:spPr/>
        <p:txBody>
          <a:bodyPr/>
          <a:lstStyle/>
          <a:p>
            <a:fld id="{44041AFC-FB85-4B59-9411-43951B776C2E}" type="datetimeFigureOut">
              <a:rPr lang="en-GB" smtClean="0"/>
              <a:t>08/10/2025</a:t>
            </a:fld>
            <a:endParaRPr lang="en-GB"/>
          </a:p>
        </p:txBody>
      </p:sp>
      <p:sp>
        <p:nvSpPr>
          <p:cNvPr id="5" name="Footer Placeholder 4">
            <a:extLst>
              <a:ext uri="{FF2B5EF4-FFF2-40B4-BE49-F238E27FC236}">
                <a16:creationId xmlns:a16="http://schemas.microsoft.com/office/drawing/2014/main" id="{6F700007-54F8-DE89-ABA4-7604ADA74A1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B76D2D2-1764-9629-2204-1B3BC3E5D5E7}"/>
              </a:ext>
            </a:extLst>
          </p:cNvPr>
          <p:cNvSpPr>
            <a:spLocks noGrp="1"/>
          </p:cNvSpPr>
          <p:nvPr>
            <p:ph type="sldNum" sz="quarter" idx="12"/>
          </p:nvPr>
        </p:nvSpPr>
        <p:spPr/>
        <p:txBody>
          <a:bodyPr/>
          <a:lstStyle/>
          <a:p>
            <a:fld id="{F8CE4096-A8F4-4F17-946C-AC33682DAA01}" type="slidenum">
              <a:rPr lang="en-GB" smtClean="0"/>
              <a:t>‹#›</a:t>
            </a:fld>
            <a:endParaRPr lang="en-GB"/>
          </a:p>
        </p:txBody>
      </p:sp>
    </p:spTree>
    <p:extLst>
      <p:ext uri="{BB962C8B-B14F-4D97-AF65-F5344CB8AC3E}">
        <p14:creationId xmlns:p14="http://schemas.microsoft.com/office/powerpoint/2010/main" val="75541452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167712299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34426703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1086697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pic>
        <p:nvPicPr>
          <p:cNvPr id="7" name="Picture 6" descr="Shape&#10;&#10;Description automatically generated">
            <a:extLst>
              <a:ext uri="{FF2B5EF4-FFF2-40B4-BE49-F238E27FC236}">
                <a16:creationId xmlns:a16="http://schemas.microsoft.com/office/drawing/2014/main" id="{D2830A3C-7ED1-2741-8ED4-600D60D8DBDA}"/>
              </a:ext>
            </a:extLst>
          </p:cNvPr>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en-GB"/>
              <a:t>XX</a:t>
            </a:r>
          </a:p>
        </p:txBody>
      </p:sp>
    </p:spTree>
    <p:extLst>
      <p:ext uri="{BB962C8B-B14F-4D97-AF65-F5344CB8AC3E}">
        <p14:creationId xmlns:p14="http://schemas.microsoft.com/office/powerpoint/2010/main" val="43107667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47528172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1183355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48388377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04523572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29415789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43197942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62220887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46334891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28686760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pic>
        <p:nvPicPr>
          <p:cNvPr id="7" name="Picture 6" descr="Shape&#10;&#10;Description automatically generated">
            <a:extLst>
              <a:ext uri="{FF2B5EF4-FFF2-40B4-BE49-F238E27FC236}">
                <a16:creationId xmlns:a16="http://schemas.microsoft.com/office/drawing/2014/main" id="{D2830A3C-7ED1-2741-8ED4-600D60D8DBDA}"/>
              </a:ext>
            </a:extLst>
          </p:cNvPr>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en-GB"/>
              <a:t>XX</a:t>
            </a:r>
          </a:p>
        </p:txBody>
      </p:sp>
    </p:spTree>
    <p:extLst>
      <p:ext uri="{BB962C8B-B14F-4D97-AF65-F5344CB8AC3E}">
        <p14:creationId xmlns:p14="http://schemas.microsoft.com/office/powerpoint/2010/main" val="9081974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849833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11912976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56194310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84835811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06257828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3603048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128170764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168433627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40" y="742950"/>
            <a:ext cx="11471999" cy="468000"/>
          </a:xfrm>
        </p:spPr>
        <p:txBody>
          <a:bodyPr>
            <a:noAutofit/>
          </a:bodyPr>
          <a:lstStyle>
            <a:lvl1pPr marL="0" indent="0">
              <a:buFont typeface="Arial" panose="020B0604020202020204" pitchFamily="34" charset="0"/>
              <a:buNone/>
              <a:tabLst/>
              <a:defRPr sz="3199">
                <a:latin typeface="+mn-lt"/>
              </a:defRPr>
            </a:lvl1pPr>
            <a:lvl2pPr marL="0" indent="0">
              <a:buFont typeface="Arial" panose="020B0604020202020204" pitchFamily="34" charset="0"/>
              <a:buNone/>
              <a:tabLst/>
              <a:defRPr sz="3199">
                <a:latin typeface="+mn-lt"/>
              </a:defRPr>
            </a:lvl2pPr>
            <a:lvl3pPr marL="0" indent="0">
              <a:buFont typeface="Arial" panose="020B0604020202020204" pitchFamily="34" charset="0"/>
              <a:buNone/>
              <a:tabLst/>
              <a:defRPr sz="3199">
                <a:latin typeface="+mn-lt"/>
              </a:defRPr>
            </a:lvl3pPr>
            <a:lvl4pPr marL="0" indent="0">
              <a:buFont typeface="Arial" panose="020B0604020202020204" pitchFamily="34" charset="0"/>
              <a:buNone/>
              <a:tabLst/>
              <a:defRPr sz="3199">
                <a:latin typeface="+mn-lt"/>
              </a:defRPr>
            </a:lvl4pPr>
            <a:lvl5pPr marL="0" indent="0">
              <a:buFont typeface="Arial" panose="020B0604020202020204" pitchFamily="34" charset="0"/>
              <a:buNone/>
              <a:tabLst/>
              <a:defRPr sz="3199">
                <a:latin typeface="+mn-lt"/>
              </a:defRPr>
            </a:lvl5pPr>
          </a:lstStyle>
          <a:p>
            <a:pPr lvl="0"/>
            <a:r>
              <a:rPr lang="en-US"/>
              <a:t>Add subtitle</a:t>
            </a:r>
          </a:p>
        </p:txBody>
      </p:sp>
    </p:spTree>
    <p:extLst>
      <p:ext uri="{BB962C8B-B14F-4D97-AF65-F5344CB8AC3E}">
        <p14:creationId xmlns:p14="http://schemas.microsoft.com/office/powerpoint/2010/main" val="35316584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1_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75079267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319099"/>
            <a:ext cx="8449636"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033651"/>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pic>
        <p:nvPicPr>
          <p:cNvPr id="3" name="Picture 2" descr="A blue and black logo&#10;&#10;Description automatically generated">
            <a:extLst>
              <a:ext uri="{FF2B5EF4-FFF2-40B4-BE49-F238E27FC236}">
                <a16:creationId xmlns:a16="http://schemas.microsoft.com/office/drawing/2014/main" id="{614AFCE5-7E38-A587-9945-F37EE4B8955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186134" y="6195816"/>
            <a:ext cx="1172148" cy="277244"/>
          </a:xfrm>
          <a:prstGeom prst="rect">
            <a:avLst/>
          </a:prstGeom>
        </p:spPr>
      </p:pic>
    </p:spTree>
    <p:extLst>
      <p:ext uri="{BB962C8B-B14F-4D97-AF65-F5344CB8AC3E}">
        <p14:creationId xmlns:p14="http://schemas.microsoft.com/office/powerpoint/2010/main" val="22406232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642578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cxnSp>
        <p:nvCxnSpPr>
          <p:cNvPr id="2" name="Straight Connector 1">
            <a:extLst>
              <a:ext uri="{FF2B5EF4-FFF2-40B4-BE49-F238E27FC236}">
                <a16:creationId xmlns:a16="http://schemas.microsoft.com/office/drawing/2014/main" id="{A141D57C-5330-9821-E5E2-41FE5F73FD85}"/>
              </a:ext>
            </a:extLst>
          </p:cNvPr>
          <p:cNvCxnSpPr>
            <a:cxnSpLocks/>
          </p:cNvCxnSpPr>
          <p:nvPr userDrawn="1"/>
        </p:nvCxnSpPr>
        <p:spPr>
          <a:xfrm>
            <a:off x="515937" y="6319099"/>
            <a:ext cx="8449636"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11">
            <a:extLst>
              <a:ext uri="{FF2B5EF4-FFF2-40B4-BE49-F238E27FC236}">
                <a16:creationId xmlns:a16="http://schemas.microsoft.com/office/drawing/2014/main" id="{087997CB-2097-1E9C-EF4B-9A9338092C9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pic>
        <p:nvPicPr>
          <p:cNvPr id="4" name="Picture 3" descr="A blue and black logo&#10;&#10;Description automatically generated">
            <a:extLst>
              <a:ext uri="{FF2B5EF4-FFF2-40B4-BE49-F238E27FC236}">
                <a16:creationId xmlns:a16="http://schemas.microsoft.com/office/drawing/2014/main" id="{EF5A63ED-599B-7551-1D74-99639922E30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186134" y="6195816"/>
            <a:ext cx="1172148" cy="277244"/>
          </a:xfrm>
          <a:prstGeom prst="rect">
            <a:avLst/>
          </a:prstGeom>
        </p:spPr>
      </p:pic>
    </p:spTree>
    <p:extLst>
      <p:ext uri="{BB962C8B-B14F-4D97-AF65-F5344CB8AC3E}">
        <p14:creationId xmlns:p14="http://schemas.microsoft.com/office/powerpoint/2010/main" val="170379673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30647829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46525074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45984785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Large Key Stat">
    <p:bg>
      <p:bgPr>
        <a:blipFill dpi="0" rotWithShape="1">
          <a:blip r:embed="rId2" cstate="email">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FFFFFF">
                    <a:lumMod val="8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FFFFFF">
                  <a:lumMod val="85000"/>
                </a:srgbClr>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85000"/>
                  </a:srgbClr>
                </a:solidFill>
                <a:effectLst/>
                <a:uLnTx/>
                <a:uFillTx/>
                <a:latin typeface="Arial" panose="020B0604020202020204" pitchFamily="34" charset="0"/>
                <a:ea typeface="+mn-ea"/>
                <a:cs typeface="Arial" panose="020B0604020202020204" pitchFamily="34" charset="0"/>
              </a:rPr>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21425041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32865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_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33243581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7D641-25C4-327A-559E-CE081D4210E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C56B0E1-C579-868C-0C21-5B30D771AF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5CC6567-02E1-0A15-0287-62A60923A93D}"/>
              </a:ext>
            </a:extLst>
          </p:cNvPr>
          <p:cNvSpPr>
            <a:spLocks noGrp="1"/>
          </p:cNvSpPr>
          <p:nvPr>
            <p:ph type="dt" sz="half" idx="10"/>
          </p:nvPr>
        </p:nvSpPr>
        <p:spPr/>
        <p:txBody>
          <a:bodyPr/>
          <a:lstStyle/>
          <a:p>
            <a:fld id="{44041AFC-FB85-4B59-9411-43951B776C2E}" type="datetimeFigureOut">
              <a:rPr lang="en-GB" smtClean="0"/>
              <a:t>08/10/2025</a:t>
            </a:fld>
            <a:endParaRPr lang="en-GB"/>
          </a:p>
        </p:txBody>
      </p:sp>
      <p:sp>
        <p:nvSpPr>
          <p:cNvPr id="5" name="Footer Placeholder 4">
            <a:extLst>
              <a:ext uri="{FF2B5EF4-FFF2-40B4-BE49-F238E27FC236}">
                <a16:creationId xmlns:a16="http://schemas.microsoft.com/office/drawing/2014/main" id="{6F700007-54F8-DE89-ABA4-7604ADA74A1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B76D2D2-1764-9629-2204-1B3BC3E5D5E7}"/>
              </a:ext>
            </a:extLst>
          </p:cNvPr>
          <p:cNvSpPr>
            <a:spLocks noGrp="1"/>
          </p:cNvSpPr>
          <p:nvPr>
            <p:ph type="sldNum" sz="quarter" idx="12"/>
          </p:nvPr>
        </p:nvSpPr>
        <p:spPr/>
        <p:txBody>
          <a:bodyPr/>
          <a:lstStyle/>
          <a:p>
            <a:fld id="{F8CE4096-A8F4-4F17-946C-AC33682DAA01}" type="slidenum">
              <a:rPr lang="en-GB" smtClean="0"/>
              <a:t>‹#›</a:t>
            </a:fld>
            <a:endParaRPr lang="en-GB"/>
          </a:p>
        </p:txBody>
      </p:sp>
    </p:spTree>
    <p:extLst>
      <p:ext uri="{BB962C8B-B14F-4D97-AF65-F5344CB8AC3E}">
        <p14:creationId xmlns:p14="http://schemas.microsoft.com/office/powerpoint/2010/main" val="358816733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matchingName="Content_Layout" type="obj">
  <p:cSld name="Content_Layout">
    <p:spTree>
      <p:nvGrpSpPr>
        <p:cNvPr id="1" name="Shape 135"/>
        <p:cNvGrpSpPr/>
        <p:nvPr/>
      </p:nvGrpSpPr>
      <p:grpSpPr>
        <a:xfrm>
          <a:off x="0" y="0"/>
          <a:ext cx="0" cy="0"/>
          <a:chOff x="0" y="0"/>
          <a:chExt cx="0" cy="0"/>
        </a:xfrm>
      </p:grpSpPr>
      <p:sp>
        <p:nvSpPr>
          <p:cNvPr id="136" name="Google Shape;136;p147"/>
          <p:cNvSpPr txBox="1">
            <a:spLocks noGrp="1"/>
          </p:cNvSpPr>
          <p:nvPr>
            <p:ph type="title"/>
          </p:nvPr>
        </p:nvSpPr>
        <p:spPr>
          <a:xfrm>
            <a:off x="672000" y="217252"/>
            <a:ext cx="10848000" cy="1036637"/>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 name="Google Shape;137;p147"/>
          <p:cNvSpPr txBox="1">
            <a:spLocks noGrp="1"/>
          </p:cNvSpPr>
          <p:nvPr>
            <p:ph type="body" idx="1"/>
          </p:nvPr>
        </p:nvSpPr>
        <p:spPr>
          <a:xfrm>
            <a:off x="672000" y="1603200"/>
            <a:ext cx="10848000" cy="4190400"/>
          </a:xfrm>
          <a:prstGeom prst="rect">
            <a:avLst/>
          </a:prstGeom>
          <a:noFill/>
          <a:ln>
            <a:noFill/>
          </a:ln>
        </p:spPr>
        <p:txBody>
          <a:bodyPr spcFirstLastPara="1" wrap="square" lIns="0" tIns="0" rIns="0" bIns="0" anchor="t" anchorCtr="0">
            <a:noAutofit/>
          </a:bodyPr>
          <a:lstStyle>
            <a:lvl1pPr marL="609585" lvl="0" indent="-304792" algn="l">
              <a:lnSpc>
                <a:spcPct val="110000"/>
              </a:lnSpc>
              <a:spcBef>
                <a:spcPts val="0"/>
              </a:spcBef>
              <a:spcAft>
                <a:spcPts val="0"/>
              </a:spcAft>
              <a:buClr>
                <a:schemeClr val="accent1"/>
              </a:buClr>
              <a:buSzPts val="1800"/>
              <a:buNone/>
              <a:defRPr/>
            </a:lvl1pPr>
            <a:lvl2pPr marL="1219170" lvl="1" indent="-457189" algn="l">
              <a:lnSpc>
                <a:spcPct val="100000"/>
              </a:lnSpc>
              <a:spcBef>
                <a:spcPts val="400"/>
              </a:spcBef>
              <a:spcAft>
                <a:spcPts val="0"/>
              </a:spcAft>
              <a:buSzPts val="1800"/>
              <a:buChar char="•"/>
              <a:defRPr/>
            </a:lvl2pPr>
            <a:lvl3pPr marL="1828754" lvl="2" indent="-440256" algn="l">
              <a:lnSpc>
                <a:spcPct val="100000"/>
              </a:lnSpc>
              <a:spcBef>
                <a:spcPts val="400"/>
              </a:spcBef>
              <a:spcAft>
                <a:spcPts val="0"/>
              </a:spcAft>
              <a:buClr>
                <a:schemeClr val="dk1"/>
              </a:buClr>
              <a:buSzPts val="1600"/>
              <a:buChar char="•"/>
              <a:defRPr/>
            </a:lvl3pPr>
            <a:lvl4pPr marL="2438339" lvl="3" indent="-304792" algn="l">
              <a:lnSpc>
                <a:spcPct val="100000"/>
              </a:lnSpc>
              <a:spcBef>
                <a:spcPts val="400"/>
              </a:spcBef>
              <a:spcAft>
                <a:spcPts val="0"/>
              </a:spcAft>
              <a:buClr>
                <a:schemeClr val="dk1"/>
              </a:buClr>
              <a:buSzPts val="1600"/>
              <a:buNone/>
              <a:defRPr/>
            </a:lvl4pPr>
            <a:lvl5pPr marL="3047924" lvl="4" indent="-423323" algn="l">
              <a:lnSpc>
                <a:spcPct val="100000"/>
              </a:lnSpc>
              <a:spcBef>
                <a:spcPts val="400"/>
              </a:spcBef>
              <a:spcAft>
                <a:spcPts val="0"/>
              </a:spcAft>
              <a:buClr>
                <a:schemeClr val="dk1"/>
              </a:buClr>
              <a:buSzPts val="14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138" name="Google Shape;138;p147"/>
          <p:cNvSpPr txBox="1">
            <a:spLocks noGrp="1"/>
          </p:cNvSpPr>
          <p:nvPr>
            <p:ph type="sldNum" idx="12"/>
          </p:nvPr>
        </p:nvSpPr>
        <p:spPr>
          <a:xfrm>
            <a:off x="672000" y="6327933"/>
            <a:ext cx="1200149" cy="530067"/>
          </a:xfrm>
          <a:prstGeom prst="rect">
            <a:avLst/>
          </a:prstGeom>
          <a:noFill/>
          <a:ln>
            <a:noFill/>
          </a:ln>
        </p:spPr>
        <p:txBody>
          <a:bodyPr spcFirstLastPara="1" wrap="square" lIns="0" tIns="21600" rIns="0" bIns="0" anchor="t" anchorCtr="0">
            <a:noAutofit/>
          </a:bodyPr>
          <a:lstStyle>
            <a:lvl1pPr marL="0" lvl="0" indent="0" algn="l">
              <a:lnSpc>
                <a:spcPct val="100000"/>
              </a:lnSpc>
              <a:spcBef>
                <a:spcPts val="0"/>
              </a:spcBef>
              <a:spcAft>
                <a:spcPts val="0"/>
              </a:spcAft>
              <a:buNone/>
              <a:defRPr/>
            </a:lvl1pPr>
            <a:lvl2pPr marL="0" lvl="1" indent="0" algn="l">
              <a:lnSpc>
                <a:spcPct val="100000"/>
              </a:lnSpc>
              <a:spcBef>
                <a:spcPts val="0"/>
              </a:spcBef>
              <a:spcAft>
                <a:spcPts val="0"/>
              </a:spcAft>
              <a:buNone/>
              <a:defRPr/>
            </a:lvl2pPr>
            <a:lvl3pPr marL="0" lvl="2" indent="0" algn="l">
              <a:lnSpc>
                <a:spcPct val="100000"/>
              </a:lnSpc>
              <a:spcBef>
                <a:spcPts val="0"/>
              </a:spcBef>
              <a:spcAft>
                <a:spcPts val="0"/>
              </a:spcAft>
              <a:buNone/>
              <a:defRPr/>
            </a:lvl3pPr>
            <a:lvl4pPr marL="0" lvl="3" indent="0" algn="l">
              <a:lnSpc>
                <a:spcPct val="100000"/>
              </a:lnSpc>
              <a:spcBef>
                <a:spcPts val="0"/>
              </a:spcBef>
              <a:spcAft>
                <a:spcPts val="0"/>
              </a:spcAft>
              <a:buNone/>
              <a:defRPr/>
            </a:lvl4pPr>
            <a:lvl5pPr marL="0" lvl="4" indent="0" algn="l">
              <a:lnSpc>
                <a:spcPct val="100000"/>
              </a:lnSpc>
              <a:spcBef>
                <a:spcPts val="0"/>
              </a:spcBef>
              <a:spcAft>
                <a:spcPts val="0"/>
              </a:spcAft>
              <a:buNone/>
              <a:defRPr/>
            </a:lvl5pPr>
            <a:lvl6pPr marL="0" lvl="5" indent="0" algn="l">
              <a:lnSpc>
                <a:spcPct val="100000"/>
              </a:lnSpc>
              <a:spcBef>
                <a:spcPts val="0"/>
              </a:spcBef>
              <a:spcAft>
                <a:spcPts val="0"/>
              </a:spcAft>
              <a:buNone/>
              <a:defRPr/>
            </a:lvl6pPr>
            <a:lvl7pPr marL="0" lvl="6" indent="0" algn="l">
              <a:lnSpc>
                <a:spcPct val="100000"/>
              </a:lnSpc>
              <a:spcBef>
                <a:spcPts val="0"/>
              </a:spcBef>
              <a:spcAft>
                <a:spcPts val="0"/>
              </a:spcAft>
              <a:buNone/>
              <a:defRPr/>
            </a:lvl7pPr>
            <a:lvl8pPr marL="0" lvl="7" indent="0" algn="l">
              <a:lnSpc>
                <a:spcPct val="100000"/>
              </a:lnSpc>
              <a:spcBef>
                <a:spcPts val="0"/>
              </a:spcBef>
              <a:spcAft>
                <a:spcPts val="0"/>
              </a:spcAft>
              <a:buNone/>
              <a:defRPr/>
            </a:lvl8pPr>
            <a:lvl9pPr marL="0" lvl="8" indent="0" algn="l">
              <a:lnSpc>
                <a:spcPct val="100000"/>
              </a:lnSpc>
              <a:spcBef>
                <a:spcPts val="0"/>
              </a:spcBef>
              <a:spcAft>
                <a:spcPts val="0"/>
              </a:spcAft>
              <a:buNo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GB" sz="800" b="0" i="0" u="none" strike="noStrike" kern="1200" cap="none" spc="0" normalizeH="0" baseline="0" noProof="0" smtClean="0">
                <a:ln>
                  <a:noFill/>
                </a:ln>
                <a:solidFill>
                  <a:srgbClr val="000000">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5275687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3600" b="1" i="0">
                <a:solidFill>
                  <a:srgbClr val="005CB8"/>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000" b="0" i="0">
                <a:solidFill>
                  <a:srgbClr val="005CB8"/>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8/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774581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2205529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05CB8"/>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000" b="0" i="0">
                <a:solidFill>
                  <a:srgbClr val="005CB8"/>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8/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0927308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05CB8"/>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8/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1961386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858000"/>
          </a:xfrm>
          <a:prstGeom prst="rect">
            <a:avLst/>
          </a:prstGeom>
        </p:spPr>
      </p:pic>
      <p:sp>
        <p:nvSpPr>
          <p:cNvPr id="17" name="bg object 17"/>
          <p:cNvSpPr/>
          <p:nvPr/>
        </p:nvSpPr>
        <p:spPr>
          <a:xfrm>
            <a:off x="10363543" y="537654"/>
            <a:ext cx="761365" cy="382270"/>
          </a:xfrm>
          <a:custGeom>
            <a:avLst/>
            <a:gdLst/>
            <a:ahLst/>
            <a:cxnLst/>
            <a:rect l="l" t="t" r="r" b="b"/>
            <a:pathLst>
              <a:path w="761365" h="382269">
                <a:moveTo>
                  <a:pt x="83985" y="325704"/>
                </a:moveTo>
                <a:lnTo>
                  <a:pt x="38595" y="325704"/>
                </a:lnTo>
                <a:lnTo>
                  <a:pt x="38595" y="335864"/>
                </a:lnTo>
                <a:lnTo>
                  <a:pt x="55181" y="335864"/>
                </a:lnTo>
                <a:lnTo>
                  <a:pt x="55181" y="380644"/>
                </a:lnTo>
                <a:lnTo>
                  <a:pt x="67373" y="380644"/>
                </a:lnTo>
                <a:lnTo>
                  <a:pt x="67373" y="335864"/>
                </a:lnTo>
                <a:lnTo>
                  <a:pt x="83985" y="335864"/>
                </a:lnTo>
                <a:lnTo>
                  <a:pt x="83985" y="325704"/>
                </a:lnTo>
                <a:close/>
              </a:path>
              <a:path w="761365" h="382269">
                <a:moveTo>
                  <a:pt x="124841" y="346354"/>
                </a:moveTo>
                <a:lnTo>
                  <a:pt x="121881" y="339801"/>
                </a:lnTo>
                <a:lnTo>
                  <a:pt x="106045" y="339801"/>
                </a:lnTo>
                <a:lnTo>
                  <a:pt x="101257" y="341960"/>
                </a:lnTo>
                <a:lnTo>
                  <a:pt x="98463" y="346405"/>
                </a:lnTo>
                <a:lnTo>
                  <a:pt x="98234" y="346405"/>
                </a:lnTo>
                <a:lnTo>
                  <a:pt x="98234" y="325704"/>
                </a:lnTo>
                <a:lnTo>
                  <a:pt x="87236" y="325729"/>
                </a:lnTo>
                <a:lnTo>
                  <a:pt x="87236" y="380695"/>
                </a:lnTo>
                <a:lnTo>
                  <a:pt x="98234" y="380695"/>
                </a:lnTo>
                <a:lnTo>
                  <a:pt x="98234" y="351751"/>
                </a:lnTo>
                <a:lnTo>
                  <a:pt x="100774" y="348449"/>
                </a:lnTo>
                <a:lnTo>
                  <a:pt x="111861" y="348449"/>
                </a:lnTo>
                <a:lnTo>
                  <a:pt x="113804" y="351675"/>
                </a:lnTo>
                <a:lnTo>
                  <a:pt x="113804" y="380695"/>
                </a:lnTo>
                <a:lnTo>
                  <a:pt x="124841" y="380695"/>
                </a:lnTo>
                <a:lnTo>
                  <a:pt x="124841" y="346354"/>
                </a:lnTo>
                <a:close/>
              </a:path>
              <a:path w="761365" h="382269">
                <a:moveTo>
                  <a:pt x="169278" y="363423"/>
                </a:moveTo>
                <a:lnTo>
                  <a:pt x="168656" y="356489"/>
                </a:lnTo>
                <a:lnTo>
                  <a:pt x="168490" y="354545"/>
                </a:lnTo>
                <a:lnTo>
                  <a:pt x="165430" y="348005"/>
                </a:lnTo>
                <a:lnTo>
                  <a:pt x="164960" y="347002"/>
                </a:lnTo>
                <a:lnTo>
                  <a:pt x="158724" y="341744"/>
                </a:lnTo>
                <a:lnTo>
                  <a:pt x="158267" y="341655"/>
                </a:lnTo>
                <a:lnTo>
                  <a:pt x="158267" y="356489"/>
                </a:lnTo>
                <a:lnTo>
                  <a:pt x="140360" y="356489"/>
                </a:lnTo>
                <a:lnTo>
                  <a:pt x="140449" y="354545"/>
                </a:lnTo>
                <a:lnTo>
                  <a:pt x="140500" y="353377"/>
                </a:lnTo>
                <a:lnTo>
                  <a:pt x="142532" y="348005"/>
                </a:lnTo>
                <a:lnTo>
                  <a:pt x="154863" y="348005"/>
                </a:lnTo>
                <a:lnTo>
                  <a:pt x="157251" y="350939"/>
                </a:lnTo>
                <a:lnTo>
                  <a:pt x="158267" y="356489"/>
                </a:lnTo>
                <a:lnTo>
                  <a:pt x="158267" y="341655"/>
                </a:lnTo>
                <a:lnTo>
                  <a:pt x="149809" y="339775"/>
                </a:lnTo>
                <a:lnTo>
                  <a:pt x="141465" y="341337"/>
                </a:lnTo>
                <a:lnTo>
                  <a:pt x="135001" y="345668"/>
                </a:lnTo>
                <a:lnTo>
                  <a:pt x="130810" y="352323"/>
                </a:lnTo>
                <a:lnTo>
                  <a:pt x="129324" y="360794"/>
                </a:lnTo>
                <a:lnTo>
                  <a:pt x="130746" y="369265"/>
                </a:lnTo>
                <a:lnTo>
                  <a:pt x="134823" y="375881"/>
                </a:lnTo>
                <a:lnTo>
                  <a:pt x="141274" y="380199"/>
                </a:lnTo>
                <a:lnTo>
                  <a:pt x="149809" y="381736"/>
                </a:lnTo>
                <a:lnTo>
                  <a:pt x="158889" y="381736"/>
                </a:lnTo>
                <a:lnTo>
                  <a:pt x="165493" y="377736"/>
                </a:lnTo>
                <a:lnTo>
                  <a:pt x="166890" y="373507"/>
                </a:lnTo>
                <a:lnTo>
                  <a:pt x="168605" y="368350"/>
                </a:lnTo>
                <a:lnTo>
                  <a:pt x="158889" y="368350"/>
                </a:lnTo>
                <a:lnTo>
                  <a:pt x="158191" y="370814"/>
                </a:lnTo>
                <a:lnTo>
                  <a:pt x="154635" y="373507"/>
                </a:lnTo>
                <a:lnTo>
                  <a:pt x="144081" y="373507"/>
                </a:lnTo>
                <a:lnTo>
                  <a:pt x="140665" y="370344"/>
                </a:lnTo>
                <a:lnTo>
                  <a:pt x="140360" y="363423"/>
                </a:lnTo>
                <a:lnTo>
                  <a:pt x="169278" y="363423"/>
                </a:lnTo>
                <a:close/>
              </a:path>
              <a:path w="761365" h="382269">
                <a:moveTo>
                  <a:pt x="238848" y="325704"/>
                </a:moveTo>
                <a:lnTo>
                  <a:pt x="226263" y="325704"/>
                </a:lnTo>
                <a:lnTo>
                  <a:pt x="213766" y="364350"/>
                </a:lnTo>
                <a:lnTo>
                  <a:pt x="213601" y="364350"/>
                </a:lnTo>
                <a:lnTo>
                  <a:pt x="201269" y="325704"/>
                </a:lnTo>
                <a:lnTo>
                  <a:pt x="188683" y="325704"/>
                </a:lnTo>
                <a:lnTo>
                  <a:pt x="206692" y="380669"/>
                </a:lnTo>
                <a:lnTo>
                  <a:pt x="220459" y="380669"/>
                </a:lnTo>
                <a:lnTo>
                  <a:pt x="238848" y="325704"/>
                </a:lnTo>
                <a:close/>
              </a:path>
              <a:path w="761365" h="382269">
                <a:moveTo>
                  <a:pt x="265074" y="136893"/>
                </a:moveTo>
                <a:lnTo>
                  <a:pt x="145122" y="136893"/>
                </a:lnTo>
                <a:lnTo>
                  <a:pt x="145122" y="183286"/>
                </a:lnTo>
                <a:lnTo>
                  <a:pt x="208292" y="183286"/>
                </a:lnTo>
                <a:lnTo>
                  <a:pt x="201891" y="209397"/>
                </a:lnTo>
                <a:lnTo>
                  <a:pt x="188252" y="228549"/>
                </a:lnTo>
                <a:lnTo>
                  <a:pt x="167640" y="240347"/>
                </a:lnTo>
                <a:lnTo>
                  <a:pt x="140335" y="244360"/>
                </a:lnTo>
                <a:lnTo>
                  <a:pt x="104432" y="236524"/>
                </a:lnTo>
                <a:lnTo>
                  <a:pt x="80416" y="215557"/>
                </a:lnTo>
                <a:lnTo>
                  <a:pt x="66967" y="185293"/>
                </a:lnTo>
                <a:lnTo>
                  <a:pt x="62776" y="149555"/>
                </a:lnTo>
                <a:lnTo>
                  <a:pt x="66967" y="113461"/>
                </a:lnTo>
                <a:lnTo>
                  <a:pt x="80416" y="82384"/>
                </a:lnTo>
                <a:lnTo>
                  <a:pt x="104432" y="60604"/>
                </a:lnTo>
                <a:lnTo>
                  <a:pt x="140335" y="52387"/>
                </a:lnTo>
                <a:lnTo>
                  <a:pt x="161239" y="55422"/>
                </a:lnTo>
                <a:lnTo>
                  <a:pt x="178917" y="64427"/>
                </a:lnTo>
                <a:lnTo>
                  <a:pt x="192392" y="79311"/>
                </a:lnTo>
                <a:lnTo>
                  <a:pt x="200710" y="99974"/>
                </a:lnTo>
                <a:lnTo>
                  <a:pt x="260680" y="99974"/>
                </a:lnTo>
                <a:lnTo>
                  <a:pt x="247218" y="57251"/>
                </a:lnTo>
                <a:lnTo>
                  <a:pt x="219849" y="25895"/>
                </a:lnTo>
                <a:lnTo>
                  <a:pt x="182803" y="6591"/>
                </a:lnTo>
                <a:lnTo>
                  <a:pt x="140335" y="0"/>
                </a:lnTo>
                <a:lnTo>
                  <a:pt x="91808" y="7721"/>
                </a:lnTo>
                <a:lnTo>
                  <a:pt x="52755" y="29121"/>
                </a:lnTo>
                <a:lnTo>
                  <a:pt x="23952" y="61620"/>
                </a:lnTo>
                <a:lnTo>
                  <a:pt x="6108" y="102628"/>
                </a:lnTo>
                <a:lnTo>
                  <a:pt x="0" y="149555"/>
                </a:lnTo>
                <a:lnTo>
                  <a:pt x="6108" y="196240"/>
                </a:lnTo>
                <a:lnTo>
                  <a:pt x="23952" y="236664"/>
                </a:lnTo>
                <a:lnTo>
                  <a:pt x="52755" y="268452"/>
                </a:lnTo>
                <a:lnTo>
                  <a:pt x="91808" y="289267"/>
                </a:lnTo>
                <a:lnTo>
                  <a:pt x="140335" y="296735"/>
                </a:lnTo>
                <a:lnTo>
                  <a:pt x="161124" y="294614"/>
                </a:lnTo>
                <a:lnTo>
                  <a:pt x="181622" y="287845"/>
                </a:lnTo>
                <a:lnTo>
                  <a:pt x="201066" y="275805"/>
                </a:lnTo>
                <a:lnTo>
                  <a:pt x="218706" y="257848"/>
                </a:lnTo>
                <a:lnTo>
                  <a:pt x="225107" y="289991"/>
                </a:lnTo>
                <a:lnTo>
                  <a:pt x="265074" y="289991"/>
                </a:lnTo>
                <a:lnTo>
                  <a:pt x="265074" y="136893"/>
                </a:lnTo>
                <a:close/>
              </a:path>
              <a:path w="761365" h="382269">
                <a:moveTo>
                  <a:pt x="273570" y="380644"/>
                </a:moveTo>
                <a:lnTo>
                  <a:pt x="272554" y="379018"/>
                </a:lnTo>
                <a:lnTo>
                  <a:pt x="272313" y="376783"/>
                </a:lnTo>
                <a:lnTo>
                  <a:pt x="272161" y="375412"/>
                </a:lnTo>
                <a:lnTo>
                  <a:pt x="272161" y="341541"/>
                </a:lnTo>
                <a:lnTo>
                  <a:pt x="262534" y="339775"/>
                </a:lnTo>
                <a:lnTo>
                  <a:pt x="261175" y="339775"/>
                </a:lnTo>
                <a:lnTo>
                  <a:pt x="261175" y="361188"/>
                </a:lnTo>
                <a:lnTo>
                  <a:pt x="261175" y="367626"/>
                </a:lnTo>
                <a:lnTo>
                  <a:pt x="260896" y="373341"/>
                </a:lnTo>
                <a:lnTo>
                  <a:pt x="260845" y="374396"/>
                </a:lnTo>
                <a:lnTo>
                  <a:pt x="248691" y="374396"/>
                </a:lnTo>
                <a:lnTo>
                  <a:pt x="245503" y="373341"/>
                </a:lnTo>
                <a:lnTo>
                  <a:pt x="245503" y="365328"/>
                </a:lnTo>
                <a:lnTo>
                  <a:pt x="248615" y="364185"/>
                </a:lnTo>
                <a:lnTo>
                  <a:pt x="252031" y="363486"/>
                </a:lnTo>
                <a:lnTo>
                  <a:pt x="255435" y="362902"/>
                </a:lnTo>
                <a:lnTo>
                  <a:pt x="259194" y="362902"/>
                </a:lnTo>
                <a:lnTo>
                  <a:pt x="261175" y="361188"/>
                </a:lnTo>
                <a:lnTo>
                  <a:pt x="261175" y="339775"/>
                </a:lnTo>
                <a:lnTo>
                  <a:pt x="245554" y="339775"/>
                </a:lnTo>
                <a:lnTo>
                  <a:pt x="236334" y="342861"/>
                </a:lnTo>
                <a:lnTo>
                  <a:pt x="235724" y="353098"/>
                </a:lnTo>
                <a:lnTo>
                  <a:pt x="246710" y="353098"/>
                </a:lnTo>
                <a:lnTo>
                  <a:pt x="247091" y="348767"/>
                </a:lnTo>
                <a:lnTo>
                  <a:pt x="249809" y="347078"/>
                </a:lnTo>
                <a:lnTo>
                  <a:pt x="257886" y="347078"/>
                </a:lnTo>
                <a:lnTo>
                  <a:pt x="261124" y="347980"/>
                </a:lnTo>
                <a:lnTo>
                  <a:pt x="261124" y="356933"/>
                </a:lnTo>
                <a:lnTo>
                  <a:pt x="254850" y="356679"/>
                </a:lnTo>
                <a:lnTo>
                  <a:pt x="248094" y="357695"/>
                </a:lnTo>
                <a:lnTo>
                  <a:pt x="241274" y="358609"/>
                </a:lnTo>
                <a:lnTo>
                  <a:pt x="234454" y="360768"/>
                </a:lnTo>
                <a:lnTo>
                  <a:pt x="234454" y="377952"/>
                </a:lnTo>
                <a:lnTo>
                  <a:pt x="240525" y="381711"/>
                </a:lnTo>
                <a:lnTo>
                  <a:pt x="253009" y="381711"/>
                </a:lnTo>
                <a:lnTo>
                  <a:pt x="258114" y="380390"/>
                </a:lnTo>
                <a:lnTo>
                  <a:pt x="261620" y="376783"/>
                </a:lnTo>
                <a:lnTo>
                  <a:pt x="261696" y="378091"/>
                </a:lnTo>
                <a:lnTo>
                  <a:pt x="261924" y="379018"/>
                </a:lnTo>
                <a:lnTo>
                  <a:pt x="262026" y="379412"/>
                </a:lnTo>
                <a:lnTo>
                  <a:pt x="262318" y="380390"/>
                </a:lnTo>
                <a:lnTo>
                  <a:pt x="262394" y="380644"/>
                </a:lnTo>
                <a:lnTo>
                  <a:pt x="273570" y="380644"/>
                </a:lnTo>
                <a:close/>
              </a:path>
              <a:path w="761365" h="382269">
                <a:moveTo>
                  <a:pt x="317106" y="365391"/>
                </a:moveTo>
                <a:lnTo>
                  <a:pt x="306476" y="365391"/>
                </a:lnTo>
                <a:lnTo>
                  <a:pt x="305765" y="370255"/>
                </a:lnTo>
                <a:lnTo>
                  <a:pt x="302831" y="373481"/>
                </a:lnTo>
                <a:lnTo>
                  <a:pt x="290791" y="373481"/>
                </a:lnTo>
                <a:lnTo>
                  <a:pt x="288531" y="366788"/>
                </a:lnTo>
                <a:lnTo>
                  <a:pt x="288531" y="355092"/>
                </a:lnTo>
                <a:lnTo>
                  <a:pt x="290880" y="348005"/>
                </a:lnTo>
                <a:lnTo>
                  <a:pt x="302526" y="348005"/>
                </a:lnTo>
                <a:lnTo>
                  <a:pt x="305371" y="350393"/>
                </a:lnTo>
                <a:lnTo>
                  <a:pt x="306070" y="354838"/>
                </a:lnTo>
                <a:lnTo>
                  <a:pt x="316852" y="354838"/>
                </a:lnTo>
                <a:lnTo>
                  <a:pt x="316191" y="344678"/>
                </a:lnTo>
                <a:lnTo>
                  <a:pt x="307467" y="339750"/>
                </a:lnTo>
                <a:lnTo>
                  <a:pt x="298005" y="339750"/>
                </a:lnTo>
                <a:lnTo>
                  <a:pt x="289306" y="341439"/>
                </a:lnTo>
                <a:lnTo>
                  <a:pt x="282879" y="346049"/>
                </a:lnTo>
                <a:lnTo>
                  <a:pt x="278892" y="352894"/>
                </a:lnTo>
                <a:lnTo>
                  <a:pt x="277520" y="361302"/>
                </a:lnTo>
                <a:lnTo>
                  <a:pt x="278980" y="369531"/>
                </a:lnTo>
                <a:lnTo>
                  <a:pt x="283121" y="375983"/>
                </a:lnTo>
                <a:lnTo>
                  <a:pt x="289521" y="380199"/>
                </a:lnTo>
                <a:lnTo>
                  <a:pt x="297802" y="381711"/>
                </a:lnTo>
                <a:lnTo>
                  <a:pt x="308330" y="381711"/>
                </a:lnTo>
                <a:lnTo>
                  <a:pt x="315722" y="375945"/>
                </a:lnTo>
                <a:lnTo>
                  <a:pt x="317106" y="365391"/>
                </a:lnTo>
                <a:close/>
              </a:path>
              <a:path w="761365" h="382269">
                <a:moveTo>
                  <a:pt x="359702" y="365391"/>
                </a:moveTo>
                <a:lnTo>
                  <a:pt x="349072" y="365391"/>
                </a:lnTo>
                <a:lnTo>
                  <a:pt x="348361" y="370255"/>
                </a:lnTo>
                <a:lnTo>
                  <a:pt x="345401" y="373481"/>
                </a:lnTo>
                <a:lnTo>
                  <a:pt x="333387" y="373481"/>
                </a:lnTo>
                <a:lnTo>
                  <a:pt x="331127" y="366788"/>
                </a:lnTo>
                <a:lnTo>
                  <a:pt x="331127" y="355092"/>
                </a:lnTo>
                <a:lnTo>
                  <a:pt x="333476" y="348005"/>
                </a:lnTo>
                <a:lnTo>
                  <a:pt x="345097" y="348005"/>
                </a:lnTo>
                <a:lnTo>
                  <a:pt x="347967" y="350393"/>
                </a:lnTo>
                <a:lnTo>
                  <a:pt x="348678" y="354838"/>
                </a:lnTo>
                <a:lnTo>
                  <a:pt x="359473" y="354838"/>
                </a:lnTo>
                <a:lnTo>
                  <a:pt x="358787" y="344678"/>
                </a:lnTo>
                <a:lnTo>
                  <a:pt x="350062" y="339750"/>
                </a:lnTo>
                <a:lnTo>
                  <a:pt x="340601" y="339750"/>
                </a:lnTo>
                <a:lnTo>
                  <a:pt x="331901" y="341439"/>
                </a:lnTo>
                <a:lnTo>
                  <a:pt x="325475" y="346049"/>
                </a:lnTo>
                <a:lnTo>
                  <a:pt x="321487" y="352894"/>
                </a:lnTo>
                <a:lnTo>
                  <a:pt x="320116" y="361302"/>
                </a:lnTo>
                <a:lnTo>
                  <a:pt x="321576" y="369531"/>
                </a:lnTo>
                <a:lnTo>
                  <a:pt x="325716" y="375983"/>
                </a:lnTo>
                <a:lnTo>
                  <a:pt x="332117" y="380199"/>
                </a:lnTo>
                <a:lnTo>
                  <a:pt x="340398" y="381711"/>
                </a:lnTo>
                <a:lnTo>
                  <a:pt x="350926" y="381711"/>
                </a:lnTo>
                <a:lnTo>
                  <a:pt x="358292" y="375945"/>
                </a:lnTo>
                <a:lnTo>
                  <a:pt x="359702" y="365391"/>
                </a:lnTo>
                <a:close/>
              </a:path>
              <a:path w="761365" h="382269">
                <a:moveTo>
                  <a:pt x="375246" y="340868"/>
                </a:moveTo>
                <a:lnTo>
                  <a:pt x="364248" y="340868"/>
                </a:lnTo>
                <a:lnTo>
                  <a:pt x="364248" y="380669"/>
                </a:lnTo>
                <a:lnTo>
                  <a:pt x="375246" y="380669"/>
                </a:lnTo>
                <a:lnTo>
                  <a:pt x="375246" y="340868"/>
                </a:lnTo>
                <a:close/>
              </a:path>
              <a:path w="761365" h="382269">
                <a:moveTo>
                  <a:pt x="375246" y="325704"/>
                </a:moveTo>
                <a:lnTo>
                  <a:pt x="364248" y="325704"/>
                </a:lnTo>
                <a:lnTo>
                  <a:pt x="364248" y="334708"/>
                </a:lnTo>
                <a:lnTo>
                  <a:pt x="375246" y="334708"/>
                </a:lnTo>
                <a:lnTo>
                  <a:pt x="375246" y="325704"/>
                </a:lnTo>
                <a:close/>
              </a:path>
              <a:path w="761365" h="382269">
                <a:moveTo>
                  <a:pt x="419658" y="346354"/>
                </a:moveTo>
                <a:lnTo>
                  <a:pt x="416699" y="339801"/>
                </a:lnTo>
                <a:lnTo>
                  <a:pt x="400342" y="339801"/>
                </a:lnTo>
                <a:lnTo>
                  <a:pt x="395528" y="341960"/>
                </a:lnTo>
                <a:lnTo>
                  <a:pt x="392722" y="346405"/>
                </a:lnTo>
                <a:lnTo>
                  <a:pt x="392493" y="346405"/>
                </a:lnTo>
                <a:lnTo>
                  <a:pt x="392493" y="340868"/>
                </a:lnTo>
                <a:lnTo>
                  <a:pt x="382028" y="340893"/>
                </a:lnTo>
                <a:lnTo>
                  <a:pt x="382028" y="380695"/>
                </a:lnTo>
                <a:lnTo>
                  <a:pt x="393026" y="380695"/>
                </a:lnTo>
                <a:lnTo>
                  <a:pt x="393026" y="351751"/>
                </a:lnTo>
                <a:lnTo>
                  <a:pt x="395592" y="348449"/>
                </a:lnTo>
                <a:lnTo>
                  <a:pt x="406679" y="348449"/>
                </a:lnTo>
                <a:lnTo>
                  <a:pt x="408622" y="351675"/>
                </a:lnTo>
                <a:lnTo>
                  <a:pt x="408622" y="380695"/>
                </a:lnTo>
                <a:lnTo>
                  <a:pt x="419658" y="380695"/>
                </a:lnTo>
                <a:lnTo>
                  <a:pt x="419658" y="346354"/>
                </a:lnTo>
                <a:close/>
              </a:path>
              <a:path w="761365" h="382269">
                <a:moveTo>
                  <a:pt x="464070" y="363423"/>
                </a:moveTo>
                <a:lnTo>
                  <a:pt x="463448" y="356489"/>
                </a:lnTo>
                <a:lnTo>
                  <a:pt x="463283" y="354545"/>
                </a:lnTo>
                <a:lnTo>
                  <a:pt x="460222" y="348005"/>
                </a:lnTo>
                <a:lnTo>
                  <a:pt x="459752" y="347002"/>
                </a:lnTo>
                <a:lnTo>
                  <a:pt x="453517" y="341744"/>
                </a:lnTo>
                <a:lnTo>
                  <a:pt x="453059" y="341655"/>
                </a:lnTo>
                <a:lnTo>
                  <a:pt x="453059" y="356489"/>
                </a:lnTo>
                <a:lnTo>
                  <a:pt x="435140" y="356489"/>
                </a:lnTo>
                <a:lnTo>
                  <a:pt x="435241" y="354545"/>
                </a:lnTo>
                <a:lnTo>
                  <a:pt x="435305" y="353377"/>
                </a:lnTo>
                <a:lnTo>
                  <a:pt x="437324" y="348005"/>
                </a:lnTo>
                <a:lnTo>
                  <a:pt x="449643" y="348005"/>
                </a:lnTo>
                <a:lnTo>
                  <a:pt x="452043" y="350939"/>
                </a:lnTo>
                <a:lnTo>
                  <a:pt x="453059" y="356489"/>
                </a:lnTo>
                <a:lnTo>
                  <a:pt x="453059" y="341655"/>
                </a:lnTo>
                <a:lnTo>
                  <a:pt x="444614" y="339775"/>
                </a:lnTo>
                <a:lnTo>
                  <a:pt x="436257" y="341337"/>
                </a:lnTo>
                <a:lnTo>
                  <a:pt x="429793" y="345668"/>
                </a:lnTo>
                <a:lnTo>
                  <a:pt x="425615" y="352323"/>
                </a:lnTo>
                <a:lnTo>
                  <a:pt x="424129" y="360794"/>
                </a:lnTo>
                <a:lnTo>
                  <a:pt x="425551" y="369265"/>
                </a:lnTo>
                <a:lnTo>
                  <a:pt x="429628" y="375881"/>
                </a:lnTo>
                <a:lnTo>
                  <a:pt x="436079" y="380199"/>
                </a:lnTo>
                <a:lnTo>
                  <a:pt x="444614" y="381736"/>
                </a:lnTo>
                <a:lnTo>
                  <a:pt x="453694" y="381736"/>
                </a:lnTo>
                <a:lnTo>
                  <a:pt x="460298" y="377736"/>
                </a:lnTo>
                <a:lnTo>
                  <a:pt x="461695" y="373507"/>
                </a:lnTo>
                <a:lnTo>
                  <a:pt x="463384" y="368350"/>
                </a:lnTo>
                <a:lnTo>
                  <a:pt x="453694" y="368350"/>
                </a:lnTo>
                <a:lnTo>
                  <a:pt x="452983" y="370814"/>
                </a:lnTo>
                <a:lnTo>
                  <a:pt x="449440" y="373507"/>
                </a:lnTo>
                <a:lnTo>
                  <a:pt x="438873" y="373507"/>
                </a:lnTo>
                <a:lnTo>
                  <a:pt x="435470" y="370344"/>
                </a:lnTo>
                <a:lnTo>
                  <a:pt x="435152" y="363423"/>
                </a:lnTo>
                <a:lnTo>
                  <a:pt x="464070" y="363423"/>
                </a:lnTo>
                <a:close/>
              </a:path>
              <a:path w="761365" h="382269">
                <a:moveTo>
                  <a:pt x="490004" y="289991"/>
                </a:moveTo>
                <a:lnTo>
                  <a:pt x="482815" y="244475"/>
                </a:lnTo>
                <a:lnTo>
                  <a:pt x="482815" y="189636"/>
                </a:lnTo>
                <a:lnTo>
                  <a:pt x="482815" y="137655"/>
                </a:lnTo>
                <a:lnTo>
                  <a:pt x="477012" y="117030"/>
                </a:lnTo>
                <a:lnTo>
                  <a:pt x="474421" y="107810"/>
                </a:lnTo>
                <a:lnTo>
                  <a:pt x="452869" y="90068"/>
                </a:lnTo>
                <a:lnTo>
                  <a:pt x="426034" y="82270"/>
                </a:lnTo>
                <a:lnTo>
                  <a:pt x="426034" y="189636"/>
                </a:lnTo>
                <a:lnTo>
                  <a:pt x="426034" y="210667"/>
                </a:lnTo>
                <a:lnTo>
                  <a:pt x="425094" y="223215"/>
                </a:lnTo>
                <a:lnTo>
                  <a:pt x="419684" y="238861"/>
                </a:lnTo>
                <a:lnTo>
                  <a:pt x="405955" y="252209"/>
                </a:lnTo>
                <a:lnTo>
                  <a:pt x="380047" y="257848"/>
                </a:lnTo>
                <a:lnTo>
                  <a:pt x="366852" y="256667"/>
                </a:lnTo>
                <a:lnTo>
                  <a:pt x="355752" y="252501"/>
                </a:lnTo>
                <a:lnTo>
                  <a:pt x="348107" y="244475"/>
                </a:lnTo>
                <a:lnTo>
                  <a:pt x="345262" y="231686"/>
                </a:lnTo>
                <a:lnTo>
                  <a:pt x="348030" y="218770"/>
                </a:lnTo>
                <a:lnTo>
                  <a:pt x="355460" y="210223"/>
                </a:lnTo>
                <a:lnTo>
                  <a:pt x="366179" y="204863"/>
                </a:lnTo>
                <a:lnTo>
                  <a:pt x="378853" y="201536"/>
                </a:lnTo>
                <a:lnTo>
                  <a:pt x="405422" y="197535"/>
                </a:lnTo>
                <a:lnTo>
                  <a:pt x="417068" y="194576"/>
                </a:lnTo>
                <a:lnTo>
                  <a:pt x="426008" y="189636"/>
                </a:lnTo>
                <a:lnTo>
                  <a:pt x="426034" y="82270"/>
                </a:lnTo>
                <a:lnTo>
                  <a:pt x="423608" y="81559"/>
                </a:lnTo>
                <a:lnTo>
                  <a:pt x="392049" y="79362"/>
                </a:lnTo>
                <a:lnTo>
                  <a:pt x="357746" y="82677"/>
                </a:lnTo>
                <a:lnTo>
                  <a:pt x="327266" y="93891"/>
                </a:lnTo>
                <a:lnTo>
                  <a:pt x="304888" y="115011"/>
                </a:lnTo>
                <a:lnTo>
                  <a:pt x="294881" y="147993"/>
                </a:lnTo>
                <a:lnTo>
                  <a:pt x="351637" y="147993"/>
                </a:lnTo>
                <a:lnTo>
                  <a:pt x="355320" y="133781"/>
                </a:lnTo>
                <a:lnTo>
                  <a:pt x="363080" y="124180"/>
                </a:lnTo>
                <a:lnTo>
                  <a:pt x="374523" y="118745"/>
                </a:lnTo>
                <a:lnTo>
                  <a:pt x="389216" y="117030"/>
                </a:lnTo>
                <a:lnTo>
                  <a:pt x="403402" y="117970"/>
                </a:lnTo>
                <a:lnTo>
                  <a:pt x="415112" y="121843"/>
                </a:lnTo>
                <a:lnTo>
                  <a:pt x="423075" y="130251"/>
                </a:lnTo>
                <a:lnTo>
                  <a:pt x="426008" y="144792"/>
                </a:lnTo>
                <a:lnTo>
                  <a:pt x="420408" y="158000"/>
                </a:lnTo>
                <a:lnTo>
                  <a:pt x="405472" y="164985"/>
                </a:lnTo>
                <a:lnTo>
                  <a:pt x="384009" y="168617"/>
                </a:lnTo>
                <a:lnTo>
                  <a:pt x="358838" y="171780"/>
                </a:lnTo>
                <a:lnTo>
                  <a:pt x="332994" y="176999"/>
                </a:lnTo>
                <a:lnTo>
                  <a:pt x="310464" y="187312"/>
                </a:lnTo>
                <a:lnTo>
                  <a:pt x="294525" y="205422"/>
                </a:lnTo>
                <a:lnTo>
                  <a:pt x="288480" y="234061"/>
                </a:lnTo>
                <a:lnTo>
                  <a:pt x="293966" y="261416"/>
                </a:lnTo>
                <a:lnTo>
                  <a:pt x="308965" y="280581"/>
                </a:lnTo>
                <a:lnTo>
                  <a:pt x="331304" y="291858"/>
                </a:lnTo>
                <a:lnTo>
                  <a:pt x="358838" y="295554"/>
                </a:lnTo>
                <a:lnTo>
                  <a:pt x="377799" y="294208"/>
                </a:lnTo>
                <a:lnTo>
                  <a:pt x="396316" y="289852"/>
                </a:lnTo>
                <a:lnTo>
                  <a:pt x="413486" y="282003"/>
                </a:lnTo>
                <a:lnTo>
                  <a:pt x="428409" y="270167"/>
                </a:lnTo>
                <a:lnTo>
                  <a:pt x="428802" y="276910"/>
                </a:lnTo>
                <a:lnTo>
                  <a:pt x="430403" y="283629"/>
                </a:lnTo>
                <a:lnTo>
                  <a:pt x="432358" y="289852"/>
                </a:lnTo>
                <a:lnTo>
                  <a:pt x="432409" y="289991"/>
                </a:lnTo>
                <a:lnTo>
                  <a:pt x="490004" y="289991"/>
                </a:lnTo>
                <a:close/>
              </a:path>
              <a:path w="761365" h="382269">
                <a:moveTo>
                  <a:pt x="537781" y="380669"/>
                </a:moveTo>
                <a:lnTo>
                  <a:pt x="533171" y="368439"/>
                </a:lnTo>
                <a:lnTo>
                  <a:pt x="529780" y="359422"/>
                </a:lnTo>
                <a:lnTo>
                  <a:pt x="522185" y="339242"/>
                </a:lnTo>
                <a:lnTo>
                  <a:pt x="517791" y="327596"/>
                </a:lnTo>
                <a:lnTo>
                  <a:pt x="517791" y="359422"/>
                </a:lnTo>
                <a:lnTo>
                  <a:pt x="503466" y="359422"/>
                </a:lnTo>
                <a:lnTo>
                  <a:pt x="510679" y="339242"/>
                </a:lnTo>
                <a:lnTo>
                  <a:pt x="510819" y="339242"/>
                </a:lnTo>
                <a:lnTo>
                  <a:pt x="517791" y="359422"/>
                </a:lnTo>
                <a:lnTo>
                  <a:pt x="517791" y="327596"/>
                </a:lnTo>
                <a:lnTo>
                  <a:pt x="517080" y="325704"/>
                </a:lnTo>
                <a:lnTo>
                  <a:pt x="504621" y="325704"/>
                </a:lnTo>
                <a:lnTo>
                  <a:pt x="483590" y="380669"/>
                </a:lnTo>
                <a:lnTo>
                  <a:pt x="495909" y="380669"/>
                </a:lnTo>
                <a:lnTo>
                  <a:pt x="500265" y="368439"/>
                </a:lnTo>
                <a:lnTo>
                  <a:pt x="520992" y="368439"/>
                </a:lnTo>
                <a:lnTo>
                  <a:pt x="525145" y="380669"/>
                </a:lnTo>
                <a:lnTo>
                  <a:pt x="537781" y="380669"/>
                </a:lnTo>
                <a:close/>
              </a:path>
              <a:path w="761365" h="382269">
                <a:moveTo>
                  <a:pt x="550824" y="325704"/>
                </a:moveTo>
                <a:lnTo>
                  <a:pt x="539826" y="325704"/>
                </a:lnTo>
                <a:lnTo>
                  <a:pt x="539826" y="380669"/>
                </a:lnTo>
                <a:lnTo>
                  <a:pt x="550824" y="380669"/>
                </a:lnTo>
                <a:lnTo>
                  <a:pt x="550824" y="325704"/>
                </a:lnTo>
                <a:close/>
              </a:path>
              <a:path w="761365" h="382269">
                <a:moveTo>
                  <a:pt x="568896" y="325704"/>
                </a:moveTo>
                <a:lnTo>
                  <a:pt x="557885" y="325704"/>
                </a:lnTo>
                <a:lnTo>
                  <a:pt x="557885" y="380669"/>
                </a:lnTo>
                <a:lnTo>
                  <a:pt x="568896" y="380669"/>
                </a:lnTo>
                <a:lnTo>
                  <a:pt x="568896" y="325704"/>
                </a:lnTo>
                <a:close/>
              </a:path>
              <a:path w="761365" h="382269">
                <a:moveTo>
                  <a:pt x="586981" y="340868"/>
                </a:moveTo>
                <a:lnTo>
                  <a:pt x="575957" y="340868"/>
                </a:lnTo>
                <a:lnTo>
                  <a:pt x="575957" y="380669"/>
                </a:lnTo>
                <a:lnTo>
                  <a:pt x="586981" y="380669"/>
                </a:lnTo>
                <a:lnTo>
                  <a:pt x="586981" y="340868"/>
                </a:lnTo>
                <a:close/>
              </a:path>
              <a:path w="761365" h="382269">
                <a:moveTo>
                  <a:pt x="586981" y="325704"/>
                </a:moveTo>
                <a:lnTo>
                  <a:pt x="575957" y="325704"/>
                </a:lnTo>
                <a:lnTo>
                  <a:pt x="575957" y="334708"/>
                </a:lnTo>
                <a:lnTo>
                  <a:pt x="586981" y="334708"/>
                </a:lnTo>
                <a:lnTo>
                  <a:pt x="586981" y="325704"/>
                </a:lnTo>
                <a:close/>
              </a:path>
              <a:path w="761365" h="382269">
                <a:moveTo>
                  <a:pt x="631113" y="380644"/>
                </a:moveTo>
                <a:lnTo>
                  <a:pt x="630097" y="379018"/>
                </a:lnTo>
                <a:lnTo>
                  <a:pt x="629856" y="376783"/>
                </a:lnTo>
                <a:lnTo>
                  <a:pt x="629704" y="375412"/>
                </a:lnTo>
                <a:lnTo>
                  <a:pt x="629704" y="341541"/>
                </a:lnTo>
                <a:lnTo>
                  <a:pt x="620077" y="339775"/>
                </a:lnTo>
                <a:lnTo>
                  <a:pt x="603097" y="339775"/>
                </a:lnTo>
                <a:lnTo>
                  <a:pt x="593877" y="342861"/>
                </a:lnTo>
                <a:lnTo>
                  <a:pt x="593267" y="353098"/>
                </a:lnTo>
                <a:lnTo>
                  <a:pt x="604291" y="353098"/>
                </a:lnTo>
                <a:lnTo>
                  <a:pt x="604647" y="348767"/>
                </a:lnTo>
                <a:lnTo>
                  <a:pt x="607352" y="347078"/>
                </a:lnTo>
                <a:lnTo>
                  <a:pt x="615416" y="347078"/>
                </a:lnTo>
                <a:lnTo>
                  <a:pt x="618718" y="347980"/>
                </a:lnTo>
                <a:lnTo>
                  <a:pt x="618718" y="356933"/>
                </a:lnTo>
                <a:lnTo>
                  <a:pt x="618718" y="361188"/>
                </a:lnTo>
                <a:lnTo>
                  <a:pt x="618718" y="367626"/>
                </a:lnTo>
                <a:lnTo>
                  <a:pt x="618439" y="373341"/>
                </a:lnTo>
                <a:lnTo>
                  <a:pt x="618388" y="374396"/>
                </a:lnTo>
                <a:lnTo>
                  <a:pt x="606221" y="374396"/>
                </a:lnTo>
                <a:lnTo>
                  <a:pt x="603046" y="373341"/>
                </a:lnTo>
                <a:lnTo>
                  <a:pt x="603046" y="365328"/>
                </a:lnTo>
                <a:lnTo>
                  <a:pt x="606158" y="364185"/>
                </a:lnTo>
                <a:lnTo>
                  <a:pt x="609561" y="363486"/>
                </a:lnTo>
                <a:lnTo>
                  <a:pt x="612952" y="362902"/>
                </a:lnTo>
                <a:lnTo>
                  <a:pt x="616737" y="362902"/>
                </a:lnTo>
                <a:lnTo>
                  <a:pt x="618718" y="361188"/>
                </a:lnTo>
                <a:lnTo>
                  <a:pt x="618718" y="356933"/>
                </a:lnTo>
                <a:lnTo>
                  <a:pt x="612406" y="356679"/>
                </a:lnTo>
                <a:lnTo>
                  <a:pt x="605663" y="357695"/>
                </a:lnTo>
                <a:lnTo>
                  <a:pt x="598843" y="358609"/>
                </a:lnTo>
                <a:lnTo>
                  <a:pt x="592023" y="360768"/>
                </a:lnTo>
                <a:lnTo>
                  <a:pt x="592023" y="377952"/>
                </a:lnTo>
                <a:lnTo>
                  <a:pt x="598068" y="381711"/>
                </a:lnTo>
                <a:lnTo>
                  <a:pt x="610577" y="381711"/>
                </a:lnTo>
                <a:lnTo>
                  <a:pt x="615683" y="380390"/>
                </a:lnTo>
                <a:lnTo>
                  <a:pt x="619188" y="376783"/>
                </a:lnTo>
                <a:lnTo>
                  <a:pt x="619239" y="378091"/>
                </a:lnTo>
                <a:lnTo>
                  <a:pt x="619467" y="379018"/>
                </a:lnTo>
                <a:lnTo>
                  <a:pt x="619556" y="379412"/>
                </a:lnTo>
                <a:lnTo>
                  <a:pt x="619861" y="380390"/>
                </a:lnTo>
                <a:lnTo>
                  <a:pt x="619937" y="380644"/>
                </a:lnTo>
                <a:lnTo>
                  <a:pt x="631113" y="380644"/>
                </a:lnTo>
                <a:close/>
              </a:path>
              <a:path w="761365" h="382269">
                <a:moveTo>
                  <a:pt x="673925" y="346354"/>
                </a:moveTo>
                <a:lnTo>
                  <a:pt x="670953" y="339801"/>
                </a:lnTo>
                <a:lnTo>
                  <a:pt x="654634" y="339801"/>
                </a:lnTo>
                <a:lnTo>
                  <a:pt x="649782" y="341960"/>
                </a:lnTo>
                <a:lnTo>
                  <a:pt x="647014" y="346405"/>
                </a:lnTo>
                <a:lnTo>
                  <a:pt x="646772" y="346405"/>
                </a:lnTo>
                <a:lnTo>
                  <a:pt x="646772" y="340868"/>
                </a:lnTo>
                <a:lnTo>
                  <a:pt x="636308" y="340893"/>
                </a:lnTo>
                <a:lnTo>
                  <a:pt x="636308" y="380695"/>
                </a:lnTo>
                <a:lnTo>
                  <a:pt x="647344" y="380695"/>
                </a:lnTo>
                <a:lnTo>
                  <a:pt x="647344" y="351751"/>
                </a:lnTo>
                <a:lnTo>
                  <a:pt x="649884" y="348449"/>
                </a:lnTo>
                <a:lnTo>
                  <a:pt x="660958" y="348449"/>
                </a:lnTo>
                <a:lnTo>
                  <a:pt x="662914" y="351675"/>
                </a:lnTo>
                <a:lnTo>
                  <a:pt x="662914" y="380695"/>
                </a:lnTo>
                <a:lnTo>
                  <a:pt x="673925" y="380695"/>
                </a:lnTo>
                <a:lnTo>
                  <a:pt x="673925" y="346354"/>
                </a:lnTo>
                <a:close/>
              </a:path>
              <a:path w="761365" h="382269">
                <a:moveTo>
                  <a:pt x="691730" y="84899"/>
                </a:moveTo>
                <a:lnTo>
                  <a:pt x="635342" y="84899"/>
                </a:lnTo>
                <a:lnTo>
                  <a:pt x="591756" y="224942"/>
                </a:lnTo>
                <a:lnTo>
                  <a:pt x="590981" y="224942"/>
                </a:lnTo>
                <a:lnTo>
                  <a:pt x="547382" y="84899"/>
                </a:lnTo>
                <a:lnTo>
                  <a:pt x="487794" y="84899"/>
                </a:lnTo>
                <a:lnTo>
                  <a:pt x="558546" y="289991"/>
                </a:lnTo>
                <a:lnTo>
                  <a:pt x="621753" y="289991"/>
                </a:lnTo>
                <a:lnTo>
                  <a:pt x="691730" y="84899"/>
                </a:lnTo>
                <a:close/>
              </a:path>
              <a:path w="761365" h="382269">
                <a:moveTo>
                  <a:pt x="718705" y="365391"/>
                </a:moveTo>
                <a:lnTo>
                  <a:pt x="708050" y="365391"/>
                </a:lnTo>
                <a:lnTo>
                  <a:pt x="707339" y="370255"/>
                </a:lnTo>
                <a:lnTo>
                  <a:pt x="704430" y="373481"/>
                </a:lnTo>
                <a:lnTo>
                  <a:pt x="692365" y="373481"/>
                </a:lnTo>
                <a:lnTo>
                  <a:pt x="690143" y="366788"/>
                </a:lnTo>
                <a:lnTo>
                  <a:pt x="690143" y="355092"/>
                </a:lnTo>
                <a:lnTo>
                  <a:pt x="692480" y="348005"/>
                </a:lnTo>
                <a:lnTo>
                  <a:pt x="704138" y="348005"/>
                </a:lnTo>
                <a:lnTo>
                  <a:pt x="706983" y="350393"/>
                </a:lnTo>
                <a:lnTo>
                  <a:pt x="707669" y="354838"/>
                </a:lnTo>
                <a:lnTo>
                  <a:pt x="718439" y="354838"/>
                </a:lnTo>
                <a:lnTo>
                  <a:pt x="717740" y="344678"/>
                </a:lnTo>
                <a:lnTo>
                  <a:pt x="709041" y="339750"/>
                </a:lnTo>
                <a:lnTo>
                  <a:pt x="699579" y="339750"/>
                </a:lnTo>
                <a:lnTo>
                  <a:pt x="690880" y="341439"/>
                </a:lnTo>
                <a:lnTo>
                  <a:pt x="684466" y="346049"/>
                </a:lnTo>
                <a:lnTo>
                  <a:pt x="680478" y="352894"/>
                </a:lnTo>
                <a:lnTo>
                  <a:pt x="679119" y="361302"/>
                </a:lnTo>
                <a:lnTo>
                  <a:pt x="680580" y="369531"/>
                </a:lnTo>
                <a:lnTo>
                  <a:pt x="684695" y="375983"/>
                </a:lnTo>
                <a:lnTo>
                  <a:pt x="691095" y="380199"/>
                </a:lnTo>
                <a:lnTo>
                  <a:pt x="699363" y="381711"/>
                </a:lnTo>
                <a:lnTo>
                  <a:pt x="709930" y="381711"/>
                </a:lnTo>
                <a:lnTo>
                  <a:pt x="717321" y="375945"/>
                </a:lnTo>
                <a:lnTo>
                  <a:pt x="718705" y="365391"/>
                </a:lnTo>
                <a:close/>
              </a:path>
              <a:path w="761365" h="382269">
                <a:moveTo>
                  <a:pt x="757682" y="84899"/>
                </a:moveTo>
                <a:lnTo>
                  <a:pt x="700925" y="84899"/>
                </a:lnTo>
                <a:lnTo>
                  <a:pt x="700925" y="289991"/>
                </a:lnTo>
                <a:lnTo>
                  <a:pt x="757682" y="289991"/>
                </a:lnTo>
                <a:lnTo>
                  <a:pt x="757682" y="84899"/>
                </a:lnTo>
                <a:close/>
              </a:path>
              <a:path w="761365" h="382269">
                <a:moveTo>
                  <a:pt x="757682" y="6743"/>
                </a:moveTo>
                <a:lnTo>
                  <a:pt x="700925" y="6743"/>
                </a:lnTo>
                <a:lnTo>
                  <a:pt x="700925" y="53162"/>
                </a:lnTo>
                <a:lnTo>
                  <a:pt x="757682" y="53162"/>
                </a:lnTo>
                <a:lnTo>
                  <a:pt x="757682" y="6743"/>
                </a:lnTo>
                <a:close/>
              </a:path>
              <a:path w="761365" h="382269">
                <a:moveTo>
                  <a:pt x="760945" y="363423"/>
                </a:moveTo>
                <a:lnTo>
                  <a:pt x="749960" y="341655"/>
                </a:lnTo>
                <a:lnTo>
                  <a:pt x="749960" y="356489"/>
                </a:lnTo>
                <a:lnTo>
                  <a:pt x="732015" y="356489"/>
                </a:lnTo>
                <a:lnTo>
                  <a:pt x="732116" y="354545"/>
                </a:lnTo>
                <a:lnTo>
                  <a:pt x="732180" y="353377"/>
                </a:lnTo>
                <a:lnTo>
                  <a:pt x="734174" y="348005"/>
                </a:lnTo>
                <a:lnTo>
                  <a:pt x="746531" y="348005"/>
                </a:lnTo>
                <a:lnTo>
                  <a:pt x="748931" y="350939"/>
                </a:lnTo>
                <a:lnTo>
                  <a:pt x="749960" y="356489"/>
                </a:lnTo>
                <a:lnTo>
                  <a:pt x="749960" y="341655"/>
                </a:lnTo>
                <a:lnTo>
                  <a:pt x="741489" y="339775"/>
                </a:lnTo>
                <a:lnTo>
                  <a:pt x="733158" y="341337"/>
                </a:lnTo>
                <a:lnTo>
                  <a:pt x="726681" y="345668"/>
                </a:lnTo>
                <a:lnTo>
                  <a:pt x="722490" y="352323"/>
                </a:lnTo>
                <a:lnTo>
                  <a:pt x="721004" y="360794"/>
                </a:lnTo>
                <a:lnTo>
                  <a:pt x="722426" y="369265"/>
                </a:lnTo>
                <a:lnTo>
                  <a:pt x="726503" y="375881"/>
                </a:lnTo>
                <a:lnTo>
                  <a:pt x="732955" y="380199"/>
                </a:lnTo>
                <a:lnTo>
                  <a:pt x="741489" y="381736"/>
                </a:lnTo>
                <a:lnTo>
                  <a:pt x="750570" y="381736"/>
                </a:lnTo>
                <a:lnTo>
                  <a:pt x="757186" y="377736"/>
                </a:lnTo>
                <a:lnTo>
                  <a:pt x="758583" y="373507"/>
                </a:lnTo>
                <a:lnTo>
                  <a:pt x="760285" y="368350"/>
                </a:lnTo>
                <a:lnTo>
                  <a:pt x="750570" y="368350"/>
                </a:lnTo>
                <a:lnTo>
                  <a:pt x="749871" y="370814"/>
                </a:lnTo>
                <a:lnTo>
                  <a:pt x="746315" y="373507"/>
                </a:lnTo>
                <a:lnTo>
                  <a:pt x="735761" y="373507"/>
                </a:lnTo>
                <a:lnTo>
                  <a:pt x="732345" y="370344"/>
                </a:lnTo>
                <a:lnTo>
                  <a:pt x="732040" y="363423"/>
                </a:lnTo>
                <a:lnTo>
                  <a:pt x="760945" y="363423"/>
                </a:lnTo>
                <a:close/>
              </a:path>
            </a:pathLst>
          </a:custGeom>
          <a:solidFill>
            <a:srgbClr val="FFFFFF"/>
          </a:solidFill>
        </p:spPr>
        <p:txBody>
          <a:bodyPr wrap="square" lIns="0" tIns="0" rIns="0" bIns="0" rtlCol="0"/>
          <a:lstStyle/>
          <a:p>
            <a:endParaRPr/>
          </a:p>
        </p:txBody>
      </p:sp>
      <p:pic>
        <p:nvPicPr>
          <p:cNvPr id="18" name="bg object 18"/>
          <p:cNvPicPr/>
          <p:nvPr/>
        </p:nvPicPr>
        <p:blipFill>
          <a:blip r:embed="rId3" cstate="print"/>
          <a:stretch>
            <a:fillRect/>
          </a:stretch>
        </p:blipFill>
        <p:spPr>
          <a:xfrm>
            <a:off x="11178006" y="444712"/>
            <a:ext cx="486717" cy="482759"/>
          </a:xfrm>
          <a:prstGeom prst="rect">
            <a:avLst/>
          </a:prstGeom>
        </p:spPr>
      </p:pic>
      <p:sp>
        <p:nvSpPr>
          <p:cNvPr id="2" name="Holder 2"/>
          <p:cNvSpPr>
            <a:spLocks noGrp="1"/>
          </p:cNvSpPr>
          <p:nvPr>
            <p:ph type="title"/>
          </p:nvPr>
        </p:nvSpPr>
        <p:spPr/>
        <p:txBody>
          <a:bodyPr lIns="0" tIns="0" rIns="0" bIns="0"/>
          <a:lstStyle>
            <a:lvl1pPr>
              <a:defRPr sz="3600" b="1" i="0">
                <a:solidFill>
                  <a:srgbClr val="005CB8"/>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8/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360756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8/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5402144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209330510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54657370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pic>
        <p:nvPicPr>
          <p:cNvPr id="7" name="Picture 6" descr="Shape&#10;&#10;Description automatically generated">
            <a:extLst>
              <a:ext uri="{FF2B5EF4-FFF2-40B4-BE49-F238E27FC236}">
                <a16:creationId xmlns:a16="http://schemas.microsoft.com/office/drawing/2014/main" id="{D2830A3C-7ED1-2741-8ED4-600D60D8DBDA}"/>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en-GB"/>
              <a:t>XX</a:t>
            </a:r>
          </a:p>
        </p:txBody>
      </p:sp>
    </p:spTree>
    <p:extLst>
      <p:ext uri="{BB962C8B-B14F-4D97-AF65-F5344CB8AC3E}">
        <p14:creationId xmlns:p14="http://schemas.microsoft.com/office/powerpoint/2010/main" val="154450218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424924271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49116906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1270579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215217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84975688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18256500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86371493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23299629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29417902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69882487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74701734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30668853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275514143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3862796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423100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62072960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203519480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248724581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4525226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450,000 1-2 y/o;1.4M ZDC 2-5 y/o</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923441759"/>
      </p:ext>
    </p:extLst>
  </p:cSld>
  <p:clrMapOvr>
    <a:masterClrMapping/>
  </p:clrMapOvr>
  <p:hf sldNum="0" hdr="0" dt="0"/>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4" y="1304925"/>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7"/>
            <a:ext cx="1036776" cy="381653"/>
          </a:xfrm>
          <a:prstGeom prst="rect">
            <a:avLst/>
          </a:prstGeom>
        </p:spPr>
      </p:pic>
    </p:spTree>
    <p:extLst>
      <p:ext uri="{BB962C8B-B14F-4D97-AF65-F5344CB8AC3E}">
        <p14:creationId xmlns:p14="http://schemas.microsoft.com/office/powerpoint/2010/main" val="60766091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Text, Quote + Im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93E1EED-AE20-8A03-F1E0-365A00E306E3}"/>
              </a:ext>
            </a:extLst>
          </p:cNvPr>
          <p:cNvGraphicFramePr>
            <a:graphicFrameLocks noChangeAspect="1"/>
          </p:cNvGraphicFramePr>
          <p:nvPr userDrawn="1">
            <p:custDataLst>
              <p:tags r:id="rId2"/>
            </p:custDataLst>
            <p:extLst>
              <p:ext uri="{D42A27DB-BD31-4B8C-83A1-F6EECF244321}">
                <p14:modId xmlns:p14="http://schemas.microsoft.com/office/powerpoint/2010/main" val="395972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6" name="think-cell Slide" r:id="rId4" imgW="306" imgH="308" progId="TCLayout.ActiveDocument.1">
                  <p:embed/>
                </p:oleObj>
              </mc:Choice>
              <mc:Fallback>
                <p:oleObj name="think-cell Slide" r:id="rId4" imgW="306" imgH="308" progId="TCLayout.ActiveDocument.1">
                  <p:embed/>
                  <p:pic>
                    <p:nvPicPr>
                      <p:cNvPr id="3" name="think-cell data - do not delete" hidden="1">
                        <a:extLst>
                          <a:ext uri="{FF2B5EF4-FFF2-40B4-BE49-F238E27FC236}">
                            <a16:creationId xmlns:a16="http://schemas.microsoft.com/office/drawing/2014/main" id="{193E1EED-AE20-8A03-F1E0-365A00E306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a:prstGeom prst="rect">
            <a:avLst/>
          </a:prstGeo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a:prstGeom prst="rect">
            <a:avLst/>
          </a:prstGeo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a:prstGeom prst="rect">
            <a:avLst/>
          </a:prstGeo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5504218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7408634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978285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8017224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330742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341022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21643684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9111684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2339308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3774272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1324253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8432038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8591394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0231287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900186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460938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6072079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2740184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6712898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0732194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796162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4958528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2123990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547917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6744043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3776628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9062457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2434041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8187563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882368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6718114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492853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7419995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9619273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555517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389570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7246692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37094039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2979825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3895929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2" spcCol="360000"/>
          <a:lstStyle>
            <a:lvl1pPr marL="342891" indent="-342891">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5416330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2" spcCol="360000"/>
          <a:lstStyle>
            <a:lvl1pPr marL="457189" indent="-457189">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1017531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1"/>
            <a:ext cx="11144931"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2368419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1"/>
            <a:ext cx="11144931" cy="4204608"/>
          </a:xfrm>
        </p:spPr>
        <p:txBody>
          <a:bodyPr numCol="2" spcCol="360000"/>
          <a:lstStyle>
            <a:lvl1pPr marL="342891" indent="-342891">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38151659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1"/>
            <a:ext cx="11144931" cy="4204608"/>
          </a:xfrm>
        </p:spPr>
        <p:txBody>
          <a:bodyPr numCol="2" spcCol="360000"/>
          <a:lstStyle>
            <a:lvl1pPr marL="457189" indent="-457189">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28414479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5" y="1319653"/>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3" y="1708831"/>
            <a:ext cx="5343019" cy="4204608"/>
          </a:xfrm>
        </p:spPr>
        <p:txBody>
          <a:bodyPr numCol="1" spcCol="180000">
            <a:normAutofit/>
          </a:bodyPr>
          <a:lstStyle>
            <a:lvl1pPr marL="342891" indent="-342891">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2" y="1319653"/>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1"/>
            <a:ext cx="5343019" cy="4204608"/>
          </a:xfrm>
        </p:spPr>
        <p:txBody>
          <a:bodyPr numCol="1" spcCol="180000">
            <a:normAutofit/>
          </a:bodyPr>
          <a:lstStyle>
            <a:lvl1pPr marL="342891" indent="-342891">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0127959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3"/>
            <a:ext cx="3495195"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3" y="1708831"/>
            <a:ext cx="3485283" cy="4204608"/>
          </a:xfrm>
        </p:spPr>
        <p:txBody>
          <a:bodyPr numCol="1" spcCol="180000">
            <a:normAutofit/>
          </a:bodyPr>
          <a:lstStyle>
            <a:lvl1pPr marL="342891" indent="-342891">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3" y="1319653"/>
            <a:ext cx="3495195"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8" y="1708831"/>
            <a:ext cx="3485283" cy="4204608"/>
          </a:xfrm>
        </p:spPr>
        <p:txBody>
          <a:bodyPr numCol="1" spcCol="180000">
            <a:normAutofit/>
          </a:bodyPr>
          <a:lstStyle>
            <a:lvl1pPr marL="342891" indent="-342891">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5" y="1319653"/>
            <a:ext cx="3495195"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5000" y="1708831"/>
            <a:ext cx="3485283" cy="4204608"/>
          </a:xfrm>
        </p:spPr>
        <p:txBody>
          <a:bodyPr numCol="1" spcCol="180000">
            <a:normAutofit/>
          </a:bodyPr>
          <a:lstStyle>
            <a:lvl1pPr marL="342891" indent="-342891">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2316910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6" y="1191567"/>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7" y="1191567"/>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9" y="1378325"/>
            <a:ext cx="5036457" cy="172339"/>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9" y="2154364"/>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9" y="1597378"/>
            <a:ext cx="5036457" cy="382135"/>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7" y="1378325"/>
            <a:ext cx="5036457" cy="172339"/>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7" y="2154364"/>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7" y="1597378"/>
            <a:ext cx="5036457" cy="382135"/>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8415847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7"/>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8" y="1378325"/>
            <a:ext cx="3214437" cy="172339"/>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8" y="2154364"/>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8" y="1597378"/>
            <a:ext cx="3214437" cy="382135"/>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7"/>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7" y="1378325"/>
            <a:ext cx="3201361" cy="172339"/>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7" y="2154364"/>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7" y="1597378"/>
            <a:ext cx="3201361" cy="382135"/>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7"/>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1" cy="172339"/>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4"/>
            <a:ext cx="321197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1" cy="382135"/>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8743840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1"/>
            <a:ext cx="3287436" cy="2593767"/>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2"/>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3" y="3319671"/>
            <a:ext cx="3287436" cy="2593767"/>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3" y="2874302"/>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7" y="3326199"/>
            <a:ext cx="3287436" cy="2593767"/>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7" y="2880830"/>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6"/>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6"/>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6"/>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5372210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7719727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7"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7"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5"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8"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7"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7"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194722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3"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3"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90"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90" y="3170771"/>
            <a:ext cx="2007343"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90" y="2559970"/>
            <a:ext cx="2007343"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3"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3"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90"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90" y="3170771"/>
            <a:ext cx="2007343"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90" y="2559970"/>
            <a:ext cx="2007343"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1" y="3170771"/>
            <a:ext cx="2007343"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1" y="2559970"/>
            <a:ext cx="2007343"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9580803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6"/>
            <a:ext cx="869951" cy="869951"/>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8"/>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6"/>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3"/>
            <a:ext cx="869951" cy="869951"/>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6"/>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4"/>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4" y="1304926"/>
            <a:ext cx="869951" cy="869951"/>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6" y="1687058"/>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6" y="1304926"/>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4" y="3786233"/>
            <a:ext cx="869951" cy="869951"/>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6" y="4168366"/>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6" y="3786234"/>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9812983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342891" indent="-342891">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10" y="2420147"/>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50" y="5013398"/>
            <a:ext cx="3715133" cy="792044"/>
          </a:xfrm>
        </p:spPr>
        <p:txBody>
          <a:bodyPr anchor="t">
            <a:normAutofit/>
          </a:bodyPr>
          <a:lstStyle>
            <a:lvl1pPr marL="179384" indent="-179384">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5" cy="767875"/>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10"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50" y="3384614"/>
            <a:ext cx="3715133" cy="792044"/>
          </a:xfrm>
        </p:spPr>
        <p:txBody>
          <a:bodyPr anchor="t">
            <a:normAutofit/>
          </a:bodyPr>
          <a:lstStyle>
            <a:lvl1pPr marL="179384" indent="-179384">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1"/>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5"/>
            <a:ext cx="767875" cy="767875"/>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10" y="-837419"/>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50" y="1755834"/>
            <a:ext cx="3715133" cy="792044"/>
          </a:xfrm>
        </p:spPr>
        <p:txBody>
          <a:bodyPr anchor="t">
            <a:normAutofit/>
          </a:bodyPr>
          <a:lstStyle>
            <a:lvl1pPr marL="179384" indent="-179384">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5" cy="767875"/>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5159962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2" y="2354656"/>
            <a:ext cx="11169081" cy="3558783"/>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1" cy="853195"/>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5"/>
            <a:ext cx="2290923" cy="2745803"/>
          </a:xfrm>
        </p:spPr>
        <p:txBody>
          <a:bodyPr>
            <a:normAutofit/>
          </a:bodyPr>
          <a:lstStyle>
            <a:lvl1pPr marL="177796" indent="-177796">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3" cy="443199"/>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4" y="3054705"/>
            <a:ext cx="2231105" cy="2745803"/>
          </a:xfrm>
        </p:spPr>
        <p:txBody>
          <a:bodyPr>
            <a:normAutofit/>
          </a:bodyPr>
          <a:lstStyle>
            <a:lvl1pPr marL="177796" indent="-177796">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4" y="2501966"/>
            <a:ext cx="2231105" cy="443199"/>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5"/>
            <a:ext cx="2251851" cy="2745803"/>
          </a:xfrm>
        </p:spPr>
        <p:txBody>
          <a:bodyPr>
            <a:normAutofit/>
          </a:bodyPr>
          <a:lstStyle>
            <a:lvl1pPr marL="177796" indent="-177796">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1" cy="443199"/>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5"/>
            <a:ext cx="2290923" cy="2745803"/>
          </a:xfrm>
        </p:spPr>
        <p:txBody>
          <a:bodyPr>
            <a:normAutofit/>
          </a:bodyPr>
          <a:lstStyle>
            <a:lvl1pPr marL="177796" indent="-177796">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3" cy="443199"/>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433047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11163869"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189"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92291895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11163869"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6" y="3227929"/>
            <a:ext cx="5326063" cy="268550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6"/>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189"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189"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5289877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6" y="368301"/>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6" y="3227929"/>
            <a:ext cx="5326063" cy="268550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189"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3923328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7"/>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30"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58293371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30"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7940222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856902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30"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8" y="1329379"/>
            <a:ext cx="5580063"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189"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0661439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4360962"/>
            <a:ext cx="5234437" cy="1538516"/>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915593"/>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6" y="4360962"/>
            <a:ext cx="5234437" cy="1538516"/>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6" y="3915593"/>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6"/>
            <a:ext cx="5234439"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6" y="1304926"/>
            <a:ext cx="5234439"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3356410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1"/>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8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3" y="3726649"/>
            <a:ext cx="3287436" cy="2121011"/>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3" y="328128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7" y="3733177"/>
            <a:ext cx="3287436" cy="2121011"/>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7" y="328780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9" y="1304926"/>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2" y="1304926"/>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7" y="1304926"/>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4475639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3"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7"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3"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7"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6"/>
            <a:ext cx="11144931"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9631468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4"/>
            <a:ext cx="2007343"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5"/>
            <a:ext cx="11144931"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4"/>
            <a:ext cx="2007343" cy="387799"/>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90" y="4066434"/>
            <a:ext cx="2007343" cy="387799"/>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4"/>
            <a:ext cx="2007343" cy="387799"/>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90" y="4066434"/>
            <a:ext cx="2007343" cy="387799"/>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1" y="4066434"/>
            <a:ext cx="2007343" cy="387799"/>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4"/>
            <a:ext cx="2007343"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4"/>
            <a:ext cx="2007343"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90" y="2931454"/>
            <a:ext cx="2007343"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1" y="2931454"/>
            <a:ext cx="2007343"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34015000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7"/>
          <a:ext cx="11007612" cy="3618727"/>
        </p:xfrm>
        <a:graphic>
          <a:graphicData uri="http://schemas.openxmlformats.org/drawingml/2006/table">
            <a:tbl>
              <a:tblPr bandCol="1">
                <a:tableStyleId>{2D5ABB26-0587-4C30-8999-92F81FD0307C}</a:tableStyleId>
              </a:tblPr>
              <a:tblGrid>
                <a:gridCol w="2751903">
                  <a:extLst>
                    <a:ext uri="{9D8B030D-6E8A-4147-A177-3AD203B41FA5}">
                      <a16:colId xmlns:a16="http://schemas.microsoft.com/office/drawing/2014/main" val="4151945498"/>
                    </a:ext>
                  </a:extLst>
                </a:gridCol>
                <a:gridCol w="2751903">
                  <a:extLst>
                    <a:ext uri="{9D8B030D-6E8A-4147-A177-3AD203B41FA5}">
                      <a16:colId xmlns:a16="http://schemas.microsoft.com/office/drawing/2014/main" val="1382627474"/>
                    </a:ext>
                  </a:extLst>
                </a:gridCol>
                <a:gridCol w="2751903">
                  <a:extLst>
                    <a:ext uri="{9D8B030D-6E8A-4147-A177-3AD203B41FA5}">
                      <a16:colId xmlns:a16="http://schemas.microsoft.com/office/drawing/2014/main" val="2312284562"/>
                    </a:ext>
                  </a:extLst>
                </a:gridCol>
                <a:gridCol w="2751903">
                  <a:extLst>
                    <a:ext uri="{9D8B030D-6E8A-4147-A177-3AD203B41FA5}">
                      <a16:colId xmlns:a16="http://schemas.microsoft.com/office/drawing/2014/main" val="380964293"/>
                    </a:ext>
                  </a:extLst>
                </a:gridCol>
              </a:tblGrid>
              <a:tr h="3618727">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6" y="2278197"/>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9"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1"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6"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6" y="1818875"/>
            <a:ext cx="2767427" cy="300443"/>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5" y="1818875"/>
            <a:ext cx="2746295" cy="300443"/>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2" y="1818875"/>
            <a:ext cx="2745959" cy="300443"/>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2" y="1818875"/>
            <a:ext cx="2773719" cy="300443"/>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3"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6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3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51046717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6" y="2265318"/>
          <a:ext cx="11007615" cy="3618719"/>
        </p:xfrm>
        <a:graphic>
          <a:graphicData uri="http://schemas.openxmlformats.org/drawingml/2006/table">
            <a:tbl>
              <a:tblPr bandCol="1">
                <a:tableStyleId>{2D5ABB26-0587-4C30-8999-92F81FD0307C}</a:tableStyleId>
              </a:tblPr>
              <a:tblGrid>
                <a:gridCol w="2201523">
                  <a:extLst>
                    <a:ext uri="{9D8B030D-6E8A-4147-A177-3AD203B41FA5}">
                      <a16:colId xmlns:a16="http://schemas.microsoft.com/office/drawing/2014/main" val="4151945498"/>
                    </a:ext>
                  </a:extLst>
                </a:gridCol>
                <a:gridCol w="2201523">
                  <a:extLst>
                    <a:ext uri="{9D8B030D-6E8A-4147-A177-3AD203B41FA5}">
                      <a16:colId xmlns:a16="http://schemas.microsoft.com/office/drawing/2014/main" val="1382627474"/>
                    </a:ext>
                  </a:extLst>
                </a:gridCol>
                <a:gridCol w="2201523">
                  <a:extLst>
                    <a:ext uri="{9D8B030D-6E8A-4147-A177-3AD203B41FA5}">
                      <a16:colId xmlns:a16="http://schemas.microsoft.com/office/drawing/2014/main" val="2312284562"/>
                    </a:ext>
                  </a:extLst>
                </a:gridCol>
                <a:gridCol w="2201523">
                  <a:extLst>
                    <a:ext uri="{9D8B030D-6E8A-4147-A177-3AD203B41FA5}">
                      <a16:colId xmlns:a16="http://schemas.microsoft.com/office/drawing/2014/main" val="380964293"/>
                    </a:ext>
                  </a:extLst>
                </a:gridCol>
                <a:gridCol w="2201523">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6" y="2265316"/>
            <a:ext cx="11042015"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7"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8" y="1805995"/>
            <a:ext cx="2217229" cy="300443"/>
          </a:xfrm>
        </p:spPr>
        <p:txBody>
          <a:bodyPr lIns="108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3" y="1805995"/>
            <a:ext cx="2200300" cy="300443"/>
          </a:xfrm>
        </p:spPr>
        <p:txBody>
          <a:bodyPr lIns="108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3" y="2567721"/>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7" y="2567721"/>
            <a:ext cx="2193483"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21"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7" y="1805995"/>
            <a:ext cx="2200300" cy="300443"/>
          </a:xfrm>
        </p:spPr>
        <p:txBody>
          <a:bodyPr lIns="108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1" y="2567721"/>
            <a:ext cx="2193483"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3"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9" y="1805995"/>
            <a:ext cx="2200300" cy="300443"/>
          </a:xfrm>
        </p:spPr>
        <p:txBody>
          <a:bodyPr lIns="108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3" y="2567721"/>
            <a:ext cx="2193483"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5"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2" y="1805995"/>
            <a:ext cx="2200300" cy="300443"/>
          </a:xfrm>
        </p:spPr>
        <p:txBody>
          <a:bodyPr lIns="108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1"/>
            <a:ext cx="2193483"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86249123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9" y="2265318"/>
          <a:ext cx="11007618" cy="3618719"/>
        </p:xfrm>
        <a:graphic>
          <a:graphicData uri="http://schemas.openxmlformats.org/drawingml/2006/table">
            <a:tbl>
              <a:tblPr bandCol="1">
                <a:tableStyleId>{2D5ABB26-0587-4C30-8999-92F81FD0307C}</a:tableStyleId>
              </a:tblPr>
              <a:tblGrid>
                <a:gridCol w="1834603">
                  <a:extLst>
                    <a:ext uri="{9D8B030D-6E8A-4147-A177-3AD203B41FA5}">
                      <a16:colId xmlns:a16="http://schemas.microsoft.com/office/drawing/2014/main" val="4151945498"/>
                    </a:ext>
                  </a:extLst>
                </a:gridCol>
                <a:gridCol w="1834603">
                  <a:extLst>
                    <a:ext uri="{9D8B030D-6E8A-4147-A177-3AD203B41FA5}">
                      <a16:colId xmlns:a16="http://schemas.microsoft.com/office/drawing/2014/main" val="1382627474"/>
                    </a:ext>
                  </a:extLst>
                </a:gridCol>
                <a:gridCol w="1834603">
                  <a:extLst>
                    <a:ext uri="{9D8B030D-6E8A-4147-A177-3AD203B41FA5}">
                      <a16:colId xmlns:a16="http://schemas.microsoft.com/office/drawing/2014/main" val="2312284562"/>
                    </a:ext>
                  </a:extLst>
                </a:gridCol>
                <a:gridCol w="1834603">
                  <a:extLst>
                    <a:ext uri="{9D8B030D-6E8A-4147-A177-3AD203B41FA5}">
                      <a16:colId xmlns:a16="http://schemas.microsoft.com/office/drawing/2014/main" val="380964293"/>
                    </a:ext>
                  </a:extLst>
                </a:gridCol>
                <a:gridCol w="1834603">
                  <a:extLst>
                    <a:ext uri="{9D8B030D-6E8A-4147-A177-3AD203B41FA5}">
                      <a16:colId xmlns:a16="http://schemas.microsoft.com/office/drawing/2014/main" val="2456329606"/>
                    </a:ext>
                  </a:extLst>
                </a:gridCol>
                <a:gridCol w="1834603">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6" y="2265317"/>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8"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21"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81"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1"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4"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4"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41"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6001"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1"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6"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5"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6"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8"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7"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8"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288261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7"/>
          <a:ext cx="11007612" cy="3618727"/>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7">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6" y="2278197"/>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9"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1"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6"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6" y="1818875"/>
            <a:ext cx="2767427" cy="300443"/>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5" y="1818875"/>
            <a:ext cx="2746295" cy="300443"/>
          </a:xfrm>
        </p:spPr>
        <p:txBody>
          <a:bodyPr lIns="108000" rIns="288000" anchor="b" anchorCtr="0">
            <a:noAutofit/>
          </a:bodyPr>
          <a:lstStyle>
            <a:lvl1pPr marL="0" marR="0" indent="0" algn="l" defTabSz="914377"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2" y="1818875"/>
            <a:ext cx="2745959" cy="300443"/>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2" y="1818875"/>
            <a:ext cx="2773719" cy="300443"/>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41" y="2583185"/>
            <a:ext cx="8012329" cy="380748"/>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5" y="2474445"/>
            <a:ext cx="2451893" cy="608144"/>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2998740"/>
            <a:ext cx="2477399" cy="608144"/>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6" y="3112438"/>
            <a:ext cx="8012329" cy="380748"/>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3" y="3636733"/>
            <a:ext cx="10779795" cy="380748"/>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027"/>
            <a:ext cx="9537643" cy="380748"/>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3" y="4685321"/>
            <a:ext cx="3986411" cy="380748"/>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39295648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VIS Steering Committee - April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1" cy="592779"/>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9" y="2081214"/>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6175023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theme" Target="../theme/theme10.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9.xml"/><Relationship Id="rId21" Type="http://schemas.openxmlformats.org/officeDocument/2006/relationships/slideLayout" Target="../slideLayouts/slideLayout44.xml"/><Relationship Id="rId42" Type="http://schemas.openxmlformats.org/officeDocument/2006/relationships/slideLayout" Target="../slideLayouts/slideLayout65.xml"/><Relationship Id="rId47" Type="http://schemas.openxmlformats.org/officeDocument/2006/relationships/slideLayout" Target="../slideLayouts/slideLayout70.xml"/><Relationship Id="rId63" Type="http://schemas.openxmlformats.org/officeDocument/2006/relationships/slideLayout" Target="../slideLayouts/slideLayout86.xml"/><Relationship Id="rId68" Type="http://schemas.openxmlformats.org/officeDocument/2006/relationships/slideLayout" Target="../slideLayouts/slideLayout91.xml"/><Relationship Id="rId84" Type="http://schemas.openxmlformats.org/officeDocument/2006/relationships/slideLayout" Target="../slideLayouts/slideLayout107.xml"/><Relationship Id="rId89" Type="http://schemas.openxmlformats.org/officeDocument/2006/relationships/slideLayout" Target="../slideLayouts/slideLayout112.xml"/><Relationship Id="rId16" Type="http://schemas.openxmlformats.org/officeDocument/2006/relationships/slideLayout" Target="../slideLayouts/slideLayout39.xml"/><Relationship Id="rId11" Type="http://schemas.openxmlformats.org/officeDocument/2006/relationships/slideLayout" Target="../slideLayouts/slideLayout34.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53" Type="http://schemas.openxmlformats.org/officeDocument/2006/relationships/slideLayout" Target="../slideLayouts/slideLayout76.xml"/><Relationship Id="rId58" Type="http://schemas.openxmlformats.org/officeDocument/2006/relationships/slideLayout" Target="../slideLayouts/slideLayout81.xml"/><Relationship Id="rId74" Type="http://schemas.openxmlformats.org/officeDocument/2006/relationships/slideLayout" Target="../slideLayouts/slideLayout97.xml"/><Relationship Id="rId79" Type="http://schemas.openxmlformats.org/officeDocument/2006/relationships/slideLayout" Target="../slideLayouts/slideLayout102.xml"/><Relationship Id="rId5" Type="http://schemas.openxmlformats.org/officeDocument/2006/relationships/slideLayout" Target="../slideLayouts/slideLayout28.xml"/><Relationship Id="rId90" Type="http://schemas.openxmlformats.org/officeDocument/2006/relationships/slideLayout" Target="../slideLayouts/slideLayout113.xml"/><Relationship Id="rId95" Type="http://schemas.openxmlformats.org/officeDocument/2006/relationships/tags" Target="../tags/tag3.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43" Type="http://schemas.openxmlformats.org/officeDocument/2006/relationships/slideLayout" Target="../slideLayouts/slideLayout66.xml"/><Relationship Id="rId48" Type="http://schemas.openxmlformats.org/officeDocument/2006/relationships/slideLayout" Target="../slideLayouts/slideLayout71.xml"/><Relationship Id="rId64" Type="http://schemas.openxmlformats.org/officeDocument/2006/relationships/slideLayout" Target="../slideLayouts/slideLayout87.xml"/><Relationship Id="rId69" Type="http://schemas.openxmlformats.org/officeDocument/2006/relationships/slideLayout" Target="../slideLayouts/slideLayout92.xml"/><Relationship Id="rId80" Type="http://schemas.openxmlformats.org/officeDocument/2006/relationships/slideLayout" Target="../slideLayouts/slideLayout103.xml"/><Relationship Id="rId85" Type="http://schemas.openxmlformats.org/officeDocument/2006/relationships/slideLayout" Target="../slideLayouts/slideLayout108.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46" Type="http://schemas.openxmlformats.org/officeDocument/2006/relationships/slideLayout" Target="../slideLayouts/slideLayout69.xml"/><Relationship Id="rId59" Type="http://schemas.openxmlformats.org/officeDocument/2006/relationships/slideLayout" Target="../slideLayouts/slideLayout82.xml"/><Relationship Id="rId67" Type="http://schemas.openxmlformats.org/officeDocument/2006/relationships/slideLayout" Target="../slideLayouts/slideLayout90.xml"/><Relationship Id="rId20" Type="http://schemas.openxmlformats.org/officeDocument/2006/relationships/slideLayout" Target="../slideLayouts/slideLayout43.xml"/><Relationship Id="rId41" Type="http://schemas.openxmlformats.org/officeDocument/2006/relationships/slideLayout" Target="../slideLayouts/slideLayout64.xml"/><Relationship Id="rId54" Type="http://schemas.openxmlformats.org/officeDocument/2006/relationships/slideLayout" Target="../slideLayouts/slideLayout77.xml"/><Relationship Id="rId62" Type="http://schemas.openxmlformats.org/officeDocument/2006/relationships/slideLayout" Target="../slideLayouts/slideLayout85.xml"/><Relationship Id="rId70" Type="http://schemas.openxmlformats.org/officeDocument/2006/relationships/slideLayout" Target="../slideLayouts/slideLayout93.xml"/><Relationship Id="rId75" Type="http://schemas.openxmlformats.org/officeDocument/2006/relationships/slideLayout" Target="../slideLayouts/slideLayout98.xml"/><Relationship Id="rId83" Type="http://schemas.openxmlformats.org/officeDocument/2006/relationships/slideLayout" Target="../slideLayouts/slideLayout106.xml"/><Relationship Id="rId88" Type="http://schemas.openxmlformats.org/officeDocument/2006/relationships/slideLayout" Target="../slideLayouts/slideLayout111.xml"/><Relationship Id="rId91" Type="http://schemas.openxmlformats.org/officeDocument/2006/relationships/slideLayout" Target="../slideLayouts/slideLayout114.xml"/><Relationship Id="rId96" Type="http://schemas.openxmlformats.org/officeDocument/2006/relationships/oleObject" Target="../embeddings/oleObject2.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49" Type="http://schemas.openxmlformats.org/officeDocument/2006/relationships/slideLayout" Target="../slideLayouts/slideLayout72.xml"/><Relationship Id="rId57" Type="http://schemas.openxmlformats.org/officeDocument/2006/relationships/slideLayout" Target="../slideLayouts/slideLayout80.xml"/><Relationship Id="rId10" Type="http://schemas.openxmlformats.org/officeDocument/2006/relationships/slideLayout" Target="../slideLayouts/slideLayout33.xml"/><Relationship Id="rId31" Type="http://schemas.openxmlformats.org/officeDocument/2006/relationships/slideLayout" Target="../slideLayouts/slideLayout54.xml"/><Relationship Id="rId44" Type="http://schemas.openxmlformats.org/officeDocument/2006/relationships/slideLayout" Target="../slideLayouts/slideLayout67.xml"/><Relationship Id="rId52" Type="http://schemas.openxmlformats.org/officeDocument/2006/relationships/slideLayout" Target="../slideLayouts/slideLayout75.xml"/><Relationship Id="rId60" Type="http://schemas.openxmlformats.org/officeDocument/2006/relationships/slideLayout" Target="../slideLayouts/slideLayout83.xml"/><Relationship Id="rId65" Type="http://schemas.openxmlformats.org/officeDocument/2006/relationships/slideLayout" Target="../slideLayouts/slideLayout88.xml"/><Relationship Id="rId73" Type="http://schemas.openxmlformats.org/officeDocument/2006/relationships/slideLayout" Target="../slideLayouts/slideLayout96.xml"/><Relationship Id="rId78" Type="http://schemas.openxmlformats.org/officeDocument/2006/relationships/slideLayout" Target="../slideLayouts/slideLayout101.xml"/><Relationship Id="rId81" Type="http://schemas.openxmlformats.org/officeDocument/2006/relationships/slideLayout" Target="../slideLayouts/slideLayout104.xml"/><Relationship Id="rId86" Type="http://schemas.openxmlformats.org/officeDocument/2006/relationships/slideLayout" Target="../slideLayouts/slideLayout109.xml"/><Relationship Id="rId94" Type="http://schemas.openxmlformats.org/officeDocument/2006/relationships/vmlDrawing" Target="../drawings/vmlDrawing2.vml"/><Relationship Id="rId4" Type="http://schemas.openxmlformats.org/officeDocument/2006/relationships/slideLayout" Target="../slideLayouts/slideLayout27.xml"/><Relationship Id="rId9" Type="http://schemas.openxmlformats.org/officeDocument/2006/relationships/slideLayout" Target="../slideLayouts/slideLayout32.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9" Type="http://schemas.openxmlformats.org/officeDocument/2006/relationships/slideLayout" Target="../slideLayouts/slideLayout62.xml"/><Relationship Id="rId34" Type="http://schemas.openxmlformats.org/officeDocument/2006/relationships/slideLayout" Target="../slideLayouts/slideLayout57.xml"/><Relationship Id="rId50" Type="http://schemas.openxmlformats.org/officeDocument/2006/relationships/slideLayout" Target="../slideLayouts/slideLayout73.xml"/><Relationship Id="rId55" Type="http://schemas.openxmlformats.org/officeDocument/2006/relationships/slideLayout" Target="../slideLayouts/slideLayout78.xml"/><Relationship Id="rId76" Type="http://schemas.openxmlformats.org/officeDocument/2006/relationships/slideLayout" Target="../slideLayouts/slideLayout99.xml"/><Relationship Id="rId97" Type="http://schemas.openxmlformats.org/officeDocument/2006/relationships/image" Target="../media/image11.emf"/><Relationship Id="rId7" Type="http://schemas.openxmlformats.org/officeDocument/2006/relationships/slideLayout" Target="../slideLayouts/slideLayout30.xml"/><Relationship Id="rId71" Type="http://schemas.openxmlformats.org/officeDocument/2006/relationships/slideLayout" Target="../slideLayouts/slideLayout94.xml"/><Relationship Id="rId92" Type="http://schemas.openxmlformats.org/officeDocument/2006/relationships/slideLayout" Target="../slideLayouts/slideLayout115.xml"/><Relationship Id="rId2" Type="http://schemas.openxmlformats.org/officeDocument/2006/relationships/slideLayout" Target="../slideLayouts/slideLayout25.xml"/><Relationship Id="rId29" Type="http://schemas.openxmlformats.org/officeDocument/2006/relationships/slideLayout" Target="../slideLayouts/slideLayout52.xml"/><Relationship Id="rId24" Type="http://schemas.openxmlformats.org/officeDocument/2006/relationships/slideLayout" Target="../slideLayouts/slideLayout47.xml"/><Relationship Id="rId40" Type="http://schemas.openxmlformats.org/officeDocument/2006/relationships/slideLayout" Target="../slideLayouts/slideLayout63.xml"/><Relationship Id="rId45" Type="http://schemas.openxmlformats.org/officeDocument/2006/relationships/slideLayout" Target="../slideLayouts/slideLayout68.xml"/><Relationship Id="rId66" Type="http://schemas.openxmlformats.org/officeDocument/2006/relationships/slideLayout" Target="../slideLayouts/slideLayout89.xml"/><Relationship Id="rId87" Type="http://schemas.openxmlformats.org/officeDocument/2006/relationships/slideLayout" Target="../slideLayouts/slideLayout110.xml"/><Relationship Id="rId61" Type="http://schemas.openxmlformats.org/officeDocument/2006/relationships/slideLayout" Target="../slideLayouts/slideLayout84.xml"/><Relationship Id="rId82" Type="http://schemas.openxmlformats.org/officeDocument/2006/relationships/slideLayout" Target="../slideLayouts/slideLayout105.xml"/><Relationship Id="rId19" Type="http://schemas.openxmlformats.org/officeDocument/2006/relationships/slideLayout" Target="../slideLayouts/slideLayout42.xml"/><Relationship Id="rId14" Type="http://schemas.openxmlformats.org/officeDocument/2006/relationships/slideLayout" Target="../slideLayouts/slideLayout37.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56" Type="http://schemas.openxmlformats.org/officeDocument/2006/relationships/slideLayout" Target="../slideLayouts/slideLayout79.xml"/><Relationship Id="rId77" Type="http://schemas.openxmlformats.org/officeDocument/2006/relationships/slideLayout" Target="../slideLayouts/slideLayout100.xml"/><Relationship Id="rId8" Type="http://schemas.openxmlformats.org/officeDocument/2006/relationships/slideLayout" Target="../slideLayouts/slideLayout31.xml"/><Relationship Id="rId51" Type="http://schemas.openxmlformats.org/officeDocument/2006/relationships/slideLayout" Target="../slideLayouts/slideLayout74.xml"/><Relationship Id="rId72" Type="http://schemas.openxmlformats.org/officeDocument/2006/relationships/slideLayout" Target="../slideLayouts/slideLayout95.xml"/><Relationship Id="rId93"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image" Target="../media/image24.emf"/><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oleObject" Target="../embeddings/oleObject3.bin"/><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tags" Target="../tags/tag4.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vmlDrawing" Target="../drawings/vmlDrawing3.v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theme" Target="../theme/theme3.xml"/><Relationship Id="rId27" Type="http://schemas.openxmlformats.org/officeDocument/2006/relationships/image" Target="../media/image25.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9" Type="http://schemas.openxmlformats.org/officeDocument/2006/relationships/slideLayout" Target="../slideLayouts/slideLayout175.xml"/><Relationship Id="rId21" Type="http://schemas.openxmlformats.org/officeDocument/2006/relationships/slideLayout" Target="../slideLayouts/slideLayout157.xml"/><Relationship Id="rId34" Type="http://schemas.openxmlformats.org/officeDocument/2006/relationships/slideLayout" Target="../slideLayouts/slideLayout170.xml"/><Relationship Id="rId42" Type="http://schemas.openxmlformats.org/officeDocument/2006/relationships/slideLayout" Target="../slideLayouts/slideLayout178.xml"/><Relationship Id="rId47" Type="http://schemas.openxmlformats.org/officeDocument/2006/relationships/slideLayout" Target="../slideLayouts/slideLayout183.xml"/><Relationship Id="rId50" Type="http://schemas.openxmlformats.org/officeDocument/2006/relationships/theme" Target="../theme/theme4.xml"/><Relationship Id="rId7" Type="http://schemas.openxmlformats.org/officeDocument/2006/relationships/slideLayout" Target="../slideLayouts/slideLayout14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9" Type="http://schemas.openxmlformats.org/officeDocument/2006/relationships/slideLayout" Target="../slideLayouts/slideLayout165.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40" Type="http://schemas.openxmlformats.org/officeDocument/2006/relationships/slideLayout" Target="../slideLayouts/slideLayout176.xml"/><Relationship Id="rId45" Type="http://schemas.openxmlformats.org/officeDocument/2006/relationships/slideLayout" Target="../slideLayouts/slideLayout181.xml"/><Relationship Id="rId53" Type="http://schemas.openxmlformats.org/officeDocument/2006/relationships/oleObject" Target="../embeddings/oleObject6.bin"/><Relationship Id="rId5" Type="http://schemas.openxmlformats.org/officeDocument/2006/relationships/slideLayout" Target="../slideLayouts/slideLayout141.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slideLayout" Target="../slideLayouts/slideLayout167.xml"/><Relationship Id="rId44" Type="http://schemas.openxmlformats.org/officeDocument/2006/relationships/slideLayout" Target="../slideLayouts/slideLayout180.xml"/><Relationship Id="rId52" Type="http://schemas.openxmlformats.org/officeDocument/2006/relationships/tags" Target="../tags/tag17.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slideLayout" Target="../slideLayouts/slideLayout171.xml"/><Relationship Id="rId43" Type="http://schemas.openxmlformats.org/officeDocument/2006/relationships/slideLayout" Target="../slideLayouts/slideLayout179.xml"/><Relationship Id="rId48" Type="http://schemas.openxmlformats.org/officeDocument/2006/relationships/slideLayout" Target="../slideLayouts/slideLayout184.xml"/><Relationship Id="rId8" Type="http://schemas.openxmlformats.org/officeDocument/2006/relationships/slideLayout" Target="../slideLayouts/slideLayout144.xml"/><Relationship Id="rId51" Type="http://schemas.openxmlformats.org/officeDocument/2006/relationships/vmlDrawing" Target="../drawings/vmlDrawing16.vml"/><Relationship Id="rId3" Type="http://schemas.openxmlformats.org/officeDocument/2006/relationships/slideLayout" Target="../slideLayouts/slideLayout139.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46" Type="http://schemas.openxmlformats.org/officeDocument/2006/relationships/slideLayout" Target="../slideLayouts/slideLayout182.xml"/><Relationship Id="rId20" Type="http://schemas.openxmlformats.org/officeDocument/2006/relationships/slideLayout" Target="../slideLayouts/slideLayout156.xml"/><Relationship Id="rId41" Type="http://schemas.openxmlformats.org/officeDocument/2006/relationships/slideLayout" Target="../slideLayouts/slideLayout177.xml"/><Relationship Id="rId54" Type="http://schemas.openxmlformats.org/officeDocument/2006/relationships/image" Target="../media/image32.emf"/><Relationship Id="rId1" Type="http://schemas.openxmlformats.org/officeDocument/2006/relationships/slideLayout" Target="../slideLayouts/slideLayout137.xml"/><Relationship Id="rId6" Type="http://schemas.openxmlformats.org/officeDocument/2006/relationships/slideLayout" Target="../slideLayouts/slideLayout142.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49" Type="http://schemas.openxmlformats.org/officeDocument/2006/relationships/slideLayout" Target="../slideLayouts/slideLayout18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9" Type="http://schemas.openxmlformats.org/officeDocument/2006/relationships/slideLayout" Target="../slideLayouts/slideLayout224.xml"/><Relationship Id="rId21" Type="http://schemas.openxmlformats.org/officeDocument/2006/relationships/slideLayout" Target="../slideLayouts/slideLayout206.xml"/><Relationship Id="rId34" Type="http://schemas.openxmlformats.org/officeDocument/2006/relationships/slideLayout" Target="../slideLayouts/slideLayout219.xml"/><Relationship Id="rId42" Type="http://schemas.openxmlformats.org/officeDocument/2006/relationships/slideLayout" Target="../slideLayouts/slideLayout227.xml"/><Relationship Id="rId47" Type="http://schemas.openxmlformats.org/officeDocument/2006/relationships/slideLayout" Target="../slideLayouts/slideLayout232.xml"/><Relationship Id="rId50" Type="http://schemas.openxmlformats.org/officeDocument/2006/relationships/theme" Target="../theme/theme5.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9" Type="http://schemas.openxmlformats.org/officeDocument/2006/relationships/slideLayout" Target="../slideLayouts/slideLayout214.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32" Type="http://schemas.openxmlformats.org/officeDocument/2006/relationships/slideLayout" Target="../slideLayouts/slideLayout217.xml"/><Relationship Id="rId37" Type="http://schemas.openxmlformats.org/officeDocument/2006/relationships/slideLayout" Target="../slideLayouts/slideLayout222.xml"/><Relationship Id="rId40" Type="http://schemas.openxmlformats.org/officeDocument/2006/relationships/slideLayout" Target="../slideLayouts/slideLayout225.xml"/><Relationship Id="rId45" Type="http://schemas.openxmlformats.org/officeDocument/2006/relationships/slideLayout" Target="../slideLayouts/slideLayout230.xml"/><Relationship Id="rId53" Type="http://schemas.openxmlformats.org/officeDocument/2006/relationships/oleObject" Target="../embeddings/oleObject7.bin"/><Relationship Id="rId5" Type="http://schemas.openxmlformats.org/officeDocument/2006/relationships/slideLayout" Target="../slideLayouts/slideLayout190.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31" Type="http://schemas.openxmlformats.org/officeDocument/2006/relationships/slideLayout" Target="../slideLayouts/slideLayout216.xml"/><Relationship Id="rId44" Type="http://schemas.openxmlformats.org/officeDocument/2006/relationships/slideLayout" Target="../slideLayouts/slideLayout229.xml"/><Relationship Id="rId52" Type="http://schemas.openxmlformats.org/officeDocument/2006/relationships/tags" Target="../tags/tag18.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slideLayout" Target="../slideLayouts/slideLayout215.xml"/><Relationship Id="rId35" Type="http://schemas.openxmlformats.org/officeDocument/2006/relationships/slideLayout" Target="../slideLayouts/slideLayout220.xml"/><Relationship Id="rId43" Type="http://schemas.openxmlformats.org/officeDocument/2006/relationships/slideLayout" Target="../slideLayouts/slideLayout228.xml"/><Relationship Id="rId48" Type="http://schemas.openxmlformats.org/officeDocument/2006/relationships/slideLayout" Target="../slideLayouts/slideLayout233.xml"/><Relationship Id="rId8" Type="http://schemas.openxmlformats.org/officeDocument/2006/relationships/slideLayout" Target="../slideLayouts/slideLayout193.xml"/><Relationship Id="rId51" Type="http://schemas.openxmlformats.org/officeDocument/2006/relationships/vmlDrawing" Target="../drawings/vmlDrawing17.vml"/><Relationship Id="rId3" Type="http://schemas.openxmlformats.org/officeDocument/2006/relationships/slideLayout" Target="../slideLayouts/slideLayout188.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33" Type="http://schemas.openxmlformats.org/officeDocument/2006/relationships/slideLayout" Target="../slideLayouts/slideLayout218.xml"/><Relationship Id="rId38" Type="http://schemas.openxmlformats.org/officeDocument/2006/relationships/slideLayout" Target="../slideLayouts/slideLayout223.xml"/><Relationship Id="rId46" Type="http://schemas.openxmlformats.org/officeDocument/2006/relationships/slideLayout" Target="../slideLayouts/slideLayout231.xml"/><Relationship Id="rId20" Type="http://schemas.openxmlformats.org/officeDocument/2006/relationships/slideLayout" Target="../slideLayouts/slideLayout205.xml"/><Relationship Id="rId41" Type="http://schemas.openxmlformats.org/officeDocument/2006/relationships/slideLayout" Target="../slideLayouts/slideLayout226.xml"/><Relationship Id="rId54" Type="http://schemas.openxmlformats.org/officeDocument/2006/relationships/image" Target="../media/image11.emf"/><Relationship Id="rId1" Type="http://schemas.openxmlformats.org/officeDocument/2006/relationships/slideLayout" Target="../slideLayouts/slideLayout186.xml"/><Relationship Id="rId6" Type="http://schemas.openxmlformats.org/officeDocument/2006/relationships/slideLayout" Target="../slideLayouts/slideLayout191.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36" Type="http://schemas.openxmlformats.org/officeDocument/2006/relationships/slideLayout" Target="../slideLayouts/slideLayout221.xml"/><Relationship Id="rId49" Type="http://schemas.openxmlformats.org/officeDocument/2006/relationships/slideLayout" Target="../slideLayouts/slideLayout23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theme" Target="../theme/theme6.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tags" Target="../tags/tag21.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vmlDrawing" Target="../drawings/vmlDrawing19.v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theme" Target="../theme/theme7.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image" Target="../media/image1.emf"/><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26" Type="http://schemas.openxmlformats.org/officeDocument/2006/relationships/slideLayout" Target="../slideLayouts/slideLayout313.xml"/><Relationship Id="rId3" Type="http://schemas.openxmlformats.org/officeDocument/2006/relationships/slideLayout" Target="../slideLayouts/slideLayout290.xml"/><Relationship Id="rId21" Type="http://schemas.openxmlformats.org/officeDocument/2006/relationships/slideLayout" Target="../slideLayouts/slideLayout308.xml"/><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5" Type="http://schemas.openxmlformats.org/officeDocument/2006/relationships/slideLayout" Target="../slideLayouts/slideLayout312.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slideLayout" Target="../slideLayouts/slideLayout307.xml"/><Relationship Id="rId29" Type="http://schemas.openxmlformats.org/officeDocument/2006/relationships/slideLayout" Target="../slideLayouts/slideLayout316.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24" Type="http://schemas.openxmlformats.org/officeDocument/2006/relationships/slideLayout" Target="../slideLayouts/slideLayout311.xml"/><Relationship Id="rId32" Type="http://schemas.openxmlformats.org/officeDocument/2006/relationships/theme" Target="../theme/theme8.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28" Type="http://schemas.openxmlformats.org/officeDocument/2006/relationships/slideLayout" Target="../slideLayouts/slideLayout315.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31" Type="http://schemas.openxmlformats.org/officeDocument/2006/relationships/slideLayout" Target="../slideLayouts/slideLayout318.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 Id="rId27" Type="http://schemas.openxmlformats.org/officeDocument/2006/relationships/slideLayout" Target="../slideLayouts/slideLayout314.xml"/><Relationship Id="rId30" Type="http://schemas.openxmlformats.org/officeDocument/2006/relationships/slideLayout" Target="../slideLayouts/slideLayout317.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321.xml"/><Relationship Id="rId7" Type="http://schemas.openxmlformats.org/officeDocument/2006/relationships/image" Target="../media/image44.png"/><Relationship Id="rId2" Type="http://schemas.openxmlformats.org/officeDocument/2006/relationships/slideLayout" Target="../slideLayouts/slideLayout320.xml"/><Relationship Id="rId1" Type="http://schemas.openxmlformats.org/officeDocument/2006/relationships/slideLayout" Target="../slideLayouts/slideLayout319.xml"/><Relationship Id="rId6" Type="http://schemas.openxmlformats.org/officeDocument/2006/relationships/theme" Target="../theme/theme9.xml"/><Relationship Id="rId5" Type="http://schemas.openxmlformats.org/officeDocument/2006/relationships/slideLayout" Target="../slideLayouts/slideLayout323.xml"/><Relationship Id="rId4" Type="http://schemas.openxmlformats.org/officeDocument/2006/relationships/slideLayout" Target="../slideLayouts/slideLayout3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A1574B2-E1D4-FD00-EB77-631C2B1F5142}"/>
              </a:ext>
            </a:extLst>
          </p:cNvPr>
          <p:cNvGraphicFramePr>
            <a:graphicFrameLocks noChangeAspect="1"/>
          </p:cNvGraphicFramePr>
          <p:nvPr userDrawn="1">
            <p:custDataLst>
              <p:tags r:id="rId26"/>
            </p:custDataLst>
            <p:extLst>
              <p:ext uri="{D42A27DB-BD31-4B8C-83A1-F6EECF244321}">
                <p14:modId xmlns:p14="http://schemas.microsoft.com/office/powerpoint/2010/main" val="122246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27" imgW="415" imgH="416" progId="TCLayout.ActiveDocument.1">
                  <p:embed/>
                </p:oleObj>
              </mc:Choice>
              <mc:Fallback>
                <p:oleObj name="think-cell Slide" r:id="rId27" imgW="415" imgH="416" progId="TCLayout.ActiveDocument.1">
                  <p:embed/>
                  <p:pic>
                    <p:nvPicPr>
                      <p:cNvPr id="7" name="Object 6" hidden="1">
                        <a:extLst>
                          <a:ext uri="{FF2B5EF4-FFF2-40B4-BE49-F238E27FC236}">
                            <a16:creationId xmlns:a16="http://schemas.microsoft.com/office/drawing/2014/main" id="{0A1574B2-E1D4-FD00-EB77-631C2B1F514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402650248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12" r:id="rId4"/>
    <p:sldLayoutId id="2147483735" r:id="rId5"/>
    <p:sldLayoutId id="2147483700" r:id="rId6"/>
    <p:sldLayoutId id="2147483698" r:id="rId7"/>
    <p:sldLayoutId id="2147483701" r:id="rId8"/>
    <p:sldLayoutId id="2147483736" r:id="rId9"/>
    <p:sldLayoutId id="2147483737" r:id="rId10"/>
    <p:sldLayoutId id="2147483738" r:id="rId11"/>
    <p:sldLayoutId id="2147483709" r:id="rId12"/>
    <p:sldLayoutId id="2147483710" r:id="rId13"/>
    <p:sldLayoutId id="2147483711" r:id="rId14"/>
    <p:sldLayoutId id="2147483739" r:id="rId15"/>
    <p:sldLayoutId id="2147483740" r:id="rId16"/>
    <p:sldLayoutId id="2147483741" r:id="rId17"/>
    <p:sldLayoutId id="2147483714" r:id="rId18"/>
    <p:sldLayoutId id="2147483713" r:id="rId19"/>
    <p:sldLayoutId id="2147485039" r:id="rId20"/>
    <p:sldLayoutId id="2147485089" r:id="rId21"/>
    <p:sldLayoutId id="2147485091" r:id="rId22"/>
    <p:sldLayoutId id="2147485094" r:id="rId23"/>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userDrawn="1">
          <p15:clr>
            <a:srgbClr val="F26B43"/>
          </p15:clr>
        </p15:guide>
        <p15:guide id="3" pos="7355" userDrawn="1">
          <p15:clr>
            <a:srgbClr val="F26B43"/>
          </p15:clr>
        </p15:guide>
        <p15:guide id="4" orient="horz" pos="232" userDrawn="1">
          <p15:clr>
            <a:srgbClr val="F26B43"/>
          </p15:clr>
        </p15:guide>
        <p15:guide id="5" orient="horz" pos="4088" userDrawn="1">
          <p15:clr>
            <a:srgbClr val="F26B43"/>
          </p15:clr>
        </p15:guide>
        <p15:guide id="7" orient="horz" pos="822" userDrawn="1">
          <p15:clr>
            <a:srgbClr val="F26B43"/>
          </p15:clr>
        </p15:guide>
        <p15:guide id="9" orient="horz" pos="3725"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798261919"/>
      </p:ext>
    </p:extLst>
  </p:cSld>
  <p:clrMap bg1="lt1" tx1="dk1" bg2="lt2" tx2="dk2" accent1="accent1" accent2="accent2" accent3="accent3" accent4="accent4" accent5="accent5" accent6="accent6" hlink="hlink" folHlink="folHlink"/>
  <p:sldLayoutIdLst>
    <p:sldLayoutId id="2147485322" r:id="rId1"/>
    <p:sldLayoutId id="2147485323" r:id="rId2"/>
    <p:sldLayoutId id="2147485324" r:id="rId3"/>
    <p:sldLayoutId id="2147485325" r:id="rId4"/>
    <p:sldLayoutId id="2147485326" r:id="rId5"/>
    <p:sldLayoutId id="2147485327" r:id="rId6"/>
    <p:sldLayoutId id="2147485328" r:id="rId7"/>
    <p:sldLayoutId id="2147485329" r:id="rId8"/>
    <p:sldLayoutId id="2147485330" r:id="rId9"/>
    <p:sldLayoutId id="2147485331" r:id="rId10"/>
    <p:sldLayoutId id="2147485332" r:id="rId11"/>
    <p:sldLayoutId id="2147485333" r:id="rId12"/>
    <p:sldLayoutId id="2147485334" r:id="rId13"/>
    <p:sldLayoutId id="2147485335" r:id="rId14"/>
    <p:sldLayoutId id="2147485336" r:id="rId15"/>
    <p:sldLayoutId id="2147485337" r:id="rId16"/>
    <p:sldLayoutId id="2147485338" r:id="rId17"/>
    <p:sldLayoutId id="2147485339" r:id="rId18"/>
    <p:sldLayoutId id="2147485340" r:id="rId19"/>
    <p:sldLayoutId id="2147485341" r:id="rId20"/>
    <p:sldLayoutId id="2147485342" r:id="rId21"/>
    <p:sldLayoutId id="2147485343" r:id="rId22"/>
    <p:sldLayoutId id="2147485344" r:id="rId23"/>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F220B0-8037-5B73-A2E3-A90EC600E1AD}"/>
              </a:ext>
            </a:extLst>
          </p:cNvPr>
          <p:cNvGraphicFramePr>
            <a:graphicFrameLocks noChangeAspect="1"/>
          </p:cNvGraphicFramePr>
          <p:nvPr userDrawn="1">
            <p:custDataLst>
              <p:tags r:id="rId95"/>
            </p:custDataLst>
            <p:extLst>
              <p:ext uri="{D42A27DB-BD31-4B8C-83A1-F6EECF244321}">
                <p14:modId xmlns:p14="http://schemas.microsoft.com/office/powerpoint/2010/main" val="3201469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96" imgW="395" imgH="394" progId="TCLayout.ActiveDocument.1">
                  <p:embed/>
                </p:oleObj>
              </mc:Choice>
              <mc:Fallback>
                <p:oleObj name="think-cell Slide" r:id="rId96" imgW="395" imgH="394" progId="TCLayout.ActiveDocument.1">
                  <p:embed/>
                  <p:pic>
                    <p:nvPicPr>
                      <p:cNvPr id="7" name="Object 6" hidden="1">
                        <a:extLst>
                          <a:ext uri="{FF2B5EF4-FFF2-40B4-BE49-F238E27FC236}">
                            <a16:creationId xmlns:a16="http://schemas.microsoft.com/office/drawing/2014/main" id="{28F220B0-8037-5B73-A2E3-A90EC600E1AD}"/>
                          </a:ext>
                        </a:extLst>
                      </p:cNvPr>
                      <p:cNvPicPr/>
                      <p:nvPr/>
                    </p:nvPicPr>
                    <p:blipFill>
                      <a:blip r:embed="rId9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VIS Steering Committee - April 2023</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4206051117"/>
      </p:ext>
    </p:extLst>
  </p:cSld>
  <p:clrMap bg1="lt1" tx1="dk1" bg2="lt2" tx2="dk2" accent1="accent1" accent2="accent2" accent3="accent3" accent4="accent4" accent5="accent5" accent6="accent6" hlink="hlink" folHlink="folHlink"/>
  <p:sldLayoutIdLst>
    <p:sldLayoutId id="2147484715" r:id="rId1"/>
    <p:sldLayoutId id="2147484716" r:id="rId2"/>
    <p:sldLayoutId id="2147484717" r:id="rId3"/>
    <p:sldLayoutId id="2147484718" r:id="rId4"/>
    <p:sldLayoutId id="2147484719" r:id="rId5"/>
    <p:sldLayoutId id="2147484720" r:id="rId6"/>
    <p:sldLayoutId id="2147484721" r:id="rId7"/>
    <p:sldLayoutId id="2147484722" r:id="rId8"/>
    <p:sldLayoutId id="2147484723" r:id="rId9"/>
    <p:sldLayoutId id="2147484724" r:id="rId10"/>
    <p:sldLayoutId id="2147484725" r:id="rId11"/>
    <p:sldLayoutId id="2147484726" r:id="rId12"/>
    <p:sldLayoutId id="2147484727" r:id="rId13"/>
    <p:sldLayoutId id="2147485023" r:id="rId14"/>
    <p:sldLayoutId id="2147484728" r:id="rId15"/>
    <p:sldLayoutId id="2147484729" r:id="rId16"/>
    <p:sldLayoutId id="2147484730" r:id="rId17"/>
    <p:sldLayoutId id="2147484731" r:id="rId18"/>
    <p:sldLayoutId id="2147484732" r:id="rId19"/>
    <p:sldLayoutId id="2147484733" r:id="rId20"/>
    <p:sldLayoutId id="2147484734" r:id="rId21"/>
    <p:sldLayoutId id="2147484735" r:id="rId22"/>
    <p:sldLayoutId id="2147484736" r:id="rId23"/>
    <p:sldLayoutId id="2147484737" r:id="rId24"/>
    <p:sldLayoutId id="2147484738" r:id="rId25"/>
    <p:sldLayoutId id="2147484739" r:id="rId26"/>
    <p:sldLayoutId id="2147484740" r:id="rId27"/>
    <p:sldLayoutId id="2147484741" r:id="rId28"/>
    <p:sldLayoutId id="2147484742" r:id="rId29"/>
    <p:sldLayoutId id="2147484743" r:id="rId30"/>
    <p:sldLayoutId id="2147484744" r:id="rId31"/>
    <p:sldLayoutId id="2147484745" r:id="rId32"/>
    <p:sldLayoutId id="2147484746" r:id="rId33"/>
    <p:sldLayoutId id="2147484747" r:id="rId34"/>
    <p:sldLayoutId id="2147485007" r:id="rId35"/>
    <p:sldLayoutId id="2147484749" r:id="rId36"/>
    <p:sldLayoutId id="2147484750" r:id="rId37"/>
    <p:sldLayoutId id="2147484751" r:id="rId38"/>
    <p:sldLayoutId id="2147484752" r:id="rId39"/>
    <p:sldLayoutId id="2147484753" r:id="rId40"/>
    <p:sldLayoutId id="2147484754" r:id="rId41"/>
    <p:sldLayoutId id="2147484755" r:id="rId42"/>
    <p:sldLayoutId id="2147484756" r:id="rId43"/>
    <p:sldLayoutId id="2147485009" r:id="rId44"/>
    <p:sldLayoutId id="2147484757" r:id="rId45"/>
    <p:sldLayoutId id="2147484758" r:id="rId46"/>
    <p:sldLayoutId id="2147484759" r:id="rId47"/>
    <p:sldLayoutId id="2147484760" r:id="rId48"/>
    <p:sldLayoutId id="2147484761" r:id="rId49"/>
    <p:sldLayoutId id="2147484762" r:id="rId50"/>
    <p:sldLayoutId id="2147484763" r:id="rId51"/>
    <p:sldLayoutId id="2147484764" r:id="rId52"/>
    <p:sldLayoutId id="2147484765" r:id="rId53"/>
    <p:sldLayoutId id="2147484766" r:id="rId54"/>
    <p:sldLayoutId id="2147484767" r:id="rId55"/>
    <p:sldLayoutId id="2147484768" r:id="rId56"/>
    <p:sldLayoutId id="2147484769" r:id="rId57"/>
    <p:sldLayoutId id="2147484770" r:id="rId58"/>
    <p:sldLayoutId id="2147484771" r:id="rId59"/>
    <p:sldLayoutId id="2147484772" r:id="rId60"/>
    <p:sldLayoutId id="2147484773" r:id="rId61"/>
    <p:sldLayoutId id="2147484774" r:id="rId62"/>
    <p:sldLayoutId id="2147484775" r:id="rId63"/>
    <p:sldLayoutId id="2147484776" r:id="rId64"/>
    <p:sldLayoutId id="2147484777" r:id="rId65"/>
    <p:sldLayoutId id="2147484778" r:id="rId66"/>
    <p:sldLayoutId id="2147484779" r:id="rId67"/>
    <p:sldLayoutId id="2147484780" r:id="rId68"/>
    <p:sldLayoutId id="2147484781" r:id="rId69"/>
    <p:sldLayoutId id="2147484782" r:id="rId70"/>
    <p:sldLayoutId id="2147484783" r:id="rId71"/>
    <p:sldLayoutId id="2147484784" r:id="rId72"/>
    <p:sldLayoutId id="2147484785" r:id="rId73"/>
    <p:sldLayoutId id="2147484786" r:id="rId74"/>
    <p:sldLayoutId id="2147484787" r:id="rId75"/>
    <p:sldLayoutId id="2147484788" r:id="rId76"/>
    <p:sldLayoutId id="2147484789" r:id="rId77"/>
    <p:sldLayoutId id="2147484790" r:id="rId78"/>
    <p:sldLayoutId id="2147484791" r:id="rId79"/>
    <p:sldLayoutId id="2147484792" r:id="rId80"/>
    <p:sldLayoutId id="2147484793" r:id="rId81"/>
    <p:sldLayoutId id="2147484794" r:id="rId82"/>
    <p:sldLayoutId id="2147484795" r:id="rId83"/>
    <p:sldLayoutId id="2147484796" r:id="rId84"/>
    <p:sldLayoutId id="2147484797" r:id="rId85"/>
    <p:sldLayoutId id="2147484798" r:id="rId86"/>
    <p:sldLayoutId id="2147484799" r:id="rId87"/>
    <p:sldLayoutId id="2147484800" r:id="rId88"/>
    <p:sldLayoutId id="2147485010" r:id="rId89"/>
    <p:sldLayoutId id="2147484857" r:id="rId90"/>
    <p:sldLayoutId id="2147484801" r:id="rId91"/>
    <p:sldLayoutId id="2147485127" r:id="rId92"/>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userDrawn="1">
          <p15:clr>
            <a:srgbClr val="F26B43"/>
          </p15:clr>
        </p15:guide>
        <p15:guide id="3" pos="7355" userDrawn="1">
          <p15:clr>
            <a:srgbClr val="F26B43"/>
          </p15:clr>
        </p15:guide>
        <p15:guide id="4" orient="horz" pos="232" userDrawn="1">
          <p15:clr>
            <a:srgbClr val="F26B43"/>
          </p15:clr>
        </p15:guide>
        <p15:guide id="5" orient="horz" pos="4088" userDrawn="1">
          <p15:clr>
            <a:srgbClr val="F26B43"/>
          </p15:clr>
        </p15:guide>
        <p15:guide id="7" orient="horz" pos="822" userDrawn="1">
          <p15:clr>
            <a:srgbClr val="F26B43"/>
          </p15:clr>
        </p15:guide>
        <p15:guide id="9" orient="horz" pos="372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4C5A75-8C14-46AD-AA9C-27FBE460CB48}"/>
              </a:ext>
            </a:extLst>
          </p:cNvPr>
          <p:cNvGraphicFramePr>
            <a:graphicFrameLocks noChangeAspect="1"/>
          </p:cNvGraphicFramePr>
          <p:nvPr userDrawn="1">
            <p:custDataLst>
              <p:tags r:id="rId24"/>
            </p:custDataLst>
            <p:extLst>
              <p:ext uri="{D42A27DB-BD31-4B8C-83A1-F6EECF244321}">
                <p14:modId xmlns:p14="http://schemas.microsoft.com/office/powerpoint/2010/main" val="144241596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78" name="think-cell Slide" r:id="rId25" imgW="381" imgH="381" progId="TCLayout.ActiveDocument.1">
                  <p:embed/>
                </p:oleObj>
              </mc:Choice>
              <mc:Fallback>
                <p:oleObj name="think-cell Slide" r:id="rId25" imgW="381" imgH="381" progId="TCLayout.ActiveDocument.1">
                  <p:embed/>
                  <p:pic>
                    <p:nvPicPr>
                      <p:cNvPr id="7" name="Object 6" hidden="1">
                        <a:extLst>
                          <a:ext uri="{FF2B5EF4-FFF2-40B4-BE49-F238E27FC236}">
                            <a16:creationId xmlns:a16="http://schemas.microsoft.com/office/drawing/2014/main" id="{A24C5A75-8C14-46AD-AA9C-27FBE460CB48}"/>
                          </a:ext>
                        </a:extLst>
                      </p:cNvPr>
                      <p:cNvPicPr/>
                      <p:nvPr/>
                    </p:nvPicPr>
                    <p:blipFill>
                      <a:blip r:embed="rId26"/>
                      <a:stretch>
                        <a:fillRect/>
                      </a:stretch>
                    </p:blipFill>
                    <p:spPr>
                      <a:xfrm>
                        <a:off x="2118" y="1588"/>
                        <a:ext cx="2117" cy="1588"/>
                      </a:xfrm>
                      <a:prstGeom prst="rect">
                        <a:avLst/>
                      </a:prstGeom>
                    </p:spPr>
                  </p:pic>
                </p:oleObj>
              </mc:Fallback>
            </mc:AlternateContent>
          </a:graphicData>
        </a:graphic>
      </p:graphicFrame>
      <p:sp>
        <p:nvSpPr>
          <p:cNvPr id="14" name="Rectangle 13"/>
          <p:cNvSpPr/>
          <p:nvPr/>
        </p:nvSpPr>
        <p:spPr bwMode="gray">
          <a:xfrm>
            <a:off x="1246718" y="1100645"/>
            <a:ext cx="2111557"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pic>
        <p:nvPicPr>
          <p:cNvPr id="13" name="Image 12" descr="Logo_suite_50x30.png"/>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bwMode="gray">
          <a:xfrm>
            <a:off x="9792000" y="5779828"/>
            <a:ext cx="2400000" cy="1078173"/>
          </a:xfrm>
          <a:prstGeom prst="rect">
            <a:avLst/>
          </a:prstGeom>
        </p:spPr>
      </p:pic>
      <p:sp>
        <p:nvSpPr>
          <p:cNvPr id="2" name="Espace réservé du titre 1"/>
          <p:cNvSpPr>
            <a:spLocks noGrp="1"/>
          </p:cNvSpPr>
          <p:nvPr>
            <p:ph type="title"/>
          </p:nvPr>
        </p:nvSpPr>
        <p:spPr bwMode="gray">
          <a:xfrm>
            <a:off x="1246717" y="2"/>
            <a:ext cx="9793816" cy="1036637"/>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1246717" y="1304926"/>
            <a:ext cx="9793816" cy="4716463"/>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Espace réservé de la date 3"/>
          <p:cNvSpPr>
            <a:spLocks noGrp="1"/>
          </p:cNvSpPr>
          <p:nvPr>
            <p:ph type="dt" sz="half" idx="2"/>
          </p:nvPr>
        </p:nvSpPr>
        <p:spPr bwMode="gray">
          <a:xfrm>
            <a:off x="-1" y="6498000"/>
            <a:ext cx="1246719" cy="360000"/>
          </a:xfrm>
          <a:prstGeom prst="rect">
            <a:avLst/>
          </a:prstGeom>
        </p:spPr>
        <p:txBody>
          <a:bodyPr vert="horz" lIns="0" tIns="0" rIns="0" bIns="0" rtlCol="0" anchor="t" anchorCtr="0">
            <a:noAutofit/>
          </a:bodyPr>
          <a:lstStyle>
            <a:lvl1pPr algn="l">
              <a:defRPr sz="100">
                <a:solidFill>
                  <a:schemeClr val="bg1">
                    <a:alpha val="0"/>
                  </a:schemeClr>
                </a:solidFill>
              </a:defRPr>
            </a:lvl1pPr>
          </a:lstStyle>
          <a:p>
            <a:r>
              <a:rPr lang="en-US" noProof="0"/>
              <a:t>Date</a:t>
            </a:r>
            <a:endParaRPr lang="en-GB" noProof="0"/>
          </a:p>
        </p:txBody>
      </p:sp>
      <p:sp>
        <p:nvSpPr>
          <p:cNvPr id="5" name="Espace réservé du pied de page 4"/>
          <p:cNvSpPr>
            <a:spLocks noGrp="1"/>
          </p:cNvSpPr>
          <p:nvPr>
            <p:ph type="ftr" sz="quarter" idx="3"/>
          </p:nvPr>
        </p:nvSpPr>
        <p:spPr bwMode="gray">
          <a:xfrm>
            <a:off x="3216000" y="6498000"/>
            <a:ext cx="5760000" cy="360000"/>
          </a:xfrm>
          <a:prstGeom prst="rect">
            <a:avLst/>
          </a:prstGeom>
        </p:spPr>
        <p:txBody>
          <a:bodyPr vert="horz" lIns="0" tIns="7200" rIns="0" bIns="0" rtlCol="0" anchor="t" anchorCtr="0">
            <a:noAutofit/>
          </a:bodyPr>
          <a:lstStyle>
            <a:lvl1pPr algn="ctr">
              <a:defRPr sz="1000" b="1">
                <a:solidFill>
                  <a:schemeClr val="accent1"/>
                </a:solidFill>
              </a:defRPr>
            </a:lvl1pPr>
          </a:lstStyle>
          <a:p>
            <a:r>
              <a:rPr lang="en-GB" noProof="0"/>
              <a:t>#add your hashtag</a:t>
            </a:r>
          </a:p>
        </p:txBody>
      </p:sp>
      <p:sp>
        <p:nvSpPr>
          <p:cNvPr id="6" name="Espace réservé du numéro de diapositive 5"/>
          <p:cNvSpPr>
            <a:spLocks noGrp="1"/>
          </p:cNvSpPr>
          <p:nvPr>
            <p:ph type="sldNum" sz="quarter" idx="4"/>
          </p:nvPr>
        </p:nvSpPr>
        <p:spPr bwMode="gray">
          <a:xfrm>
            <a:off x="1246717" y="6498000"/>
            <a:ext cx="1200149" cy="360000"/>
          </a:xfrm>
          <a:prstGeom prst="rect">
            <a:avLst/>
          </a:prstGeom>
        </p:spPr>
        <p:txBody>
          <a:bodyPr vert="horz" lIns="0" tIns="21600" rIns="0" bIns="0" rtlCol="0" anchor="t" anchorCtr="0">
            <a:noAutofit/>
          </a:bodyPr>
          <a:lstStyle>
            <a:lvl1pPr algn="l">
              <a:defRPr sz="900" b="1">
                <a:solidFill>
                  <a:schemeClr val="tx1"/>
                </a:solidFill>
              </a:defRPr>
            </a:lvl1pPr>
          </a:lstStyle>
          <a:p>
            <a:fld id="{733122C9-A0B9-462F-8757-0847AD287B63}" type="slidenum">
              <a:rPr lang="en-GB" noProof="0" smtClean="0"/>
              <a:pPr/>
              <a:t>‹#›</a:t>
            </a:fld>
            <a:endParaRPr lang="en-GB" noProof="0"/>
          </a:p>
        </p:txBody>
      </p:sp>
      <p:sp>
        <p:nvSpPr>
          <p:cNvPr id="10" name="Rectangle 9"/>
          <p:cNvSpPr/>
          <p:nvPr/>
        </p:nvSpPr>
        <p:spPr bwMode="gray">
          <a:xfrm>
            <a:off x="10080443" y="6021388"/>
            <a:ext cx="2111557"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noProof="0"/>
          </a:p>
        </p:txBody>
      </p:sp>
    </p:spTree>
    <p:extLst>
      <p:ext uri="{BB962C8B-B14F-4D97-AF65-F5344CB8AC3E}">
        <p14:creationId xmlns:p14="http://schemas.microsoft.com/office/powerpoint/2010/main" val="87011017"/>
      </p:ext>
    </p:extLst>
  </p:cSld>
  <p:clrMap bg1="lt1" tx1="dk1" bg2="lt2" tx2="dk2" accent1="accent1" accent2="accent2" accent3="accent3" accent4="accent4" accent5="accent5" accent6="accent6" hlink="hlink" folHlink="folHlink"/>
  <p:sldLayoutIdLst>
    <p:sldLayoutId id="2147485041" r:id="rId1"/>
    <p:sldLayoutId id="2147485042" r:id="rId2"/>
    <p:sldLayoutId id="2147485043" r:id="rId3"/>
    <p:sldLayoutId id="2147485044" r:id="rId4"/>
    <p:sldLayoutId id="2147485045" r:id="rId5"/>
    <p:sldLayoutId id="2147485046" r:id="rId6"/>
    <p:sldLayoutId id="2147485047" r:id="rId7"/>
    <p:sldLayoutId id="2147485048" r:id="rId8"/>
    <p:sldLayoutId id="2147485049" r:id="rId9"/>
    <p:sldLayoutId id="2147485050" r:id="rId10"/>
    <p:sldLayoutId id="2147485051" r:id="rId11"/>
    <p:sldLayoutId id="2147485052" r:id="rId12"/>
    <p:sldLayoutId id="2147485053" r:id="rId13"/>
    <p:sldLayoutId id="2147485054" r:id="rId14"/>
    <p:sldLayoutId id="2147485055" r:id="rId15"/>
    <p:sldLayoutId id="2147485056" r:id="rId16"/>
    <p:sldLayoutId id="2147485057" r:id="rId17"/>
    <p:sldLayoutId id="2147485058" r:id="rId18"/>
    <p:sldLayoutId id="2147485060" r:id="rId19"/>
    <p:sldLayoutId id="2147485061" r:id="rId20"/>
    <p:sldLayoutId id="2147485062" r:id="rId21"/>
  </p:sldLayoutIdLst>
  <p:hf hdr="0" ftr="0" dt="0"/>
  <p:txStyles>
    <p:titleStyle>
      <a:lvl1pPr algn="l" defTabSz="914400" rtl="0" eaLnBrk="1" latinLnBrk="0" hangingPunct="1">
        <a:lnSpc>
          <a:spcPct val="90000"/>
        </a:lnSpc>
        <a:spcBef>
          <a:spcPct val="0"/>
        </a:spcBef>
        <a:buNone/>
        <a:defRPr sz="2800" b="0" kern="1200" cap="none"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51A471A-73D8-E667-2AEF-C2A388F03319}"/>
              </a:ext>
            </a:extLst>
          </p:cNvPr>
          <p:cNvGraphicFramePr>
            <a:graphicFrameLocks noChangeAspect="1"/>
          </p:cNvGraphicFramePr>
          <p:nvPr userDrawn="1">
            <p:custDataLst>
              <p:tags r:id="rId52"/>
            </p:custDataLst>
            <p:extLst>
              <p:ext uri="{D42A27DB-BD31-4B8C-83A1-F6EECF244321}">
                <p14:modId xmlns:p14="http://schemas.microsoft.com/office/powerpoint/2010/main" val="350801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Slide" r:id="rId53" imgW="408" imgH="408" progId="TCLayout.ActiveDocument.1">
                  <p:embed/>
                </p:oleObj>
              </mc:Choice>
              <mc:Fallback>
                <p:oleObj name="think-cell Slide" r:id="rId53" imgW="408" imgH="408" progId="TCLayout.ActiveDocument.1">
                  <p:embed/>
                  <p:pic>
                    <p:nvPicPr>
                      <p:cNvPr id="7" name="think-cell data - do not delete" hidden="1">
                        <a:extLst>
                          <a:ext uri="{FF2B5EF4-FFF2-40B4-BE49-F238E27FC236}">
                            <a16:creationId xmlns:a16="http://schemas.microsoft.com/office/drawing/2014/main" id="{E51A471A-73D8-E667-2AEF-C2A388F03319}"/>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ESA EPI Manager Meeting - 26 June 2024</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2773040664"/>
      </p:ext>
    </p:extLst>
  </p:cSld>
  <p:clrMap bg1="lt1" tx1="dk1" bg2="lt2" tx2="dk2" accent1="accent1" accent2="accent2" accent3="accent3" accent4="accent4" accent5="accent5" accent6="accent6" hlink="hlink" folHlink="folHlink"/>
  <p:sldLayoutIdLst>
    <p:sldLayoutId id="2147485129" r:id="rId1"/>
    <p:sldLayoutId id="2147485130" r:id="rId2"/>
    <p:sldLayoutId id="2147485131" r:id="rId3"/>
    <p:sldLayoutId id="2147485132" r:id="rId4"/>
    <p:sldLayoutId id="2147485133" r:id="rId5"/>
    <p:sldLayoutId id="2147485134" r:id="rId6"/>
    <p:sldLayoutId id="2147485135" r:id="rId7"/>
    <p:sldLayoutId id="2147485136" r:id="rId8"/>
    <p:sldLayoutId id="2147485137" r:id="rId9"/>
    <p:sldLayoutId id="2147485138" r:id="rId10"/>
    <p:sldLayoutId id="2147485139" r:id="rId11"/>
    <p:sldLayoutId id="2147485140" r:id="rId12"/>
    <p:sldLayoutId id="2147485141" r:id="rId13"/>
    <p:sldLayoutId id="2147485142" r:id="rId14"/>
    <p:sldLayoutId id="2147485143" r:id="rId15"/>
    <p:sldLayoutId id="2147485144" r:id="rId16"/>
    <p:sldLayoutId id="2147485145" r:id="rId17"/>
    <p:sldLayoutId id="2147485146" r:id="rId18"/>
    <p:sldLayoutId id="2147485147" r:id="rId19"/>
    <p:sldLayoutId id="2147485148" r:id="rId20"/>
    <p:sldLayoutId id="2147485149" r:id="rId21"/>
    <p:sldLayoutId id="2147485150" r:id="rId22"/>
    <p:sldLayoutId id="2147485151" r:id="rId23"/>
    <p:sldLayoutId id="2147485152" r:id="rId24"/>
    <p:sldLayoutId id="2147485153" r:id="rId25"/>
    <p:sldLayoutId id="2147485154" r:id="rId26"/>
    <p:sldLayoutId id="2147485155" r:id="rId27"/>
    <p:sldLayoutId id="2147485156" r:id="rId28"/>
    <p:sldLayoutId id="2147485157" r:id="rId29"/>
    <p:sldLayoutId id="2147485158" r:id="rId30"/>
    <p:sldLayoutId id="2147485159" r:id="rId31"/>
    <p:sldLayoutId id="2147485160" r:id="rId32"/>
    <p:sldLayoutId id="2147485161" r:id="rId33"/>
    <p:sldLayoutId id="2147485162" r:id="rId34"/>
    <p:sldLayoutId id="2147485163" r:id="rId35"/>
    <p:sldLayoutId id="2147485164" r:id="rId36"/>
    <p:sldLayoutId id="2147485165" r:id="rId37"/>
    <p:sldLayoutId id="2147485166" r:id="rId38"/>
    <p:sldLayoutId id="2147485167" r:id="rId39"/>
    <p:sldLayoutId id="2147485168" r:id="rId40"/>
    <p:sldLayoutId id="2147485169" r:id="rId41"/>
    <p:sldLayoutId id="2147485170" r:id="rId42"/>
    <p:sldLayoutId id="2147485171" r:id="rId43"/>
    <p:sldLayoutId id="2147485172" r:id="rId44"/>
    <p:sldLayoutId id="2147485173" r:id="rId45"/>
    <p:sldLayoutId id="2147485174" r:id="rId46"/>
    <p:sldLayoutId id="2147485175" r:id="rId47"/>
    <p:sldLayoutId id="2147485176" r:id="rId48"/>
    <p:sldLayoutId id="2147485177" r:id="rId49"/>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3F299E-FAF9-F3BE-768B-CE91268203A3}"/>
              </a:ext>
            </a:extLst>
          </p:cNvPr>
          <p:cNvGraphicFramePr>
            <a:graphicFrameLocks noChangeAspect="1"/>
          </p:cNvGraphicFramePr>
          <p:nvPr userDrawn="1">
            <p:custDataLst>
              <p:tags r:id="rId52"/>
            </p:custDataLst>
            <p:extLst>
              <p:ext uri="{D42A27DB-BD31-4B8C-83A1-F6EECF244321}">
                <p14:modId xmlns:p14="http://schemas.microsoft.com/office/powerpoint/2010/main" val="1319774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Slide" r:id="rId53" imgW="395" imgH="394" progId="TCLayout.ActiveDocument.1">
                  <p:embed/>
                </p:oleObj>
              </mc:Choice>
              <mc:Fallback>
                <p:oleObj name="think-cell Slide" r:id="rId53" imgW="395" imgH="394" progId="TCLayout.ActiveDocument.1">
                  <p:embed/>
                  <p:pic>
                    <p:nvPicPr>
                      <p:cNvPr id="7" name="Object 6" hidden="1">
                        <a:extLst>
                          <a:ext uri="{FF2B5EF4-FFF2-40B4-BE49-F238E27FC236}">
                            <a16:creationId xmlns:a16="http://schemas.microsoft.com/office/drawing/2014/main" id="{693F299E-FAF9-F3BE-768B-CE91268203A3}"/>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ESA EPI Manager Meeting - 26 June 2024</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3750142766"/>
      </p:ext>
    </p:extLst>
  </p:cSld>
  <p:clrMap bg1="lt1" tx1="dk1" bg2="lt2" tx2="dk2" accent1="accent1" accent2="accent2" accent3="accent3" accent4="accent4" accent5="accent5" accent6="accent6" hlink="hlink" folHlink="folHlink"/>
  <p:sldLayoutIdLst>
    <p:sldLayoutId id="2147485179" r:id="rId1"/>
    <p:sldLayoutId id="2147485180" r:id="rId2"/>
    <p:sldLayoutId id="2147485181" r:id="rId3"/>
    <p:sldLayoutId id="2147485182" r:id="rId4"/>
    <p:sldLayoutId id="2147485183" r:id="rId5"/>
    <p:sldLayoutId id="2147485184" r:id="rId6"/>
    <p:sldLayoutId id="2147485185" r:id="rId7"/>
    <p:sldLayoutId id="2147485186" r:id="rId8"/>
    <p:sldLayoutId id="2147485187" r:id="rId9"/>
    <p:sldLayoutId id="2147485188" r:id="rId10"/>
    <p:sldLayoutId id="2147485189" r:id="rId11"/>
    <p:sldLayoutId id="2147485190" r:id="rId12"/>
    <p:sldLayoutId id="2147485191" r:id="rId13"/>
    <p:sldLayoutId id="2147485192" r:id="rId14"/>
    <p:sldLayoutId id="2147485193" r:id="rId15"/>
    <p:sldLayoutId id="2147485194" r:id="rId16"/>
    <p:sldLayoutId id="2147485195" r:id="rId17"/>
    <p:sldLayoutId id="2147485196" r:id="rId18"/>
    <p:sldLayoutId id="2147485197" r:id="rId19"/>
    <p:sldLayoutId id="2147485198" r:id="rId20"/>
    <p:sldLayoutId id="2147485199" r:id="rId21"/>
    <p:sldLayoutId id="2147485200" r:id="rId22"/>
    <p:sldLayoutId id="2147485201" r:id="rId23"/>
    <p:sldLayoutId id="2147485202" r:id="rId24"/>
    <p:sldLayoutId id="2147485203" r:id="rId25"/>
    <p:sldLayoutId id="2147485204" r:id="rId26"/>
    <p:sldLayoutId id="2147485205" r:id="rId27"/>
    <p:sldLayoutId id="2147485206" r:id="rId28"/>
    <p:sldLayoutId id="2147485207" r:id="rId29"/>
    <p:sldLayoutId id="2147485208" r:id="rId30"/>
    <p:sldLayoutId id="2147485209" r:id="rId31"/>
    <p:sldLayoutId id="2147485210" r:id="rId32"/>
    <p:sldLayoutId id="2147485211" r:id="rId33"/>
    <p:sldLayoutId id="2147485212" r:id="rId34"/>
    <p:sldLayoutId id="2147485213" r:id="rId35"/>
    <p:sldLayoutId id="2147485214" r:id="rId36"/>
    <p:sldLayoutId id="2147485215" r:id="rId37"/>
    <p:sldLayoutId id="2147485216" r:id="rId38"/>
    <p:sldLayoutId id="2147485217" r:id="rId39"/>
    <p:sldLayoutId id="2147485218" r:id="rId40"/>
    <p:sldLayoutId id="2147485219" r:id="rId41"/>
    <p:sldLayoutId id="2147485220" r:id="rId42"/>
    <p:sldLayoutId id="2147485221" r:id="rId43"/>
    <p:sldLayoutId id="2147485222" r:id="rId44"/>
    <p:sldLayoutId id="2147485223" r:id="rId45"/>
    <p:sldLayoutId id="2147485224" r:id="rId46"/>
    <p:sldLayoutId id="2147485225" r:id="rId47"/>
    <p:sldLayoutId id="2147485226" r:id="rId48"/>
    <p:sldLayoutId id="2147485227" r:id="rId49"/>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fr"/>
              <a:t>Cliquez pour modifier le style de titre du gabarit</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fr"/>
              <a:t>Cliquez pour modifier les styles de texte du modèle</a:t>
            </a:r>
          </a:p>
          <a:p>
            <a:pPr lvl="1"/>
            <a:r>
              <a:rPr lang="fr"/>
              <a:t>Deuxième niveau</a:t>
            </a:r>
          </a:p>
          <a:p>
            <a:pPr lvl="2"/>
            <a:r>
              <a:rPr lang="fr"/>
              <a:t>Troisième niveau</a:t>
            </a:r>
          </a:p>
          <a:p>
            <a:pPr lvl="3"/>
            <a:r>
              <a:rPr lang="fr"/>
              <a:t>Quatrième niveau</a:t>
            </a:r>
          </a:p>
          <a:p>
            <a:pPr lvl="4"/>
            <a:r>
              <a:rPr lang="fr"/>
              <a:t>Cinquième niveau</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fr"/>
              <a:t>Modèle de présentation Gavi</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1013088673"/>
      </p:ext>
    </p:extLst>
  </p:cSld>
  <p:clrMap bg1="lt1" tx1="dk1" bg2="lt2" tx2="dk2" accent1="accent1" accent2="accent2" accent3="accent3" accent4="accent4" accent5="accent5" accent6="accent6" hlink="hlink" folHlink="folHlink"/>
  <p:sldLayoutIdLst>
    <p:sldLayoutId id="2147485229" r:id="rId1"/>
    <p:sldLayoutId id="2147485230" r:id="rId2"/>
    <p:sldLayoutId id="2147485231" r:id="rId3"/>
    <p:sldLayoutId id="2147485232" r:id="rId4"/>
    <p:sldLayoutId id="2147485233" r:id="rId5"/>
    <p:sldLayoutId id="2147485234" r:id="rId6"/>
    <p:sldLayoutId id="2147485235" r:id="rId7"/>
    <p:sldLayoutId id="2147485236" r:id="rId8"/>
    <p:sldLayoutId id="2147485237" r:id="rId9"/>
    <p:sldLayoutId id="2147485238" r:id="rId10"/>
    <p:sldLayoutId id="2147485239" r:id="rId11"/>
    <p:sldLayoutId id="2147485240" r:id="rId12"/>
    <p:sldLayoutId id="2147485241" r:id="rId13"/>
    <p:sldLayoutId id="2147485242" r:id="rId14"/>
    <p:sldLayoutId id="2147485243" r:id="rId15"/>
    <p:sldLayoutId id="2147485244" r:id="rId16"/>
    <p:sldLayoutId id="2147485245" r:id="rId17"/>
    <p:sldLayoutId id="2147485246" r:id="rId18"/>
    <p:sldLayoutId id="2147485247" r:id="rId19"/>
    <p:sldLayoutId id="2147485248" r:id="rId20"/>
    <p:sldLayoutId id="2147485249" r:id="rId21"/>
    <p:sldLayoutId id="2147485250" r:id="rId22"/>
    <p:sldLayoutId id="2147485251" r:id="rId23"/>
    <p:sldLayoutId id="2147485252" r:id="rId24"/>
    <p:sldLayoutId id="2147485253" r:id="rId25"/>
    <p:sldLayoutId id="2147485254" r:id="rId26"/>
    <p:sldLayoutId id="2147485255" r:id="rId27"/>
    <p:sldLayoutId id="2147485256" r:id="rId28"/>
    <p:sldLayoutId id="2147485257" r:id="rId29"/>
    <p:sldLayoutId id="2147485258" r:id="rId30"/>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A1574B2-E1D4-FD00-EB77-631C2B1F5142}"/>
              </a:ext>
            </a:extLst>
          </p:cNvPr>
          <p:cNvGraphicFramePr>
            <a:graphicFrameLocks noChangeAspect="1"/>
          </p:cNvGraphicFramePr>
          <p:nvPr userDrawn="1">
            <p:custDataLst>
              <p:tags r:id="rId26"/>
            </p:custDataLst>
            <p:extLst>
              <p:ext uri="{D42A27DB-BD31-4B8C-83A1-F6EECF244321}">
                <p14:modId xmlns:p14="http://schemas.microsoft.com/office/powerpoint/2010/main" val="122246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think-cell Slide" r:id="rId27" imgW="415" imgH="416" progId="TCLayout.ActiveDocument.1">
                  <p:embed/>
                </p:oleObj>
              </mc:Choice>
              <mc:Fallback>
                <p:oleObj name="think-cell Slide" r:id="rId27" imgW="415" imgH="416" progId="TCLayout.ActiveDocument.1">
                  <p:embed/>
                  <p:pic>
                    <p:nvPicPr>
                      <p:cNvPr id="7" name="Object 6" hidden="1">
                        <a:extLst>
                          <a:ext uri="{FF2B5EF4-FFF2-40B4-BE49-F238E27FC236}">
                            <a16:creationId xmlns:a16="http://schemas.microsoft.com/office/drawing/2014/main" id="{0A1574B2-E1D4-FD00-EB77-631C2B1F514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fr"/>
              <a:t>Cliquez pour modifier le style de titre du gabarit</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fr"/>
              <a:t>Cliquez pour modifier les styles de texte du modèle</a:t>
            </a:r>
          </a:p>
          <a:p>
            <a:pPr lvl="1"/>
            <a:r>
              <a:rPr lang="fr"/>
              <a:t>Deuxième niveau</a:t>
            </a:r>
          </a:p>
          <a:p>
            <a:pPr lvl="2"/>
            <a:r>
              <a:rPr lang="fr"/>
              <a:t>Troisième niveau</a:t>
            </a:r>
          </a:p>
          <a:p>
            <a:pPr lvl="3"/>
            <a:r>
              <a:rPr lang="fr"/>
              <a:t>Quatrième niveau</a:t>
            </a:r>
          </a:p>
          <a:p>
            <a:pPr lvl="4"/>
            <a:r>
              <a:rPr lang="fr"/>
              <a:t>Cinquième niveau</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fr"/>
              <a:t>Modèle de présentation Gavi</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296878866"/>
      </p:ext>
    </p:extLst>
  </p:cSld>
  <p:clrMap bg1="lt1" tx1="dk1" bg2="lt2" tx2="dk2" accent1="accent1" accent2="accent2" accent3="accent3" accent4="accent4" accent5="accent5" accent6="accent6" hlink="hlink" folHlink="folHlink"/>
  <p:sldLayoutIdLst>
    <p:sldLayoutId id="2147485260" r:id="rId1"/>
    <p:sldLayoutId id="2147485261" r:id="rId2"/>
    <p:sldLayoutId id="2147485262" r:id="rId3"/>
    <p:sldLayoutId id="2147485263" r:id="rId4"/>
    <p:sldLayoutId id="2147485264" r:id="rId5"/>
    <p:sldLayoutId id="2147485265" r:id="rId6"/>
    <p:sldLayoutId id="2147485266" r:id="rId7"/>
    <p:sldLayoutId id="2147485267" r:id="rId8"/>
    <p:sldLayoutId id="2147485268" r:id="rId9"/>
    <p:sldLayoutId id="2147485269" r:id="rId10"/>
    <p:sldLayoutId id="2147485270" r:id="rId11"/>
    <p:sldLayoutId id="2147485271" r:id="rId12"/>
    <p:sldLayoutId id="2147485272" r:id="rId13"/>
    <p:sldLayoutId id="2147485273" r:id="rId14"/>
    <p:sldLayoutId id="2147485274" r:id="rId15"/>
    <p:sldLayoutId id="2147485275" r:id="rId16"/>
    <p:sldLayoutId id="2147485276" r:id="rId17"/>
    <p:sldLayoutId id="2147485277" r:id="rId18"/>
    <p:sldLayoutId id="2147485278" r:id="rId19"/>
    <p:sldLayoutId id="2147485279" r:id="rId20"/>
    <p:sldLayoutId id="2147485280" r:id="rId21"/>
    <p:sldLayoutId id="2147485281" r:id="rId22"/>
    <p:sldLayoutId id="2147485282" r:id="rId23"/>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1088647772"/>
      </p:ext>
    </p:extLst>
  </p:cSld>
  <p:clrMap bg1="lt1" tx1="dk1" bg2="lt2" tx2="dk2" accent1="accent1" accent2="accent2" accent3="accent3" accent4="accent4" accent5="accent5" accent6="accent6" hlink="hlink" folHlink="folHlink"/>
  <p:sldLayoutIdLst>
    <p:sldLayoutId id="2147485284" r:id="rId1"/>
    <p:sldLayoutId id="2147485285" r:id="rId2"/>
    <p:sldLayoutId id="2147485286" r:id="rId3"/>
    <p:sldLayoutId id="2147485287" r:id="rId4"/>
    <p:sldLayoutId id="2147485288" r:id="rId5"/>
    <p:sldLayoutId id="2147485289" r:id="rId6"/>
    <p:sldLayoutId id="2147485290" r:id="rId7"/>
    <p:sldLayoutId id="2147485291" r:id="rId8"/>
    <p:sldLayoutId id="2147485292" r:id="rId9"/>
    <p:sldLayoutId id="2147485293" r:id="rId10"/>
    <p:sldLayoutId id="2147485294" r:id="rId11"/>
    <p:sldLayoutId id="2147485295" r:id="rId12"/>
    <p:sldLayoutId id="2147485296" r:id="rId13"/>
    <p:sldLayoutId id="2147485297" r:id="rId14"/>
    <p:sldLayoutId id="2147485298" r:id="rId15"/>
    <p:sldLayoutId id="2147485299" r:id="rId16"/>
    <p:sldLayoutId id="2147485300" r:id="rId17"/>
    <p:sldLayoutId id="2147485301" r:id="rId18"/>
    <p:sldLayoutId id="2147485302" r:id="rId19"/>
    <p:sldLayoutId id="2147485303" r:id="rId20"/>
    <p:sldLayoutId id="2147485304" r:id="rId21"/>
    <p:sldLayoutId id="2147485305" r:id="rId22"/>
    <p:sldLayoutId id="2147485306" r:id="rId23"/>
    <p:sldLayoutId id="2147485307" r:id="rId24"/>
    <p:sldLayoutId id="2147485308" r:id="rId25"/>
    <p:sldLayoutId id="2147485309" r:id="rId26"/>
    <p:sldLayoutId id="2147485310" r:id="rId27"/>
    <p:sldLayoutId id="2147485311" r:id="rId28"/>
    <p:sldLayoutId id="2147485312" r:id="rId29"/>
    <p:sldLayoutId id="2147485313" r:id="rId30"/>
    <p:sldLayoutId id="2147485314" r:id="rId31"/>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32080" cy="6858000"/>
          </a:xfrm>
          <a:custGeom>
            <a:avLst/>
            <a:gdLst/>
            <a:ahLst/>
            <a:cxnLst/>
            <a:rect l="l" t="t" r="r" b="b"/>
            <a:pathLst>
              <a:path w="132080" h="6858000">
                <a:moveTo>
                  <a:pt x="131546" y="0"/>
                </a:moveTo>
                <a:lnTo>
                  <a:pt x="0" y="0"/>
                </a:lnTo>
                <a:lnTo>
                  <a:pt x="0" y="6858000"/>
                </a:lnTo>
                <a:lnTo>
                  <a:pt x="131546" y="6858000"/>
                </a:lnTo>
                <a:lnTo>
                  <a:pt x="131546" y="0"/>
                </a:lnTo>
                <a:close/>
              </a:path>
            </a:pathLst>
          </a:custGeom>
          <a:solidFill>
            <a:srgbClr val="005CB8"/>
          </a:solidFill>
        </p:spPr>
        <p:txBody>
          <a:bodyPr wrap="square" lIns="0" tIns="0" rIns="0" bIns="0" rtlCol="0"/>
          <a:lstStyle/>
          <a:p>
            <a:endParaRPr/>
          </a:p>
        </p:txBody>
      </p:sp>
      <p:sp>
        <p:nvSpPr>
          <p:cNvPr id="17" name="bg object 17"/>
          <p:cNvSpPr/>
          <p:nvPr/>
        </p:nvSpPr>
        <p:spPr>
          <a:xfrm>
            <a:off x="515937" y="6293459"/>
            <a:ext cx="10020300" cy="0"/>
          </a:xfrm>
          <a:custGeom>
            <a:avLst/>
            <a:gdLst/>
            <a:ahLst/>
            <a:cxnLst/>
            <a:rect l="l" t="t" r="r" b="b"/>
            <a:pathLst>
              <a:path w="10020300">
                <a:moveTo>
                  <a:pt x="0" y="0"/>
                </a:moveTo>
                <a:lnTo>
                  <a:pt x="10019728" y="0"/>
                </a:lnTo>
              </a:path>
            </a:pathLst>
          </a:custGeom>
          <a:ln w="6350">
            <a:solidFill>
              <a:srgbClr val="7E7E7E"/>
            </a:solidFill>
          </a:ln>
        </p:spPr>
        <p:txBody>
          <a:bodyPr wrap="square" lIns="0" tIns="0" rIns="0" bIns="0" rtlCol="0"/>
          <a:lstStyle/>
          <a:p>
            <a:endParaRPr/>
          </a:p>
        </p:txBody>
      </p:sp>
      <p:pic>
        <p:nvPicPr>
          <p:cNvPr id="18" name="bg object 18"/>
          <p:cNvPicPr/>
          <p:nvPr/>
        </p:nvPicPr>
        <p:blipFill>
          <a:blip r:embed="rId7" cstate="print"/>
          <a:stretch>
            <a:fillRect/>
          </a:stretch>
        </p:blipFill>
        <p:spPr>
          <a:xfrm>
            <a:off x="10635045" y="6186202"/>
            <a:ext cx="605507" cy="304590"/>
          </a:xfrm>
          <a:prstGeom prst="rect">
            <a:avLst/>
          </a:prstGeom>
        </p:spPr>
      </p:pic>
      <p:pic>
        <p:nvPicPr>
          <p:cNvPr id="19" name="bg object 19"/>
          <p:cNvPicPr/>
          <p:nvPr/>
        </p:nvPicPr>
        <p:blipFill>
          <a:blip r:embed="rId8" cstate="print"/>
          <a:stretch>
            <a:fillRect/>
          </a:stretch>
        </p:blipFill>
        <p:spPr>
          <a:xfrm>
            <a:off x="11283273" y="6112169"/>
            <a:ext cx="386035" cy="377189"/>
          </a:xfrm>
          <a:prstGeom prst="rect">
            <a:avLst/>
          </a:prstGeom>
        </p:spPr>
      </p:pic>
      <p:sp>
        <p:nvSpPr>
          <p:cNvPr id="2" name="Holder 2"/>
          <p:cNvSpPr>
            <a:spLocks noGrp="1"/>
          </p:cNvSpPr>
          <p:nvPr>
            <p:ph type="title"/>
          </p:nvPr>
        </p:nvSpPr>
        <p:spPr>
          <a:xfrm>
            <a:off x="509117" y="294894"/>
            <a:ext cx="10987405" cy="953135"/>
          </a:xfrm>
          <a:prstGeom prst="rect">
            <a:avLst/>
          </a:prstGeom>
        </p:spPr>
        <p:txBody>
          <a:bodyPr wrap="square" lIns="0" tIns="0" rIns="0" bIns="0">
            <a:spAutoFit/>
          </a:bodyPr>
          <a:lstStyle>
            <a:lvl1pPr>
              <a:defRPr sz="3600" b="1" i="0">
                <a:solidFill>
                  <a:srgbClr val="005CB8"/>
                </a:solidFill>
                <a:latin typeface="Arial"/>
                <a:cs typeface="Arial"/>
              </a:defRPr>
            </a:lvl1pPr>
          </a:lstStyle>
          <a:p>
            <a:endParaRPr/>
          </a:p>
        </p:txBody>
      </p:sp>
      <p:sp>
        <p:nvSpPr>
          <p:cNvPr id="3" name="Holder 3"/>
          <p:cNvSpPr>
            <a:spLocks noGrp="1"/>
          </p:cNvSpPr>
          <p:nvPr>
            <p:ph type="body" idx="1"/>
          </p:nvPr>
        </p:nvSpPr>
        <p:spPr>
          <a:xfrm>
            <a:off x="1360424" y="1353413"/>
            <a:ext cx="9730740" cy="1772285"/>
          </a:xfrm>
          <a:prstGeom prst="rect">
            <a:avLst/>
          </a:prstGeom>
        </p:spPr>
        <p:txBody>
          <a:bodyPr wrap="square" lIns="0" tIns="0" rIns="0" bIns="0">
            <a:spAutoFit/>
          </a:bodyPr>
          <a:lstStyle>
            <a:lvl1pPr>
              <a:defRPr sz="2000" b="0" i="0">
                <a:solidFill>
                  <a:srgbClr val="005CB8"/>
                </a:solidFill>
                <a:latin typeface="Arial"/>
                <a:cs typeface="Aria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8/2025</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16393756"/>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89.jpeg"/><Relationship Id="rId3" Type="http://schemas.openxmlformats.org/officeDocument/2006/relationships/slideLayout" Target="../slideLayouts/slideLayout287.xml"/><Relationship Id="rId7" Type="http://schemas.openxmlformats.org/officeDocument/2006/relationships/image" Target="../media/image85.png"/><Relationship Id="rId12" Type="http://schemas.openxmlformats.org/officeDocument/2006/relationships/image" Target="../media/image82.png"/><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11.emf"/><Relationship Id="rId11" Type="http://schemas.openxmlformats.org/officeDocument/2006/relationships/image" Target="../media/image88.png"/><Relationship Id="rId5" Type="http://schemas.openxmlformats.org/officeDocument/2006/relationships/oleObject" Target="../embeddings/oleObject12.bin"/><Relationship Id="rId10" Type="http://schemas.openxmlformats.org/officeDocument/2006/relationships/image" Target="../media/image87.png"/><Relationship Id="rId4" Type="http://schemas.openxmlformats.org/officeDocument/2006/relationships/notesSlide" Target="../notesSlides/notesSlide10.xml"/><Relationship Id="rId9" Type="http://schemas.microsoft.com/office/2007/relationships/hdphoto" Target="../media/hdphoto3.wdp"/><Relationship Id="rId14" Type="http://schemas.openxmlformats.org/officeDocument/2006/relationships/image" Target="../media/image84.emf"/></Relationships>
</file>

<file path=ppt/slides/_rels/slide11.xml.rels><?xml version="1.0" encoding="UTF-8" standalone="yes"?>
<Relationships xmlns="http://schemas.openxmlformats.org/package/2006/relationships"><Relationship Id="rId8" Type="http://schemas.openxmlformats.org/officeDocument/2006/relationships/image" Target="../media/image91.jpeg"/><Relationship Id="rId13" Type="http://schemas.openxmlformats.org/officeDocument/2006/relationships/image" Target="../media/image93.jpeg"/><Relationship Id="rId3" Type="http://schemas.openxmlformats.org/officeDocument/2006/relationships/slideLayout" Target="../slideLayouts/slideLayout287.xml"/><Relationship Id="rId7" Type="http://schemas.openxmlformats.org/officeDocument/2006/relationships/image" Target="../media/image90.jpeg"/><Relationship Id="rId12" Type="http://schemas.openxmlformats.org/officeDocument/2006/relationships/image" Target="../media/image92.jpeg"/><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image" Target="../media/image11.emf"/><Relationship Id="rId11" Type="http://schemas.openxmlformats.org/officeDocument/2006/relationships/image" Target="../media/image84.emf"/><Relationship Id="rId5" Type="http://schemas.openxmlformats.org/officeDocument/2006/relationships/oleObject" Target="../embeddings/oleObject13.bin"/><Relationship Id="rId10" Type="http://schemas.openxmlformats.org/officeDocument/2006/relationships/image" Target="../media/image89.jpeg"/><Relationship Id="rId4" Type="http://schemas.openxmlformats.org/officeDocument/2006/relationships/notesSlide" Target="../notesSlides/notesSlide11.xml"/><Relationship Id="rId9" Type="http://schemas.openxmlformats.org/officeDocument/2006/relationships/image" Target="../media/image82.png"/><Relationship Id="rId14" Type="http://schemas.openxmlformats.org/officeDocument/2006/relationships/image" Target="../media/image94.png"/></Relationships>
</file>

<file path=ppt/slides/_rels/slide12.xml.rels><?xml version="1.0" encoding="UTF-8" standalone="yes"?>
<Relationships xmlns="http://schemas.openxmlformats.org/package/2006/relationships"><Relationship Id="rId8" Type="http://schemas.openxmlformats.org/officeDocument/2006/relationships/image" Target="../media/image89.jpeg"/><Relationship Id="rId3" Type="http://schemas.openxmlformats.org/officeDocument/2006/relationships/slideLayout" Target="../slideLayouts/slideLayout287.xml"/><Relationship Id="rId7" Type="http://schemas.openxmlformats.org/officeDocument/2006/relationships/image" Target="../media/image82.png"/><Relationship Id="rId2" Type="http://schemas.openxmlformats.org/officeDocument/2006/relationships/tags" Target="../tags/tag28.xml"/><Relationship Id="rId1" Type="http://schemas.openxmlformats.org/officeDocument/2006/relationships/vmlDrawing" Target="../drawings/vmlDrawing25.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12.xml"/><Relationship Id="rId9" Type="http://schemas.openxmlformats.org/officeDocument/2006/relationships/image" Target="../media/image84.emf"/></Relationships>
</file>

<file path=ppt/slides/_rels/slide1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jpeg"/><Relationship Id="rId1" Type="http://schemas.openxmlformats.org/officeDocument/2006/relationships/slideLayout" Target="../slideLayouts/slideLayout311.xml"/><Relationship Id="rId4" Type="http://schemas.openxmlformats.org/officeDocument/2006/relationships/image" Target="../media/image97.png"/></Relationships>
</file>

<file path=ppt/slides/_rels/slide14.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5.jpeg"/><Relationship Id="rId3" Type="http://schemas.openxmlformats.org/officeDocument/2006/relationships/slideLayout" Target="../slideLayouts/slideLayout317.xml"/><Relationship Id="rId7" Type="http://schemas.openxmlformats.org/officeDocument/2006/relationships/image" Target="../media/image85.png"/><Relationship Id="rId12" Type="http://schemas.openxmlformats.org/officeDocument/2006/relationships/image" Target="../media/image96.png"/><Relationship Id="rId2" Type="http://schemas.openxmlformats.org/officeDocument/2006/relationships/tags" Target="../tags/tag29.xml"/><Relationship Id="rId1" Type="http://schemas.openxmlformats.org/officeDocument/2006/relationships/vmlDrawing" Target="../drawings/vmlDrawing26.vml"/><Relationship Id="rId6" Type="http://schemas.openxmlformats.org/officeDocument/2006/relationships/image" Target="../media/image11.emf"/><Relationship Id="rId11" Type="http://schemas.openxmlformats.org/officeDocument/2006/relationships/image" Target="../media/image97.png"/><Relationship Id="rId5" Type="http://schemas.openxmlformats.org/officeDocument/2006/relationships/oleObject" Target="../embeddings/oleObject12.bin"/><Relationship Id="rId10" Type="http://schemas.openxmlformats.org/officeDocument/2006/relationships/image" Target="../media/image87.png"/><Relationship Id="rId4" Type="http://schemas.openxmlformats.org/officeDocument/2006/relationships/notesSlide" Target="../notesSlides/notesSlide13.xml"/><Relationship Id="rId9" Type="http://schemas.microsoft.com/office/2007/relationships/hdphoto" Target="../media/hdphoto3.wdp"/></Relationships>
</file>

<file path=ppt/slides/_rels/slide15.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317.xml"/><Relationship Id="rId7" Type="http://schemas.openxmlformats.org/officeDocument/2006/relationships/image" Target="../media/image95.jpeg"/><Relationship Id="rId12" Type="http://schemas.openxmlformats.org/officeDocument/2006/relationships/image" Target="../media/image97.png"/><Relationship Id="rId2" Type="http://schemas.openxmlformats.org/officeDocument/2006/relationships/tags" Target="../tags/tag30.xml"/><Relationship Id="rId1" Type="http://schemas.openxmlformats.org/officeDocument/2006/relationships/vmlDrawing" Target="../drawings/vmlDrawing27.vml"/><Relationship Id="rId6" Type="http://schemas.openxmlformats.org/officeDocument/2006/relationships/image" Target="../media/image11.emf"/><Relationship Id="rId11" Type="http://schemas.openxmlformats.org/officeDocument/2006/relationships/image" Target="../media/image96.png"/><Relationship Id="rId5" Type="http://schemas.openxmlformats.org/officeDocument/2006/relationships/oleObject" Target="../embeddings/oleObject12.bin"/><Relationship Id="rId10" Type="http://schemas.openxmlformats.org/officeDocument/2006/relationships/image" Target="../media/image100.png"/><Relationship Id="rId4" Type="http://schemas.openxmlformats.org/officeDocument/2006/relationships/notesSlide" Target="../notesSlides/notesSlide14.xml"/><Relationship Id="rId9" Type="http://schemas.openxmlformats.org/officeDocument/2006/relationships/image" Target="../media/image99.png"/></Relationships>
</file>

<file path=ppt/slides/_rels/slide1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7.png"/><Relationship Id="rId1" Type="http://schemas.openxmlformats.org/officeDocument/2006/relationships/slideLayout" Target="../slideLayouts/slideLayout318.xml"/><Relationship Id="rId4" Type="http://schemas.openxmlformats.org/officeDocument/2006/relationships/image" Target="../media/image95.jpeg"/></Relationships>
</file>

<file path=ppt/slides/_rels/slide17.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slideLayout" Target="../slideLayouts/slideLayout317.xml"/><Relationship Id="rId7" Type="http://schemas.openxmlformats.org/officeDocument/2006/relationships/image" Target="../media/image95.jpeg"/><Relationship Id="rId2" Type="http://schemas.openxmlformats.org/officeDocument/2006/relationships/tags" Target="../tags/tag31.xml"/><Relationship Id="rId1" Type="http://schemas.openxmlformats.org/officeDocument/2006/relationships/vmlDrawing" Target="../drawings/vmlDrawing28.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15.xml"/><Relationship Id="rId9" Type="http://schemas.openxmlformats.org/officeDocument/2006/relationships/image" Target="../media/image96.png"/></Relationships>
</file>

<file path=ppt/slides/_rels/slide1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Layout" Target="../slideLayouts/slideLayout311.xml"/><Relationship Id="rId5" Type="http://schemas.openxmlformats.org/officeDocument/2006/relationships/image" Target="../media/image104.jpeg"/><Relationship Id="rId4" Type="http://schemas.openxmlformats.org/officeDocument/2006/relationships/image" Target="../media/image103.png"/></Relationships>
</file>

<file path=ppt/slides/_rels/slide19.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101.jpeg"/><Relationship Id="rId3" Type="http://schemas.openxmlformats.org/officeDocument/2006/relationships/slideLayout" Target="../slideLayouts/slideLayout317.xml"/><Relationship Id="rId7" Type="http://schemas.openxmlformats.org/officeDocument/2006/relationships/image" Target="../media/image85.png"/><Relationship Id="rId12" Type="http://schemas.openxmlformats.org/officeDocument/2006/relationships/image" Target="../media/image89.jpeg"/><Relationship Id="rId2" Type="http://schemas.openxmlformats.org/officeDocument/2006/relationships/tags" Target="../tags/tag32.xml"/><Relationship Id="rId16" Type="http://schemas.openxmlformats.org/officeDocument/2006/relationships/image" Target="../media/image104.jpeg"/><Relationship Id="rId1" Type="http://schemas.openxmlformats.org/officeDocument/2006/relationships/vmlDrawing" Target="../drawings/vmlDrawing29.vml"/><Relationship Id="rId6" Type="http://schemas.openxmlformats.org/officeDocument/2006/relationships/image" Target="../media/image11.emf"/><Relationship Id="rId11" Type="http://schemas.openxmlformats.org/officeDocument/2006/relationships/image" Target="../media/image105.png"/><Relationship Id="rId5" Type="http://schemas.openxmlformats.org/officeDocument/2006/relationships/oleObject" Target="../embeddings/oleObject12.bin"/><Relationship Id="rId15" Type="http://schemas.openxmlformats.org/officeDocument/2006/relationships/image" Target="../media/image103.png"/><Relationship Id="rId10" Type="http://schemas.openxmlformats.org/officeDocument/2006/relationships/image" Target="../media/image87.png"/><Relationship Id="rId4" Type="http://schemas.openxmlformats.org/officeDocument/2006/relationships/notesSlide" Target="../notesSlides/notesSlide16.xml"/><Relationship Id="rId9" Type="http://schemas.microsoft.com/office/2007/relationships/hdphoto" Target="../media/hdphoto3.wdp"/><Relationship Id="rId14" Type="http://schemas.openxmlformats.org/officeDocument/2006/relationships/image" Target="../media/image102.png"/></Relationships>
</file>

<file path=ppt/slides/_rels/slide2.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3" Type="http://schemas.openxmlformats.org/officeDocument/2006/relationships/slideLayout" Target="../slideLayouts/slideLayout20.xml"/><Relationship Id="rId7" Type="http://schemas.openxmlformats.org/officeDocument/2006/relationships/image" Target="../media/image51.png"/><Relationship Id="rId12" Type="http://schemas.openxmlformats.org/officeDocument/2006/relationships/image" Target="../media/image56.svg"/><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image" Target="../media/image50.emf"/><Relationship Id="rId11" Type="http://schemas.openxmlformats.org/officeDocument/2006/relationships/image" Target="../media/image55.png"/><Relationship Id="rId5" Type="http://schemas.openxmlformats.org/officeDocument/2006/relationships/oleObject" Target="../embeddings/oleObject11.bin"/><Relationship Id="rId10" Type="http://schemas.openxmlformats.org/officeDocument/2006/relationships/image" Target="../media/image54.svg"/><Relationship Id="rId4" Type="http://schemas.openxmlformats.org/officeDocument/2006/relationships/notesSlide" Target="../notesSlides/notesSlide2.xml"/><Relationship Id="rId9" Type="http://schemas.openxmlformats.org/officeDocument/2006/relationships/image" Target="../media/image53.png"/></Relationships>
</file>

<file path=ppt/slides/_rels/slide20.xml.rels><?xml version="1.0" encoding="UTF-8" standalone="yes"?>
<Relationships xmlns="http://schemas.openxmlformats.org/package/2006/relationships"><Relationship Id="rId8" Type="http://schemas.openxmlformats.org/officeDocument/2006/relationships/image" Target="../media/image107.jpeg"/><Relationship Id="rId13" Type="http://schemas.openxmlformats.org/officeDocument/2006/relationships/image" Target="../media/image103.png"/><Relationship Id="rId3" Type="http://schemas.openxmlformats.org/officeDocument/2006/relationships/slideLayout" Target="../slideLayouts/slideLayout23.xml"/><Relationship Id="rId7" Type="http://schemas.openxmlformats.org/officeDocument/2006/relationships/image" Target="../media/image106.png"/><Relationship Id="rId12" Type="http://schemas.openxmlformats.org/officeDocument/2006/relationships/image" Target="../media/image102.png"/><Relationship Id="rId2" Type="http://schemas.openxmlformats.org/officeDocument/2006/relationships/tags" Target="../tags/tag33.xml"/><Relationship Id="rId16" Type="http://schemas.openxmlformats.org/officeDocument/2006/relationships/image" Target="../media/image110.jpeg"/><Relationship Id="rId1" Type="http://schemas.openxmlformats.org/officeDocument/2006/relationships/vmlDrawing" Target="../drawings/vmlDrawing30.vml"/><Relationship Id="rId6" Type="http://schemas.openxmlformats.org/officeDocument/2006/relationships/image" Target="../media/image11.emf"/><Relationship Id="rId11" Type="http://schemas.openxmlformats.org/officeDocument/2006/relationships/image" Target="../media/image101.jpeg"/><Relationship Id="rId5" Type="http://schemas.openxmlformats.org/officeDocument/2006/relationships/oleObject" Target="../embeddings/oleObject13.bin"/><Relationship Id="rId15" Type="http://schemas.openxmlformats.org/officeDocument/2006/relationships/image" Target="../media/image109.png"/><Relationship Id="rId10" Type="http://schemas.openxmlformats.org/officeDocument/2006/relationships/image" Target="../media/image89.jpeg"/><Relationship Id="rId4" Type="http://schemas.openxmlformats.org/officeDocument/2006/relationships/notesSlide" Target="../notesSlides/notesSlide17.xml"/><Relationship Id="rId9" Type="http://schemas.openxmlformats.org/officeDocument/2006/relationships/image" Target="../media/image108.jpeg"/><Relationship Id="rId14" Type="http://schemas.openxmlformats.org/officeDocument/2006/relationships/image" Target="../media/image104.jpeg"/></Relationships>
</file>

<file path=ppt/slides/_rels/slide21.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slideLayout" Target="../slideLayouts/slideLayout317.xml"/><Relationship Id="rId7" Type="http://schemas.openxmlformats.org/officeDocument/2006/relationships/image" Target="../media/image89.jpeg"/><Relationship Id="rId2" Type="http://schemas.openxmlformats.org/officeDocument/2006/relationships/tags" Target="../tags/tag34.xml"/><Relationship Id="rId1" Type="http://schemas.openxmlformats.org/officeDocument/2006/relationships/vmlDrawing" Target="../drawings/vmlDrawing31.vml"/><Relationship Id="rId6" Type="http://schemas.openxmlformats.org/officeDocument/2006/relationships/image" Target="../media/image11.emf"/><Relationship Id="rId11" Type="http://schemas.openxmlformats.org/officeDocument/2006/relationships/image" Target="../media/image104.jpeg"/><Relationship Id="rId5" Type="http://schemas.openxmlformats.org/officeDocument/2006/relationships/oleObject" Target="../embeddings/oleObject14.bin"/><Relationship Id="rId10" Type="http://schemas.openxmlformats.org/officeDocument/2006/relationships/image" Target="../media/image103.png"/><Relationship Id="rId4" Type="http://schemas.openxmlformats.org/officeDocument/2006/relationships/notesSlide" Target="../notesSlides/notesSlide18.xml"/><Relationship Id="rId9" Type="http://schemas.openxmlformats.org/officeDocument/2006/relationships/image" Target="../media/image102.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45.xml"/><Relationship Id="rId2" Type="http://schemas.openxmlformats.org/officeDocument/2006/relationships/tags" Target="../tags/tag35.xml"/><Relationship Id="rId1" Type="http://schemas.openxmlformats.org/officeDocument/2006/relationships/vmlDrawing" Target="../drawings/vmlDrawing32.vml"/><Relationship Id="rId6" Type="http://schemas.openxmlformats.org/officeDocument/2006/relationships/image" Target="../media/image112.emf"/><Relationship Id="rId5" Type="http://schemas.openxmlformats.org/officeDocument/2006/relationships/oleObject" Target="../embeddings/oleObject15.bin"/><Relationship Id="rId4"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344.xml"/><Relationship Id="rId4" Type="http://schemas.openxmlformats.org/officeDocument/2006/relationships/image" Target="../media/image115.png"/></Relationships>
</file>

<file path=ppt/slides/_rels/slide2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3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20.xml"/></Relationships>
</file>

<file path=ppt/slides/_rels/slide2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320.xml"/><Relationship Id="rId5" Type="http://schemas.openxmlformats.org/officeDocument/2006/relationships/image" Target="../media/image121.png"/><Relationship Id="rId4" Type="http://schemas.openxmlformats.org/officeDocument/2006/relationships/image" Target="../media/image120.png"/></Relationships>
</file>

<file path=ppt/slides/_rels/slide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microsoft.com/office/2007/relationships/hdphoto" Target="../media/hdphoto2.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39.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svg"/></Relationships>
</file>

<file path=ppt/slides/_rels/slide6.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6.xml"/><Relationship Id="rId1" Type="http://schemas.openxmlformats.org/officeDocument/2006/relationships/slideLayout" Target="../slideLayouts/slideLayout38.xml"/><Relationship Id="rId6" Type="http://schemas.openxmlformats.org/officeDocument/2006/relationships/image" Target="../media/image68.svg"/><Relationship Id="rId5" Type="http://schemas.openxmlformats.org/officeDocument/2006/relationships/image" Target="../media/image67.png"/><Relationship Id="rId10" Type="http://schemas.openxmlformats.org/officeDocument/2006/relationships/image" Target="../media/image72.svg"/><Relationship Id="rId4" Type="http://schemas.openxmlformats.org/officeDocument/2006/relationships/image" Target="../media/image66.svg"/><Relationship Id="rId9" Type="http://schemas.openxmlformats.org/officeDocument/2006/relationships/image" Target="../media/image71.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5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xml"/><Relationship Id="rId1" Type="http://schemas.openxmlformats.org/officeDocument/2006/relationships/slideLayout" Target="../slideLayouts/slideLayout258.xml"/><Relationship Id="rId5" Type="http://schemas.openxmlformats.org/officeDocument/2006/relationships/image" Target="../media/image84.emf"/><Relationship Id="rId4" Type="http://schemas.openxmlformats.org/officeDocument/2006/relationships/image" Target="../media/image8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C2E7F1F-5DCD-7B5A-0A59-8852010919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0" name="think-cell Slide" r:id="rId5" imgW="415" imgH="416" progId="TCLayout.ActiveDocument.1">
                  <p:embed/>
                </p:oleObj>
              </mc:Choice>
              <mc:Fallback>
                <p:oleObj name="think-cell Slide" r:id="rId5" imgW="415" imgH="416" progId="TCLayout.ActiveDocument.1">
                  <p:embed/>
                  <p:pic>
                    <p:nvPicPr>
                      <p:cNvPr id="2" name="Object 1" hidden="1">
                        <a:extLst>
                          <a:ext uri="{FF2B5EF4-FFF2-40B4-BE49-F238E27FC236}">
                            <a16:creationId xmlns:a16="http://schemas.microsoft.com/office/drawing/2014/main" id="{BC2E7F1F-5DCD-7B5A-0A59-8852010919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7A570DA-DB0A-A647-9A70-CA1643FCDFA8}"/>
              </a:ext>
            </a:extLst>
          </p:cNvPr>
          <p:cNvSpPr>
            <a:spLocks noGrp="1"/>
          </p:cNvSpPr>
          <p:nvPr>
            <p:ph type="title"/>
          </p:nvPr>
        </p:nvSpPr>
        <p:spPr>
          <a:xfrm>
            <a:off x="521719" y="2605179"/>
            <a:ext cx="11154344" cy="911410"/>
          </a:xfrm>
        </p:spPr>
        <p:txBody>
          <a:bodyPr vert="horz">
            <a:normAutofit fontScale="90000"/>
          </a:bodyPr>
          <a:lstStyle/>
          <a:p>
            <a:r>
              <a:rPr lang="en-GB" sz="5400" b="0">
                <a:latin typeface="Arial"/>
                <a:cs typeface="Arial"/>
              </a:rPr>
              <a:t>Gavi CSO Consultation Webinar</a:t>
            </a:r>
            <a:br>
              <a:rPr lang="en-GB" sz="5400" b="0">
                <a:latin typeface="Arial"/>
                <a:cs typeface="Arial"/>
              </a:rPr>
            </a:br>
            <a:br>
              <a:rPr lang="en-GB" sz="5400" b="0">
                <a:latin typeface="Arial"/>
                <a:cs typeface="Arial"/>
              </a:rPr>
            </a:br>
            <a:r>
              <a:rPr lang="fr-FR" sz="5400" b="0">
                <a:latin typeface="Arial"/>
                <a:cs typeface="Arial"/>
              </a:rPr>
              <a:t>Webinaire de consultation des OSC de Gavi</a:t>
            </a:r>
            <a:br>
              <a:rPr lang="en-GB" sz="5400" b="0">
                <a:latin typeface="Arial"/>
                <a:cs typeface="Arial"/>
              </a:rPr>
            </a:br>
            <a:endParaRPr lang="en-GB" sz="4400" b="0"/>
          </a:p>
        </p:txBody>
      </p:sp>
      <p:sp>
        <p:nvSpPr>
          <p:cNvPr id="11" name="Text Placeholder 10">
            <a:extLst>
              <a:ext uri="{FF2B5EF4-FFF2-40B4-BE49-F238E27FC236}">
                <a16:creationId xmlns:a16="http://schemas.microsoft.com/office/drawing/2014/main" id="{49C90CDF-B83C-07EE-D590-F24D7086046D}"/>
              </a:ext>
            </a:extLst>
          </p:cNvPr>
          <p:cNvSpPr>
            <a:spLocks noGrp="1"/>
          </p:cNvSpPr>
          <p:nvPr>
            <p:ph type="body" sz="quarter" idx="11"/>
          </p:nvPr>
        </p:nvSpPr>
        <p:spPr/>
        <p:txBody>
          <a:bodyPr/>
          <a:lstStyle/>
          <a:p>
            <a:r>
              <a:rPr lang="en-US">
                <a:latin typeface="Arial"/>
                <a:cs typeface="Arial"/>
              </a:rPr>
              <a:t>18 September 2025; Created by Kati Collective</a:t>
            </a:r>
          </a:p>
        </p:txBody>
      </p:sp>
      <p:sp>
        <p:nvSpPr>
          <p:cNvPr id="15" name="TextBox 14">
            <a:extLst>
              <a:ext uri="{FF2B5EF4-FFF2-40B4-BE49-F238E27FC236}">
                <a16:creationId xmlns:a16="http://schemas.microsoft.com/office/drawing/2014/main" id="{4E4BF67B-1FEE-097F-EA86-2CE95E23E10E}"/>
              </a:ext>
            </a:extLst>
          </p:cNvPr>
          <p:cNvSpPr txBox="1"/>
          <p:nvPr/>
        </p:nvSpPr>
        <p:spPr>
          <a:xfrm>
            <a:off x="515938" y="5481037"/>
            <a:ext cx="7243399" cy="646331"/>
          </a:xfrm>
          <a:prstGeom prst="rect">
            <a:avLst/>
          </a:prstGeom>
          <a:noFill/>
        </p:spPr>
        <p:txBody>
          <a:bodyPr wrap="square" lIns="91440" tIns="45720" rIns="91440" bIns="45720" rtlCol="0" anchor="t">
            <a:spAutoFit/>
          </a:bodyPr>
          <a:lstStyle/>
          <a:p>
            <a:r>
              <a:rPr lang="en-US" b="1">
                <a:solidFill>
                  <a:schemeClr val="bg1"/>
                </a:solidFill>
                <a:latin typeface="Arial"/>
                <a:cs typeface="Arial"/>
              </a:rPr>
              <a:t>Gavi CSCE 2025 Webinar #2 </a:t>
            </a:r>
            <a:r>
              <a:rPr lang="en-US" sz="1800" b="1">
                <a:solidFill>
                  <a:schemeClr val="bg1"/>
                </a:solidFill>
                <a:effectLst/>
                <a:latin typeface="Aptos" panose="020B0004020202020204" pitchFamily="34" charset="0"/>
                <a:ea typeface="Aptos" panose="020B0004020202020204" pitchFamily="34" charset="0"/>
                <a:cs typeface="Times New Roman" panose="02020603050405020304" pitchFamily="18" charset="0"/>
              </a:rPr>
              <a:t>Reaching Communities in Crisis: How CSOs Deliver Impact in Fragile Settings with Gavi Support</a:t>
            </a:r>
            <a:r>
              <a:rPr lang="en-US" b="1">
                <a:solidFill>
                  <a:schemeClr val="bg1"/>
                </a:solidFill>
                <a:latin typeface="Arial"/>
                <a:cs typeface="Arial"/>
              </a:rPr>
              <a:t> </a:t>
            </a:r>
            <a:endParaRPr lang="en-US">
              <a:solidFill>
                <a:schemeClr val="bg1"/>
              </a:solidFill>
              <a:cs typeface="Calibri" panose="020F0502020204030204"/>
            </a:endParaRPr>
          </a:p>
        </p:txBody>
      </p:sp>
    </p:spTree>
    <p:extLst>
      <p:ext uri="{BB962C8B-B14F-4D97-AF65-F5344CB8AC3E}">
        <p14:creationId xmlns:p14="http://schemas.microsoft.com/office/powerpoint/2010/main" val="132995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0D853C-849D-5ACE-9881-67A6A5DFE1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8"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AD0D853C-849D-5ACE-9881-67A6A5DFE1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D113E42-A2FC-6ACA-217B-146009CE8169}"/>
              </a:ext>
            </a:extLst>
          </p:cNvPr>
          <p:cNvSpPr txBox="1"/>
          <p:nvPr/>
        </p:nvSpPr>
        <p:spPr>
          <a:xfrm>
            <a:off x="476834" y="1550663"/>
            <a:ext cx="2554127" cy="5069212"/>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Title 1">
            <a:extLst>
              <a:ext uri="{FF2B5EF4-FFF2-40B4-BE49-F238E27FC236}">
                <a16:creationId xmlns:a16="http://schemas.microsoft.com/office/drawing/2014/main" id="{39994DE4-7E1B-D3FE-AF6B-2057CC062DA8}"/>
              </a:ext>
            </a:extLst>
          </p:cNvPr>
          <p:cNvSpPr txBox="1">
            <a:spLocks/>
          </p:cNvSpPr>
          <p:nvPr/>
        </p:nvSpPr>
        <p:spPr>
          <a:xfrm>
            <a:off x="515938" y="921887"/>
            <a:ext cx="10063162" cy="27420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APEC – contribuer à la réduction du nombre d'enfants zéro dose en collaboration avec les acteurs communautaires au Sud-</a:t>
            </a:r>
            <a:r>
              <a:rPr kumimoji="0" lang="fr-FR"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Kivu</a:t>
            </a:r>
            <a:r>
              <a:rPr kumimoji="0" lang="fr"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 RDC</a:t>
            </a:r>
            <a:endParaRPr kumimoji="0" lang="en-US" sz="20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endParaRPr>
          </a:p>
        </p:txBody>
      </p:sp>
      <p:sp>
        <p:nvSpPr>
          <p:cNvPr id="11" name="Text Placeholder 1">
            <a:extLst>
              <a:ext uri="{FF2B5EF4-FFF2-40B4-BE49-F238E27FC236}">
                <a16:creationId xmlns:a16="http://schemas.microsoft.com/office/drawing/2014/main" id="{DA085808-DDCE-E257-33BE-AB874D5CA66D}"/>
              </a:ext>
            </a:extLst>
          </p:cNvPr>
          <p:cNvSpPr txBox="1">
            <a:spLocks/>
          </p:cNvSpPr>
          <p:nvPr/>
        </p:nvSpPr>
        <p:spPr>
          <a:xfrm>
            <a:off x="619979" y="2117714"/>
            <a:ext cx="2267836" cy="4037024"/>
          </a:xfrm>
          <a:prstGeom prst="rect">
            <a:avLst/>
          </a:prstGeom>
          <a:solidFill>
            <a:schemeClr val="bg1"/>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F726E542-9D92-BD1E-FF7F-B3C346030B03}"/>
              </a:ext>
            </a:extLst>
          </p:cNvPr>
          <p:cNvSpPr/>
          <p:nvPr/>
        </p:nvSpPr>
        <p:spPr>
          <a:xfrm>
            <a:off x="619979" y="1550663"/>
            <a:ext cx="2267836" cy="45785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Text Placeholder 1">
            <a:extLst>
              <a:ext uri="{FF2B5EF4-FFF2-40B4-BE49-F238E27FC236}">
                <a16:creationId xmlns:a16="http://schemas.microsoft.com/office/drawing/2014/main" id="{E7CE8A18-73A5-1486-E387-6031CB12DCCA}"/>
              </a:ext>
            </a:extLst>
          </p:cNvPr>
          <p:cNvSpPr txBox="1">
            <a:spLocks/>
          </p:cNvSpPr>
          <p:nvPr/>
        </p:nvSpPr>
        <p:spPr>
          <a:xfrm>
            <a:off x="619979" y="1604413"/>
            <a:ext cx="2267836"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18" name="Text Placeholder 1">
            <a:extLst>
              <a:ext uri="{FF2B5EF4-FFF2-40B4-BE49-F238E27FC236}">
                <a16:creationId xmlns:a16="http://schemas.microsoft.com/office/drawing/2014/main" id="{2ED55F04-C739-220B-12A1-94776A53767B}"/>
              </a:ext>
            </a:extLst>
          </p:cNvPr>
          <p:cNvSpPr txBox="1">
            <a:spLocks/>
          </p:cNvSpPr>
          <p:nvPr/>
        </p:nvSpPr>
        <p:spPr>
          <a:xfrm>
            <a:off x="736892" y="3118097"/>
            <a:ext cx="1634447"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eu : </a:t>
            </a: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d-Kivu, RDC</a:t>
            </a:r>
          </a:p>
        </p:txBody>
      </p:sp>
      <p:sp>
        <p:nvSpPr>
          <p:cNvPr id="21" name="TextBox 20">
            <a:extLst>
              <a:ext uri="{FF2B5EF4-FFF2-40B4-BE49-F238E27FC236}">
                <a16:creationId xmlns:a16="http://schemas.microsoft.com/office/drawing/2014/main" id="{CC34E8A8-DEDD-5EF7-6A02-212181B51977}"/>
              </a:ext>
            </a:extLst>
          </p:cNvPr>
          <p:cNvSpPr txBox="1"/>
          <p:nvPr/>
        </p:nvSpPr>
        <p:spPr>
          <a:xfrm>
            <a:off x="3257504" y="1550663"/>
            <a:ext cx="8354321" cy="5069212"/>
          </a:xfrm>
          <a:prstGeom prst="rect">
            <a:avLst/>
          </a:prstGeom>
          <a:solidFill>
            <a:srgbClr val="F0FAFE"/>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Rectangle 22">
            <a:extLst>
              <a:ext uri="{FF2B5EF4-FFF2-40B4-BE49-F238E27FC236}">
                <a16:creationId xmlns:a16="http://schemas.microsoft.com/office/drawing/2014/main" id="{CBB93C5F-5F8D-0B9D-CEB7-595998EBEF1A}"/>
              </a:ext>
            </a:extLst>
          </p:cNvPr>
          <p:cNvSpPr/>
          <p:nvPr/>
        </p:nvSpPr>
        <p:spPr>
          <a:xfrm>
            <a:off x="3279683" y="1550663"/>
            <a:ext cx="3657600" cy="45785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Text Placeholder 1">
            <a:extLst>
              <a:ext uri="{FF2B5EF4-FFF2-40B4-BE49-F238E27FC236}">
                <a16:creationId xmlns:a16="http://schemas.microsoft.com/office/drawing/2014/main" id="{8DFABA6E-FD38-903C-3306-EEC9956DB456}"/>
              </a:ext>
            </a:extLst>
          </p:cNvPr>
          <p:cNvSpPr txBox="1">
            <a:spLocks/>
          </p:cNvSpPr>
          <p:nvPr/>
        </p:nvSpPr>
        <p:spPr>
          <a:xfrm>
            <a:off x="3279683" y="1598463"/>
            <a:ext cx="2267836"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escription du projet</a:t>
            </a:r>
          </a:p>
        </p:txBody>
      </p:sp>
      <p:sp>
        <p:nvSpPr>
          <p:cNvPr id="28" name="Text Placeholder 1">
            <a:extLst>
              <a:ext uri="{FF2B5EF4-FFF2-40B4-BE49-F238E27FC236}">
                <a16:creationId xmlns:a16="http://schemas.microsoft.com/office/drawing/2014/main" id="{67C53866-6565-9B8F-3FC7-DF5D44745595}"/>
              </a:ext>
            </a:extLst>
          </p:cNvPr>
          <p:cNvSpPr txBox="1">
            <a:spLocks/>
          </p:cNvSpPr>
          <p:nvPr/>
        </p:nvSpPr>
        <p:spPr>
          <a:xfrm>
            <a:off x="736892" y="3759493"/>
            <a:ext cx="1633869"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Text Placeholder 1">
            <a:extLst>
              <a:ext uri="{FF2B5EF4-FFF2-40B4-BE49-F238E27FC236}">
                <a16:creationId xmlns:a16="http://schemas.microsoft.com/office/drawing/2014/main" id="{87949F6A-B084-707A-325D-1EB2C6FB2D70}"/>
              </a:ext>
            </a:extLst>
          </p:cNvPr>
          <p:cNvSpPr txBox="1">
            <a:spLocks/>
          </p:cNvSpPr>
          <p:nvPr/>
        </p:nvSpPr>
        <p:spPr>
          <a:xfrm>
            <a:off x="3274689" y="2130136"/>
            <a:ext cx="8193709" cy="4203965"/>
          </a:xfrm>
          <a:prstGeom prst="rect">
            <a:avLst/>
          </a:prstGeom>
          <a:solidFill>
            <a:schemeClr val="bg1"/>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FE7C11E0-F328-0A59-838F-3B03C12F7CC2}"/>
              </a:ext>
            </a:extLst>
          </p:cNvPr>
          <p:cNvSpPr/>
          <p:nvPr/>
        </p:nvSpPr>
        <p:spPr>
          <a:xfrm>
            <a:off x="3390899" y="2236426"/>
            <a:ext cx="1663719" cy="378340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Text Placeholder 1">
            <a:extLst>
              <a:ext uri="{FF2B5EF4-FFF2-40B4-BE49-F238E27FC236}">
                <a16:creationId xmlns:a16="http://schemas.microsoft.com/office/drawing/2014/main" id="{8C7DA8E8-5301-8390-61CE-8537DB6EFC80}"/>
              </a:ext>
            </a:extLst>
          </p:cNvPr>
          <p:cNvSpPr txBox="1">
            <a:spLocks/>
          </p:cNvSpPr>
          <p:nvPr/>
        </p:nvSpPr>
        <p:spPr>
          <a:xfrm>
            <a:off x="3717224" y="2297646"/>
            <a:ext cx="1109674"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bjectif :</a:t>
            </a:r>
          </a:p>
        </p:txBody>
      </p:sp>
      <p:sp>
        <p:nvSpPr>
          <p:cNvPr id="27" name="Rectangle 26">
            <a:extLst>
              <a:ext uri="{FF2B5EF4-FFF2-40B4-BE49-F238E27FC236}">
                <a16:creationId xmlns:a16="http://schemas.microsoft.com/office/drawing/2014/main" id="{1EBE0F23-911F-9E6D-C28D-479A527EB273}"/>
              </a:ext>
            </a:extLst>
          </p:cNvPr>
          <p:cNvSpPr/>
          <p:nvPr/>
        </p:nvSpPr>
        <p:spPr>
          <a:xfrm>
            <a:off x="5261589" y="2221673"/>
            <a:ext cx="6067371" cy="391831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9798001F-8AC0-07C3-3EB5-7D0FEB566AD3}"/>
              </a:ext>
            </a:extLst>
          </p:cNvPr>
          <p:cNvGrpSpPr/>
          <p:nvPr/>
        </p:nvGrpSpPr>
        <p:grpSpPr>
          <a:xfrm>
            <a:off x="3311979" y="3352106"/>
            <a:ext cx="2018074" cy="1394129"/>
            <a:chOff x="3311550" y="3365625"/>
            <a:chExt cx="2018074" cy="1394129"/>
          </a:xfrm>
        </p:grpSpPr>
        <p:sp>
          <p:nvSpPr>
            <p:cNvPr id="29" name="Text Placeholder 1">
              <a:extLst>
                <a:ext uri="{FF2B5EF4-FFF2-40B4-BE49-F238E27FC236}">
                  <a16:creationId xmlns:a16="http://schemas.microsoft.com/office/drawing/2014/main" id="{445EA729-2776-C858-58C6-7E758AC6087A}"/>
                </a:ext>
              </a:extLst>
            </p:cNvPr>
            <p:cNvSpPr txBox="1">
              <a:spLocks/>
            </p:cNvSpPr>
            <p:nvPr/>
          </p:nvSpPr>
          <p:spPr>
            <a:xfrm>
              <a:off x="3311550" y="3365625"/>
              <a:ext cx="2018074"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esure d'impact 1 : </a:t>
              </a:r>
            </a:p>
          </p:txBody>
        </p:sp>
        <p:sp>
          <p:nvSpPr>
            <p:cNvPr id="35" name="Text Placeholder 1">
              <a:extLst>
                <a:ext uri="{FF2B5EF4-FFF2-40B4-BE49-F238E27FC236}">
                  <a16:creationId xmlns:a16="http://schemas.microsoft.com/office/drawing/2014/main" id="{9DF20DD3-72C3-E416-65E1-3FB2AB64FB3C}"/>
                </a:ext>
              </a:extLst>
            </p:cNvPr>
            <p:cNvSpPr txBox="1">
              <a:spLocks/>
            </p:cNvSpPr>
            <p:nvPr/>
          </p:nvSpPr>
          <p:spPr>
            <a:xfrm>
              <a:off x="3459035" y="3557626"/>
              <a:ext cx="1701549"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 940</a:t>
              </a:r>
              <a:endParaRPr kumimoji="0" lang="en-GB" sz="32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Text Placeholder 1">
              <a:extLst>
                <a:ext uri="{FF2B5EF4-FFF2-40B4-BE49-F238E27FC236}">
                  <a16:creationId xmlns:a16="http://schemas.microsoft.com/office/drawing/2014/main" id="{79B0FF54-7CA4-4037-6BC2-E9430C2D4131}"/>
                </a:ext>
              </a:extLst>
            </p:cNvPr>
            <p:cNvSpPr txBox="1">
              <a:spLocks/>
            </p:cNvSpPr>
            <p:nvPr/>
          </p:nvSpPr>
          <p:spPr>
            <a:xfrm>
              <a:off x="3523878" y="4071742"/>
              <a:ext cx="1345786"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fr" sz="1400" b="0" i="1"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rPr>
                <a:t>Enfants dose zéro identifiés</a:t>
              </a:r>
            </a:p>
          </p:txBody>
        </p:sp>
      </p:grpSp>
      <p:sp>
        <p:nvSpPr>
          <p:cNvPr id="36" name="Text Placeholder 1">
            <a:extLst>
              <a:ext uri="{FF2B5EF4-FFF2-40B4-BE49-F238E27FC236}">
                <a16:creationId xmlns:a16="http://schemas.microsoft.com/office/drawing/2014/main" id="{EF53553B-07DF-C4AF-A605-6A38E3FD8D6D}"/>
              </a:ext>
            </a:extLst>
          </p:cNvPr>
          <p:cNvSpPr txBox="1">
            <a:spLocks/>
          </p:cNvSpPr>
          <p:nvPr/>
        </p:nvSpPr>
        <p:spPr>
          <a:xfrm>
            <a:off x="5340718" y="3338207"/>
            <a:ext cx="6005426" cy="772173"/>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ntégration dans le système passe par :</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rticipation aux réunions de coordination et validation des donnée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ivi de la remontée des données communautaires dans le DHIS2Tracker</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tractualisation avec les associations locales de mise en œuvre </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ccompagnement des organes de participation communautaire pour identification et suivi des enfants zéro dose et sous vaccinés</a:t>
            </a:r>
          </a:p>
        </p:txBody>
      </p:sp>
      <p:sp>
        <p:nvSpPr>
          <p:cNvPr id="42" name="Text Placeholder 1">
            <a:extLst>
              <a:ext uri="{FF2B5EF4-FFF2-40B4-BE49-F238E27FC236}">
                <a16:creationId xmlns:a16="http://schemas.microsoft.com/office/drawing/2014/main" id="{10F77E44-758F-8824-746D-0DD8A23DBBA7}"/>
              </a:ext>
            </a:extLst>
          </p:cNvPr>
          <p:cNvSpPr txBox="1">
            <a:spLocks/>
          </p:cNvSpPr>
          <p:nvPr/>
        </p:nvSpPr>
        <p:spPr>
          <a:xfrm>
            <a:off x="5327403" y="4821668"/>
            <a:ext cx="6257206" cy="971337"/>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incipaux résultats :</a:t>
            </a:r>
          </a:p>
          <a:p>
            <a:pPr marL="285750" marR="0" lvl="0" indent="-285750" algn="just"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036 CAC ont été redynamisées dans les 15 ZS FAE</a:t>
            </a:r>
          </a:p>
          <a:p>
            <a:pPr marL="285750" marR="0" lvl="0" indent="-285750" algn="just"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0 Leaders d’opinion ont été formés en approche HCD dans les 15 ZS FAE</a:t>
            </a:r>
            <a:endParaRPr kumimoji="0" lang="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37 sur 283 PFU mis en place  sont opérationnelles soit  84% </a:t>
            </a:r>
          </a:p>
          <a:p>
            <a:pPr marL="285750" marR="0" lvl="0" indent="-285750" algn="just"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83 diagnostics communautaires sont réalisés chaque trimestre </a:t>
            </a:r>
          </a:p>
          <a:p>
            <a:pPr marL="285750" marR="0" lvl="0" indent="-285750" algn="just"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 janvier à juin 2025, 88% d’ ESV, soit 12803 ESV, ont été récupérés sur le 14 528</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8" name="Group 7">
            <a:extLst>
              <a:ext uri="{FF2B5EF4-FFF2-40B4-BE49-F238E27FC236}">
                <a16:creationId xmlns:a16="http://schemas.microsoft.com/office/drawing/2014/main" id="{B3DE17AB-41E7-F2D1-3D8F-2EA7690DE32C}"/>
              </a:ext>
            </a:extLst>
          </p:cNvPr>
          <p:cNvGrpSpPr/>
          <p:nvPr/>
        </p:nvGrpSpPr>
        <p:grpSpPr>
          <a:xfrm>
            <a:off x="3322054" y="4773014"/>
            <a:ext cx="2018074" cy="1376024"/>
            <a:chOff x="3331540" y="4707257"/>
            <a:chExt cx="2018074" cy="1376024"/>
          </a:xfrm>
        </p:grpSpPr>
        <p:sp>
          <p:nvSpPr>
            <p:cNvPr id="31" name="Text Placeholder 1">
              <a:extLst>
                <a:ext uri="{FF2B5EF4-FFF2-40B4-BE49-F238E27FC236}">
                  <a16:creationId xmlns:a16="http://schemas.microsoft.com/office/drawing/2014/main" id="{B7987EB0-E654-5119-412A-19E05CE98B62}"/>
                </a:ext>
              </a:extLst>
            </p:cNvPr>
            <p:cNvSpPr txBox="1">
              <a:spLocks/>
            </p:cNvSpPr>
            <p:nvPr/>
          </p:nvSpPr>
          <p:spPr>
            <a:xfrm>
              <a:off x="3331540" y="4707257"/>
              <a:ext cx="2018074"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esure d'impact 2 : </a:t>
              </a:r>
            </a:p>
          </p:txBody>
        </p:sp>
        <p:sp>
          <p:nvSpPr>
            <p:cNvPr id="41" name="Text Placeholder 1">
              <a:extLst>
                <a:ext uri="{FF2B5EF4-FFF2-40B4-BE49-F238E27FC236}">
                  <a16:creationId xmlns:a16="http://schemas.microsoft.com/office/drawing/2014/main" id="{BED33219-09DC-8B2E-5F74-12E6BB84223F}"/>
                </a:ext>
              </a:extLst>
            </p:cNvPr>
            <p:cNvSpPr txBox="1">
              <a:spLocks/>
            </p:cNvSpPr>
            <p:nvPr/>
          </p:nvSpPr>
          <p:spPr>
            <a:xfrm>
              <a:off x="3389123" y="4912368"/>
              <a:ext cx="1650008"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FR" sz="3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9563</a:t>
              </a:r>
              <a:endParaRPr kumimoji="0" lang="en-GB" sz="3200" b="1"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Text Placeholder 1">
              <a:extLst>
                <a:ext uri="{FF2B5EF4-FFF2-40B4-BE49-F238E27FC236}">
                  <a16:creationId xmlns:a16="http://schemas.microsoft.com/office/drawing/2014/main" id="{CAC8B4F6-B77C-8A0B-748C-A222637B4166}"/>
                </a:ext>
              </a:extLst>
            </p:cNvPr>
            <p:cNvSpPr txBox="1">
              <a:spLocks/>
            </p:cNvSpPr>
            <p:nvPr/>
          </p:nvSpPr>
          <p:spPr>
            <a:xfrm>
              <a:off x="3541234" y="5395269"/>
              <a:ext cx="1345786"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fr" sz="1400" b="0" i="1"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rPr>
                <a:t>Enfants zéro dose vaccinés</a:t>
              </a:r>
            </a:p>
          </p:txBody>
        </p:sp>
      </p:grpSp>
      <p:sp>
        <p:nvSpPr>
          <p:cNvPr id="44" name="Text Placeholder 1">
            <a:extLst>
              <a:ext uri="{FF2B5EF4-FFF2-40B4-BE49-F238E27FC236}">
                <a16:creationId xmlns:a16="http://schemas.microsoft.com/office/drawing/2014/main" id="{1762B123-5568-721D-B9AA-BD70EE851E62}"/>
              </a:ext>
            </a:extLst>
          </p:cNvPr>
          <p:cNvSpPr txBox="1">
            <a:spLocks/>
          </p:cNvSpPr>
          <p:nvPr/>
        </p:nvSpPr>
        <p:spPr>
          <a:xfrm>
            <a:off x="5367344" y="2236426"/>
            <a:ext cx="5961616" cy="3960225"/>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tribuer à une réduction d'au moins 35 % du taux d'enfants zéro dose au Sud-Kivu d'ici fin 2025</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NRU, APEC, 15 OSC locales, DPS Sud-Kivu, </a:t>
            </a:r>
            <a:r>
              <a:rPr kumimoji="0" lang="fr-FR"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BCZs</a:t>
            </a:r>
            <a:r>
              <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ssociation locales, CAC, PFU</a:t>
            </a:r>
            <a:endPar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Text Placeholder 1">
            <a:extLst>
              <a:ext uri="{FF2B5EF4-FFF2-40B4-BE49-F238E27FC236}">
                <a16:creationId xmlns:a16="http://schemas.microsoft.com/office/drawing/2014/main" id="{4D249127-0DF6-73F1-CE0E-3312F4FB19DD}"/>
              </a:ext>
            </a:extLst>
          </p:cNvPr>
          <p:cNvSpPr txBox="1">
            <a:spLocks/>
          </p:cNvSpPr>
          <p:nvPr/>
        </p:nvSpPr>
        <p:spPr>
          <a:xfrm>
            <a:off x="720562" y="2084902"/>
            <a:ext cx="1775750"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tervention :</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ctivités au niveau communautaire </a:t>
            </a:r>
          </a:p>
        </p:txBody>
      </p:sp>
      <p:sp>
        <p:nvSpPr>
          <p:cNvPr id="50" name="Text Placeholder 1">
            <a:extLst>
              <a:ext uri="{FF2B5EF4-FFF2-40B4-BE49-F238E27FC236}">
                <a16:creationId xmlns:a16="http://schemas.microsoft.com/office/drawing/2014/main" id="{4A6F8763-C785-6ED1-FAA8-35C0BD526468}"/>
              </a:ext>
            </a:extLst>
          </p:cNvPr>
          <p:cNvSpPr txBox="1">
            <a:spLocks/>
          </p:cNvSpPr>
          <p:nvPr/>
        </p:nvSpPr>
        <p:spPr>
          <a:xfrm>
            <a:off x="736892" y="4912368"/>
            <a:ext cx="1654084" cy="929256"/>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urée du projet :</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pt. 2023 – </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éc. 2025</a:t>
            </a:r>
          </a:p>
        </p:txBody>
      </p:sp>
      <p:pic>
        <p:nvPicPr>
          <p:cNvPr id="52" name="Picture 51" descr="Une horloge et une flèche dans un cercle&#10;&#10;Description générée automatiquement">
            <a:extLst>
              <a:ext uri="{FF2B5EF4-FFF2-40B4-BE49-F238E27FC236}">
                <a16:creationId xmlns:a16="http://schemas.microsoft.com/office/drawing/2014/main" id="{97898CE0-321E-A4A1-F7BF-0B5C9A41ED4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34973" y="5126499"/>
            <a:ext cx="456256" cy="456256"/>
          </a:xfrm>
          <a:prstGeom prst="rect">
            <a:avLst/>
          </a:prstGeom>
        </p:spPr>
      </p:pic>
      <p:pic>
        <p:nvPicPr>
          <p:cNvPr id="54" name="Picture 53" descr="Une pile de pièces avec un chapeau dessus&#10;&#10;Description générée automatiquement">
            <a:extLst>
              <a:ext uri="{FF2B5EF4-FFF2-40B4-BE49-F238E27FC236}">
                <a16:creationId xmlns:a16="http://schemas.microsoft.com/office/drawing/2014/main" id="{2DB38A82-902A-AE47-97C6-7B0AF5EFF089}"/>
              </a:ext>
            </a:extLst>
          </p:cNvPr>
          <p:cNvPicPr>
            <a:picLocks noChangeAspect="1"/>
          </p:cNvPicPr>
          <p:nvPr/>
        </p:nvPicPr>
        <p:blipFill>
          <a:blip r:embed="rId8" cstate="email">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tretch>
            <a:fillRect/>
          </a:stretch>
        </p:blipFill>
        <p:spPr>
          <a:xfrm>
            <a:off x="2169664" y="3956741"/>
            <a:ext cx="507979" cy="507979"/>
          </a:xfrm>
          <a:prstGeom prst="rect">
            <a:avLst/>
          </a:prstGeom>
        </p:spPr>
      </p:pic>
      <p:pic>
        <p:nvPicPr>
          <p:cNvPr id="56" name="Picture 55" descr="Gros plan d'un engrenage&#10;&#10;Description générée automatiquement">
            <a:extLst>
              <a:ext uri="{FF2B5EF4-FFF2-40B4-BE49-F238E27FC236}">
                <a16:creationId xmlns:a16="http://schemas.microsoft.com/office/drawing/2014/main" id="{B528483E-A1DD-C81A-F901-2983EEECA69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216547" y="2176396"/>
            <a:ext cx="559529" cy="559529"/>
          </a:xfrm>
          <a:prstGeom prst="rect">
            <a:avLst/>
          </a:prstGeom>
        </p:spPr>
      </p:pic>
      <p:pic>
        <p:nvPicPr>
          <p:cNvPr id="6" name="Picture 5">
            <a:extLst>
              <a:ext uri="{FF2B5EF4-FFF2-40B4-BE49-F238E27FC236}">
                <a16:creationId xmlns:a16="http://schemas.microsoft.com/office/drawing/2014/main" id="{B742AD6C-49BC-59BE-94FD-66132283BD90}"/>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2182274" y="3202402"/>
            <a:ext cx="555566" cy="335864"/>
          </a:xfrm>
          <a:prstGeom prst="rect">
            <a:avLst/>
          </a:prstGeom>
        </p:spPr>
      </p:pic>
      <p:pic>
        <p:nvPicPr>
          <p:cNvPr id="38" name="Image 37" descr="http://50.116.44.194:8000/img/logo.png"/>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740871" y="208380"/>
            <a:ext cx="710258" cy="643172"/>
          </a:xfrm>
          <a:prstGeom prst="rect">
            <a:avLst/>
          </a:prstGeom>
          <a:noFill/>
          <a:ln>
            <a:noFill/>
          </a:ln>
        </p:spPr>
      </p:pic>
      <p:pic>
        <p:nvPicPr>
          <p:cNvPr id="39" name="Img1" descr="GAVI Logo"/>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966960" y="238126"/>
            <a:ext cx="1183548" cy="667088"/>
          </a:xfrm>
          <a:prstGeom prst="rect">
            <a:avLst/>
          </a:prstGeom>
          <a:noFill/>
          <a:ln>
            <a:noFill/>
          </a:ln>
        </p:spPr>
      </p:pic>
      <p:pic>
        <p:nvPicPr>
          <p:cNvPr id="40" name="Image 39"/>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86540" y="276610"/>
            <a:ext cx="887396" cy="544424"/>
          </a:xfrm>
          <a:prstGeom prst="rect">
            <a:avLst/>
          </a:prstGeom>
          <a:noFill/>
          <a:ln>
            <a:noFill/>
          </a:ln>
        </p:spPr>
      </p:pic>
      <p:sp>
        <p:nvSpPr>
          <p:cNvPr id="2" name="Text Placeholder 1">
            <a:extLst>
              <a:ext uri="{FF2B5EF4-FFF2-40B4-BE49-F238E27FC236}">
                <a16:creationId xmlns:a16="http://schemas.microsoft.com/office/drawing/2014/main" id="{58B0FF33-6A3A-2954-F82D-CF6568A7E3C0}"/>
              </a:ext>
            </a:extLst>
          </p:cNvPr>
          <p:cNvSpPr txBox="1">
            <a:spLocks/>
          </p:cNvSpPr>
          <p:nvPr/>
        </p:nvSpPr>
        <p:spPr>
          <a:xfrm>
            <a:off x="746710" y="4031151"/>
            <a:ext cx="1634447"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udget : 641472$</a:t>
            </a:r>
            <a:endParaRPr kumimoji="0" lang="fr" sz="1200" b="0" i="0" u="none" strike="noStrike" kern="1200" cap="none" spc="0" normalizeH="0" baseline="0" noProof="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3" name="Text Placeholder 1">
            <a:extLst>
              <a:ext uri="{FF2B5EF4-FFF2-40B4-BE49-F238E27FC236}">
                <a16:creationId xmlns:a16="http://schemas.microsoft.com/office/drawing/2014/main" id="{84F65B79-0C21-3201-9395-5E16CC3F16C4}"/>
              </a:ext>
            </a:extLst>
          </p:cNvPr>
          <p:cNvSpPr txBox="1">
            <a:spLocks/>
          </p:cNvSpPr>
          <p:nvPr/>
        </p:nvSpPr>
        <p:spPr>
          <a:xfrm>
            <a:off x="3502290" y="2702872"/>
            <a:ext cx="1361864"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rties prenantes :</a:t>
            </a:r>
          </a:p>
        </p:txBody>
      </p:sp>
    </p:spTree>
    <p:extLst>
      <p:ext uri="{BB962C8B-B14F-4D97-AF65-F5344CB8AC3E}">
        <p14:creationId xmlns:p14="http://schemas.microsoft.com/office/powerpoint/2010/main" val="36667977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0D853C-849D-5ACE-9881-67A6A5DFE1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2"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AD0D853C-849D-5ACE-9881-67A6A5DFE1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ext Placeholder 1">
            <a:extLst>
              <a:ext uri="{FF2B5EF4-FFF2-40B4-BE49-F238E27FC236}">
                <a16:creationId xmlns:a16="http://schemas.microsoft.com/office/drawing/2014/main" id="{E7CE8A18-73A5-1486-E387-6031CB12DCCA}"/>
              </a:ext>
            </a:extLst>
          </p:cNvPr>
          <p:cNvSpPr txBox="1">
            <a:spLocks/>
          </p:cNvSpPr>
          <p:nvPr/>
        </p:nvSpPr>
        <p:spPr>
          <a:xfrm>
            <a:off x="655127" y="1664974"/>
            <a:ext cx="3473387"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39" name="Rectangle 38">
            <a:extLst>
              <a:ext uri="{FF2B5EF4-FFF2-40B4-BE49-F238E27FC236}">
                <a16:creationId xmlns:a16="http://schemas.microsoft.com/office/drawing/2014/main" id="{CED2D1C8-60BB-6B4A-A0D5-503497D81340}"/>
              </a:ext>
            </a:extLst>
          </p:cNvPr>
          <p:cNvSpPr/>
          <p:nvPr/>
        </p:nvSpPr>
        <p:spPr>
          <a:xfrm>
            <a:off x="619977" y="1550663"/>
            <a:ext cx="4207662" cy="457850"/>
          </a:xfrm>
          <a:prstGeom prst="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0" name="Text Placeholder 1">
            <a:extLst>
              <a:ext uri="{FF2B5EF4-FFF2-40B4-BE49-F238E27FC236}">
                <a16:creationId xmlns:a16="http://schemas.microsoft.com/office/drawing/2014/main" id="{1D49926E-E7AF-F136-A36F-5E50AE216D86}"/>
              </a:ext>
            </a:extLst>
          </p:cNvPr>
          <p:cNvSpPr txBox="1">
            <a:spLocks/>
          </p:cNvSpPr>
          <p:nvPr/>
        </p:nvSpPr>
        <p:spPr>
          <a:xfrm>
            <a:off x="619979" y="1664975"/>
            <a:ext cx="3170682" cy="227326"/>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arte </a:t>
            </a:r>
          </a:p>
        </p:txBody>
      </p:sp>
      <p:sp>
        <p:nvSpPr>
          <p:cNvPr id="6" name="Text Placeholder 1">
            <a:extLst>
              <a:ext uri="{FF2B5EF4-FFF2-40B4-BE49-F238E27FC236}">
                <a16:creationId xmlns:a16="http://schemas.microsoft.com/office/drawing/2014/main" id="{A7C4ED3F-7EB9-EB54-94EA-FDB24FEC36FE}"/>
              </a:ext>
            </a:extLst>
          </p:cNvPr>
          <p:cNvSpPr txBox="1">
            <a:spLocks/>
          </p:cNvSpPr>
          <p:nvPr/>
        </p:nvSpPr>
        <p:spPr>
          <a:xfrm>
            <a:off x="619978" y="5555469"/>
            <a:ext cx="4207661" cy="1150131"/>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e projet est mis en œuvre dans 15 ZS soutenant 283 aires de santé, en se concentrant sur les communautés zéro dose et sous-vacciné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1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es ZS du projet FAE sont coloriées en vert</a:t>
            </a:r>
          </a:p>
        </p:txBody>
      </p:sp>
      <p:sp>
        <p:nvSpPr>
          <p:cNvPr id="46" name="Text Placeholder 1">
            <a:extLst>
              <a:ext uri="{FF2B5EF4-FFF2-40B4-BE49-F238E27FC236}">
                <a16:creationId xmlns:a16="http://schemas.microsoft.com/office/drawing/2014/main" id="{D0611986-3E0D-2AA2-D1B4-9733183A8542}"/>
              </a:ext>
            </a:extLst>
          </p:cNvPr>
          <p:cNvSpPr txBox="1">
            <a:spLocks/>
          </p:cNvSpPr>
          <p:nvPr/>
        </p:nvSpPr>
        <p:spPr>
          <a:xfrm>
            <a:off x="8471182" y="1664974"/>
            <a:ext cx="2470011"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68" name="Rectangle 67">
            <a:extLst>
              <a:ext uri="{FF2B5EF4-FFF2-40B4-BE49-F238E27FC236}">
                <a16:creationId xmlns:a16="http://schemas.microsoft.com/office/drawing/2014/main" id="{F05ED1B1-D9BA-2E17-4A9D-ED1030EE6F61}"/>
              </a:ext>
            </a:extLst>
          </p:cNvPr>
          <p:cNvSpPr/>
          <p:nvPr/>
        </p:nvSpPr>
        <p:spPr>
          <a:xfrm>
            <a:off x="5114352" y="1551926"/>
            <a:ext cx="6933486" cy="457850"/>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9" name="Text Placeholder 1">
            <a:extLst>
              <a:ext uri="{FF2B5EF4-FFF2-40B4-BE49-F238E27FC236}">
                <a16:creationId xmlns:a16="http://schemas.microsoft.com/office/drawing/2014/main" id="{8893F04C-B0A0-6283-6445-D6757B0D504A}"/>
              </a:ext>
            </a:extLst>
          </p:cNvPr>
          <p:cNvSpPr txBox="1">
            <a:spLocks/>
          </p:cNvSpPr>
          <p:nvPr/>
        </p:nvSpPr>
        <p:spPr>
          <a:xfrm>
            <a:off x="5160520" y="1637574"/>
            <a:ext cx="2470011"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hotos de terrain</a:t>
            </a:r>
          </a:p>
        </p:txBody>
      </p:sp>
      <p:sp>
        <p:nvSpPr>
          <p:cNvPr id="7" name="Title 1">
            <a:extLst>
              <a:ext uri="{FF2B5EF4-FFF2-40B4-BE49-F238E27FC236}">
                <a16:creationId xmlns:a16="http://schemas.microsoft.com/office/drawing/2014/main" id="{5E95D9A0-DDAC-86F8-A9E8-96C266454CC2}"/>
              </a:ext>
            </a:extLst>
          </p:cNvPr>
          <p:cNvSpPr txBox="1">
            <a:spLocks/>
          </p:cNvSpPr>
          <p:nvPr/>
        </p:nvSpPr>
        <p:spPr>
          <a:xfrm>
            <a:off x="576420" y="950094"/>
            <a:ext cx="10063162" cy="27420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APEC – contribuer à la réduction du nombre d'enfants zéro dose en collaboration avec les acteurs communautaires au Sud-</a:t>
            </a:r>
            <a:r>
              <a:rPr kumimoji="0" lang="fr-FR"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Kivu</a:t>
            </a:r>
            <a:r>
              <a:rPr kumimoji="0" lang="fr"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 RDC</a:t>
            </a:r>
            <a:endParaRPr kumimoji="0" lang="en-US" sz="20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endParaRPr>
          </a:p>
        </p:txBody>
      </p:sp>
      <p:pic>
        <p:nvPicPr>
          <p:cNvPr id="18" name="Imag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14351" y="4419600"/>
            <a:ext cx="3067621" cy="2230020"/>
          </a:xfrm>
          <a:prstGeom prst="rect">
            <a:avLst/>
          </a:prstGeom>
        </p:spPr>
      </p:pic>
      <p:pic>
        <p:nvPicPr>
          <p:cNvPr id="2" name="Imag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77225" y="4418337"/>
            <a:ext cx="3770611" cy="2231283"/>
          </a:xfrm>
          <a:prstGeom prst="rect">
            <a:avLst/>
          </a:prstGeom>
        </p:spPr>
      </p:pic>
      <p:pic>
        <p:nvPicPr>
          <p:cNvPr id="5" name="Image 37" descr="http://50.116.44.194:8000/img/logo.png">
            <a:extLst>
              <a:ext uri="{FF2B5EF4-FFF2-40B4-BE49-F238E27FC236}">
                <a16:creationId xmlns:a16="http://schemas.microsoft.com/office/drawing/2014/main" id="{23074228-AC85-C842-2385-6C7A6FFE7F52}"/>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740871" y="208380"/>
            <a:ext cx="710258" cy="643172"/>
          </a:xfrm>
          <a:prstGeom prst="rect">
            <a:avLst/>
          </a:prstGeom>
          <a:noFill/>
          <a:ln>
            <a:noFill/>
          </a:ln>
        </p:spPr>
      </p:pic>
      <p:pic>
        <p:nvPicPr>
          <p:cNvPr id="8" name="Img1" descr="GAVI Logo">
            <a:extLst>
              <a:ext uri="{FF2B5EF4-FFF2-40B4-BE49-F238E27FC236}">
                <a16:creationId xmlns:a16="http://schemas.microsoft.com/office/drawing/2014/main" id="{C0BF79FC-C92C-ACE2-1C1C-3B6D428EE8F8}"/>
              </a:ext>
            </a:extLst>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966960" y="238126"/>
            <a:ext cx="1183548" cy="667088"/>
          </a:xfrm>
          <a:prstGeom prst="rect">
            <a:avLst/>
          </a:prstGeom>
          <a:noFill/>
          <a:ln>
            <a:noFill/>
          </a:ln>
        </p:spPr>
      </p:pic>
      <p:pic>
        <p:nvPicPr>
          <p:cNvPr id="9" name="Image 39">
            <a:extLst>
              <a:ext uri="{FF2B5EF4-FFF2-40B4-BE49-F238E27FC236}">
                <a16:creationId xmlns:a16="http://schemas.microsoft.com/office/drawing/2014/main" id="{E7E2791E-9F8C-7E83-0C28-7A1B34F7D120}"/>
              </a:ext>
            </a:extLst>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86540" y="276610"/>
            <a:ext cx="887396" cy="544424"/>
          </a:xfrm>
          <a:prstGeom prst="rect">
            <a:avLst/>
          </a:prstGeom>
          <a:noFill/>
          <a:ln>
            <a:noFill/>
          </a:ln>
        </p:spPr>
      </p:pic>
      <p:pic>
        <p:nvPicPr>
          <p:cNvPr id="19" name="Image 18" descr="Une image contenant plein air, arbre, habits, personne&#10;&#10;Le contenu généré par l’IA peut être incorrect.">
            <a:extLst>
              <a:ext uri="{FF2B5EF4-FFF2-40B4-BE49-F238E27FC236}">
                <a16:creationId xmlns:a16="http://schemas.microsoft.com/office/drawing/2014/main" id="{4C9EE416-F928-5BD2-8DA7-AC06BA69859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277225" y="2121561"/>
            <a:ext cx="3770611" cy="2213376"/>
          </a:xfrm>
          <a:prstGeom prst="rect">
            <a:avLst/>
          </a:prstGeom>
        </p:spPr>
      </p:pic>
      <p:pic>
        <p:nvPicPr>
          <p:cNvPr id="25" name="Image 24" descr="Une image contenant plein air, arbre, ciel, sol&#10;&#10;Le contenu généré par l’IA peut être incorrect.">
            <a:extLst>
              <a:ext uri="{FF2B5EF4-FFF2-40B4-BE49-F238E27FC236}">
                <a16:creationId xmlns:a16="http://schemas.microsoft.com/office/drawing/2014/main" id="{C648A789-0408-1185-3152-0D31C353D4E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114350" y="2121561"/>
            <a:ext cx="3067622" cy="2213376"/>
          </a:xfrm>
          <a:prstGeom prst="rect">
            <a:avLst/>
          </a:prstGeom>
        </p:spPr>
      </p:pic>
      <p:pic>
        <p:nvPicPr>
          <p:cNvPr id="11" name="Image 10" descr="Une image contenant texte, diagramme, capture d’écran, carte&#10;&#10;Le contenu généré par l’IA peut être incorrect.">
            <a:extLst>
              <a:ext uri="{FF2B5EF4-FFF2-40B4-BE49-F238E27FC236}">
                <a16:creationId xmlns:a16="http://schemas.microsoft.com/office/drawing/2014/main" id="{875AADFA-CDB8-EF3F-D51B-6DF03F25979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6576" y="1579238"/>
            <a:ext cx="5013330" cy="3545212"/>
          </a:xfrm>
          <a:prstGeom prst="rect">
            <a:avLst/>
          </a:prstGeom>
        </p:spPr>
      </p:pic>
    </p:spTree>
    <p:extLst>
      <p:ext uri="{BB962C8B-B14F-4D97-AF65-F5344CB8AC3E}">
        <p14:creationId xmlns:p14="http://schemas.microsoft.com/office/powerpoint/2010/main" val="27414217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7C31AC-BAA0-FEEA-95E5-4693A51784E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62DBA7-A4F2-7361-1AE4-C4D15FD24D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6"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5F62DBA7-A4F2-7361-1AE4-C4D15FD24D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D80DFF76-9657-1CA1-9DA8-EDD25D2E334F}"/>
              </a:ext>
            </a:extLst>
          </p:cNvPr>
          <p:cNvSpPr txBox="1">
            <a:spLocks/>
          </p:cNvSpPr>
          <p:nvPr/>
        </p:nvSpPr>
        <p:spPr>
          <a:xfrm>
            <a:off x="619978" y="1000997"/>
            <a:ext cx="10063162" cy="27420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APEC – contribuer à la réduction du nombre d'enfants zéro dose en collaboration avec les acteurs communautaires au Sud-</a:t>
            </a:r>
            <a:r>
              <a:rPr kumimoji="0" lang="fr-FR"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Kivu</a:t>
            </a:r>
            <a:r>
              <a:rPr kumimoji="0" lang="fr"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 RDC</a:t>
            </a:r>
            <a:endParaRPr kumimoji="0" lang="en-US" sz="20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endParaRPr>
          </a:p>
        </p:txBody>
      </p:sp>
      <p:sp>
        <p:nvSpPr>
          <p:cNvPr id="3" name="Text Placeholder 1">
            <a:extLst>
              <a:ext uri="{FF2B5EF4-FFF2-40B4-BE49-F238E27FC236}">
                <a16:creationId xmlns:a16="http://schemas.microsoft.com/office/drawing/2014/main" id="{CDD72C8E-3211-E545-5D18-D52532A4B56F}"/>
              </a:ext>
            </a:extLst>
          </p:cNvPr>
          <p:cNvSpPr txBox="1">
            <a:spLocks/>
          </p:cNvSpPr>
          <p:nvPr/>
        </p:nvSpPr>
        <p:spPr>
          <a:xfrm>
            <a:off x="4347755" y="2134473"/>
            <a:ext cx="3473387" cy="3800486"/>
          </a:xfrm>
          <a:prstGeom prst="rect">
            <a:avLst/>
          </a:prstGeom>
          <a:solidFill>
            <a:schemeClr val="bg1"/>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5" name="Text Placeholder 1">
            <a:extLst>
              <a:ext uri="{FF2B5EF4-FFF2-40B4-BE49-F238E27FC236}">
                <a16:creationId xmlns:a16="http://schemas.microsoft.com/office/drawing/2014/main" id="{3A704841-86C1-46F7-7CFB-6B45079ECF39}"/>
              </a:ext>
            </a:extLst>
          </p:cNvPr>
          <p:cNvSpPr txBox="1">
            <a:spLocks/>
          </p:cNvSpPr>
          <p:nvPr/>
        </p:nvSpPr>
        <p:spPr>
          <a:xfrm>
            <a:off x="4403838" y="1664974"/>
            <a:ext cx="2301634"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46" name="Text Placeholder 1">
            <a:extLst>
              <a:ext uri="{FF2B5EF4-FFF2-40B4-BE49-F238E27FC236}">
                <a16:creationId xmlns:a16="http://schemas.microsoft.com/office/drawing/2014/main" id="{85AE16BD-0A7D-669F-D088-073C90D257F9}"/>
              </a:ext>
            </a:extLst>
          </p:cNvPr>
          <p:cNvSpPr txBox="1">
            <a:spLocks/>
          </p:cNvSpPr>
          <p:nvPr/>
        </p:nvSpPr>
        <p:spPr>
          <a:xfrm>
            <a:off x="8187697" y="1664974"/>
            <a:ext cx="2301634"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13" name="Text Placeholder 1">
            <a:extLst>
              <a:ext uri="{FF2B5EF4-FFF2-40B4-BE49-F238E27FC236}">
                <a16:creationId xmlns:a16="http://schemas.microsoft.com/office/drawing/2014/main" id="{6FFDE23E-413D-4EC0-77FD-913E337C8C06}"/>
              </a:ext>
            </a:extLst>
          </p:cNvPr>
          <p:cNvSpPr txBox="1">
            <a:spLocks/>
          </p:cNvSpPr>
          <p:nvPr/>
        </p:nvSpPr>
        <p:spPr>
          <a:xfrm>
            <a:off x="655127" y="1664974"/>
            <a:ext cx="3473387"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39" name="Rectangle 38">
            <a:extLst>
              <a:ext uri="{FF2B5EF4-FFF2-40B4-BE49-F238E27FC236}">
                <a16:creationId xmlns:a16="http://schemas.microsoft.com/office/drawing/2014/main" id="{CB2FA45D-517E-D7C9-620E-983A056FE973}"/>
              </a:ext>
            </a:extLst>
          </p:cNvPr>
          <p:cNvSpPr/>
          <p:nvPr/>
        </p:nvSpPr>
        <p:spPr>
          <a:xfrm>
            <a:off x="619977" y="1550663"/>
            <a:ext cx="3690765" cy="45785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0" name="Text Placeholder 1">
            <a:extLst>
              <a:ext uri="{FF2B5EF4-FFF2-40B4-BE49-F238E27FC236}">
                <a16:creationId xmlns:a16="http://schemas.microsoft.com/office/drawing/2014/main" id="{820640A8-1E47-4CDE-C742-CAD5EBE64455}"/>
              </a:ext>
            </a:extLst>
          </p:cNvPr>
          <p:cNvSpPr txBox="1">
            <a:spLocks/>
          </p:cNvSpPr>
          <p:nvPr/>
        </p:nvSpPr>
        <p:spPr>
          <a:xfrm>
            <a:off x="655126" y="1619327"/>
            <a:ext cx="3170682" cy="227326"/>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Victoires et succès du projet</a:t>
            </a:r>
          </a:p>
        </p:txBody>
      </p:sp>
      <p:sp>
        <p:nvSpPr>
          <p:cNvPr id="47" name="Text Placeholder 1">
            <a:extLst>
              <a:ext uri="{FF2B5EF4-FFF2-40B4-BE49-F238E27FC236}">
                <a16:creationId xmlns:a16="http://schemas.microsoft.com/office/drawing/2014/main" id="{150A23C2-10DB-CD0D-E944-6B62BEC3B45C}"/>
              </a:ext>
            </a:extLst>
          </p:cNvPr>
          <p:cNvSpPr txBox="1">
            <a:spLocks/>
          </p:cNvSpPr>
          <p:nvPr/>
        </p:nvSpPr>
        <p:spPr>
          <a:xfrm>
            <a:off x="1238960" y="2065254"/>
            <a:ext cx="3115326" cy="2080248"/>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e réseau des OAC, CAC,  PFU, CODESA sous la coordination d’APEC qui jouissent du statut neutre a permis le renforcement du financement des OSC, la pérennisation du diagnostic communautaire par plateforme des usagers et la poursuite des activités dans le contexte de conflit armé au Sud Kivu de janvier à ce jour.</a:t>
            </a:r>
          </a:p>
        </p:txBody>
      </p:sp>
      <p:sp>
        <p:nvSpPr>
          <p:cNvPr id="51" name="Text Placeholder 1">
            <a:extLst>
              <a:ext uri="{FF2B5EF4-FFF2-40B4-BE49-F238E27FC236}">
                <a16:creationId xmlns:a16="http://schemas.microsoft.com/office/drawing/2014/main" id="{5A13A729-5DDE-980C-2B1E-56D114A00FCC}"/>
              </a:ext>
            </a:extLst>
          </p:cNvPr>
          <p:cNvSpPr txBox="1">
            <a:spLocks/>
          </p:cNvSpPr>
          <p:nvPr/>
        </p:nvSpPr>
        <p:spPr>
          <a:xfrm>
            <a:off x="1186543" y="4199356"/>
            <a:ext cx="3178628" cy="2582444"/>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ans les 6 zones en proie à l’insécurité,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 408 enfants ZD sur 4 018 (84,8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et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 261 enfants SV sur 4 879 (87,3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ont été récupérés, contre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9 563 ZD sur 10 940 (87,4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et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2 803 SV sur 14 528 (88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dans l’ensemble des 15 zones entre janvier et juin 2025.</a:t>
            </a:r>
          </a:p>
          <a:p>
            <a:pPr marL="0" marR="0" lvl="0" indent="0" algn="just"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es zones affectées ont atteint des niveaux de récupération proches de la moyenne globale des 15 zones de santé appuyées, traduisant une résilience importante des interventions communautaires.</a:t>
            </a:r>
            <a:endPar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 name="Text Placeholder 1">
            <a:extLst>
              <a:ext uri="{FF2B5EF4-FFF2-40B4-BE49-F238E27FC236}">
                <a16:creationId xmlns:a16="http://schemas.microsoft.com/office/drawing/2014/main" id="{770C86C7-C314-FAC2-0D3A-203000231CB5}"/>
              </a:ext>
            </a:extLst>
          </p:cNvPr>
          <p:cNvSpPr txBox="1">
            <a:spLocks/>
          </p:cNvSpPr>
          <p:nvPr/>
        </p:nvSpPr>
        <p:spPr>
          <a:xfrm>
            <a:off x="619978" y="2094310"/>
            <a:ext cx="434891" cy="876373"/>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2" name="Text Placeholder 1">
            <a:extLst>
              <a:ext uri="{FF2B5EF4-FFF2-40B4-BE49-F238E27FC236}">
                <a16:creationId xmlns:a16="http://schemas.microsoft.com/office/drawing/2014/main" id="{C29917E5-08EE-0504-E516-8FA83654F278}"/>
              </a:ext>
            </a:extLst>
          </p:cNvPr>
          <p:cNvSpPr txBox="1">
            <a:spLocks/>
          </p:cNvSpPr>
          <p:nvPr/>
        </p:nvSpPr>
        <p:spPr>
          <a:xfrm>
            <a:off x="619978" y="4236173"/>
            <a:ext cx="434891" cy="876373"/>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7" name="Text Placeholder 1">
            <a:extLst>
              <a:ext uri="{FF2B5EF4-FFF2-40B4-BE49-F238E27FC236}">
                <a16:creationId xmlns:a16="http://schemas.microsoft.com/office/drawing/2014/main" id="{B59D1391-986C-1C9E-9CE9-0D1E53412680}"/>
              </a:ext>
            </a:extLst>
          </p:cNvPr>
          <p:cNvSpPr txBox="1">
            <a:spLocks/>
          </p:cNvSpPr>
          <p:nvPr/>
        </p:nvSpPr>
        <p:spPr>
          <a:xfrm>
            <a:off x="4347754" y="1666237"/>
            <a:ext cx="3473387"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68" name="Rectangle 67">
            <a:extLst>
              <a:ext uri="{FF2B5EF4-FFF2-40B4-BE49-F238E27FC236}">
                <a16:creationId xmlns:a16="http://schemas.microsoft.com/office/drawing/2014/main" id="{AB503F7E-F808-8C3D-ECA8-947241F27EE2}"/>
              </a:ext>
            </a:extLst>
          </p:cNvPr>
          <p:cNvSpPr/>
          <p:nvPr/>
        </p:nvSpPr>
        <p:spPr>
          <a:xfrm>
            <a:off x="4606520" y="1584583"/>
            <a:ext cx="3473386" cy="456588"/>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9" name="Text Placeholder 1">
            <a:extLst>
              <a:ext uri="{FF2B5EF4-FFF2-40B4-BE49-F238E27FC236}">
                <a16:creationId xmlns:a16="http://schemas.microsoft.com/office/drawing/2014/main" id="{9EECE1E5-E520-6A93-9887-F6E91E49A47B}"/>
              </a:ext>
            </a:extLst>
          </p:cNvPr>
          <p:cNvSpPr txBox="1">
            <a:spLocks/>
          </p:cNvSpPr>
          <p:nvPr/>
        </p:nvSpPr>
        <p:spPr>
          <a:xfrm>
            <a:off x="4752085" y="1610949"/>
            <a:ext cx="3261914"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incipaux défis à relever</a:t>
            </a:r>
          </a:p>
        </p:txBody>
      </p:sp>
      <p:grpSp>
        <p:nvGrpSpPr>
          <p:cNvPr id="70" name="Group 69">
            <a:extLst>
              <a:ext uri="{FF2B5EF4-FFF2-40B4-BE49-F238E27FC236}">
                <a16:creationId xmlns:a16="http://schemas.microsoft.com/office/drawing/2014/main" id="{056F5900-A614-E56B-7331-24AE0B9C4E85}"/>
              </a:ext>
            </a:extLst>
          </p:cNvPr>
          <p:cNvGrpSpPr/>
          <p:nvPr/>
        </p:nvGrpSpPr>
        <p:grpSpPr>
          <a:xfrm>
            <a:off x="4617405" y="2053626"/>
            <a:ext cx="3473387" cy="4330847"/>
            <a:chOff x="619978" y="2035242"/>
            <a:chExt cx="3422382" cy="4014681"/>
          </a:xfrm>
        </p:grpSpPr>
        <p:sp>
          <p:nvSpPr>
            <p:cNvPr id="71" name="Text Placeholder 1">
              <a:extLst>
                <a:ext uri="{FF2B5EF4-FFF2-40B4-BE49-F238E27FC236}">
                  <a16:creationId xmlns:a16="http://schemas.microsoft.com/office/drawing/2014/main" id="{013320DF-500A-67D5-2B01-11D243B8E52A}"/>
                </a:ext>
              </a:extLst>
            </p:cNvPr>
            <p:cNvSpPr txBox="1">
              <a:spLocks/>
            </p:cNvSpPr>
            <p:nvPr/>
          </p:nvSpPr>
          <p:spPr>
            <a:xfrm>
              <a:off x="1083117" y="2035242"/>
              <a:ext cx="2959243" cy="1928383"/>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nsuffisance des outils de collecte des données communautaires entraine la deperdition des données. R</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etard</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dans le décaissement des fonds pour assurer un déroulement régulier et efficace des activités. La période du décaissement des fonds ne correspond pas à celle de réalisation de l’activité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nexion internet limitée (faible visibilité des données dans DHIS2)</a:t>
              </a:r>
              <a:endPar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 name="Text Placeholder 1">
              <a:extLst>
                <a:ext uri="{FF2B5EF4-FFF2-40B4-BE49-F238E27FC236}">
                  <a16:creationId xmlns:a16="http://schemas.microsoft.com/office/drawing/2014/main" id="{AA213D42-0DD6-3ED5-533B-D8B56D1C45D9}"/>
                </a:ext>
              </a:extLst>
            </p:cNvPr>
            <p:cNvSpPr txBox="1">
              <a:spLocks/>
            </p:cNvSpPr>
            <p:nvPr/>
          </p:nvSpPr>
          <p:spPr>
            <a:xfrm>
              <a:off x="1083117" y="4024755"/>
              <a:ext cx="2959243" cy="2025168"/>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sécurité</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 </a:t>
              </a:r>
            </a:p>
            <a:p>
              <a:pPr marL="0" marR="0" lvl="0" indent="0" algn="just"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appui à la vaccination des enfants dans un contexte d’insécurité permanente dans une grande partie de la province. L’occupation de 6 ZS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Bagira</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Kadutu</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Kabare,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Kalehe</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Nyantende</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et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djwi</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sur 15 par la rébellion constitue un sérieux problème dans le suivi des activités sur terrain.</a:t>
              </a: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Text Placeholder 1">
              <a:extLst>
                <a:ext uri="{FF2B5EF4-FFF2-40B4-BE49-F238E27FC236}">
                  <a16:creationId xmlns:a16="http://schemas.microsoft.com/office/drawing/2014/main" id="{86118DE8-A5F5-64AD-9109-983308BEE0B8}"/>
                </a:ext>
              </a:extLst>
            </p:cNvPr>
            <p:cNvSpPr txBox="1">
              <a:spLocks/>
            </p:cNvSpPr>
            <p:nvPr/>
          </p:nvSpPr>
          <p:spPr>
            <a:xfrm>
              <a:off x="619978" y="2094310"/>
              <a:ext cx="428505" cy="777677"/>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4" name="Text Placeholder 1">
              <a:extLst>
                <a:ext uri="{FF2B5EF4-FFF2-40B4-BE49-F238E27FC236}">
                  <a16:creationId xmlns:a16="http://schemas.microsoft.com/office/drawing/2014/main" id="{3C90C153-0960-8382-775F-781CF099986D}"/>
                </a:ext>
              </a:extLst>
            </p:cNvPr>
            <p:cNvSpPr txBox="1">
              <a:spLocks/>
            </p:cNvSpPr>
            <p:nvPr/>
          </p:nvSpPr>
          <p:spPr>
            <a:xfrm>
              <a:off x="619978" y="4044509"/>
              <a:ext cx="428505" cy="777677"/>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76" name="Text Placeholder 1">
            <a:extLst>
              <a:ext uri="{FF2B5EF4-FFF2-40B4-BE49-F238E27FC236}">
                <a16:creationId xmlns:a16="http://schemas.microsoft.com/office/drawing/2014/main" id="{06E03280-9BDB-C046-AC15-F57B96A602A7}"/>
              </a:ext>
            </a:extLst>
          </p:cNvPr>
          <p:cNvSpPr txBox="1">
            <a:spLocks/>
          </p:cNvSpPr>
          <p:nvPr/>
        </p:nvSpPr>
        <p:spPr>
          <a:xfrm>
            <a:off x="8040382" y="1667500"/>
            <a:ext cx="3473387"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77" name="Rectangle 76">
            <a:extLst>
              <a:ext uri="{FF2B5EF4-FFF2-40B4-BE49-F238E27FC236}">
                <a16:creationId xmlns:a16="http://schemas.microsoft.com/office/drawing/2014/main" id="{0D847923-B537-AE40-FF50-E4D2EC91C652}"/>
              </a:ext>
            </a:extLst>
          </p:cNvPr>
          <p:cNvSpPr/>
          <p:nvPr/>
        </p:nvSpPr>
        <p:spPr>
          <a:xfrm>
            <a:off x="8364462" y="1564075"/>
            <a:ext cx="3473386" cy="457850"/>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8" name="Text Placeholder 1">
            <a:extLst>
              <a:ext uri="{FF2B5EF4-FFF2-40B4-BE49-F238E27FC236}">
                <a16:creationId xmlns:a16="http://schemas.microsoft.com/office/drawing/2014/main" id="{A0E5B0D3-4994-A985-3A0B-886F46D1BA51}"/>
              </a:ext>
            </a:extLst>
          </p:cNvPr>
          <p:cNvSpPr txBox="1">
            <a:spLocks/>
          </p:cNvSpPr>
          <p:nvPr/>
        </p:nvSpPr>
        <p:spPr>
          <a:xfrm>
            <a:off x="8410496" y="1613475"/>
            <a:ext cx="3097274" cy="341013"/>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ecommandation à Gavi</a:t>
            </a:r>
          </a:p>
        </p:txBody>
      </p:sp>
      <p:grpSp>
        <p:nvGrpSpPr>
          <p:cNvPr id="79" name="Group 78">
            <a:extLst>
              <a:ext uri="{FF2B5EF4-FFF2-40B4-BE49-F238E27FC236}">
                <a16:creationId xmlns:a16="http://schemas.microsoft.com/office/drawing/2014/main" id="{3B3A9455-C15C-2E97-7975-637050265755}"/>
              </a:ext>
            </a:extLst>
          </p:cNvPr>
          <p:cNvGrpSpPr/>
          <p:nvPr/>
        </p:nvGrpSpPr>
        <p:grpSpPr>
          <a:xfrm>
            <a:off x="8353576" y="2056444"/>
            <a:ext cx="3473386" cy="4425863"/>
            <a:chOff x="619978" y="2058467"/>
            <a:chExt cx="3422381" cy="3927428"/>
          </a:xfrm>
        </p:grpSpPr>
        <p:sp>
          <p:nvSpPr>
            <p:cNvPr id="80" name="Text Placeholder 1">
              <a:extLst>
                <a:ext uri="{FF2B5EF4-FFF2-40B4-BE49-F238E27FC236}">
                  <a16:creationId xmlns:a16="http://schemas.microsoft.com/office/drawing/2014/main" id="{141B0FAF-241F-F4C0-26FA-A448148BA0DD}"/>
                </a:ext>
              </a:extLst>
            </p:cNvPr>
            <p:cNvSpPr txBox="1">
              <a:spLocks/>
            </p:cNvSpPr>
            <p:nvPr/>
          </p:nvSpPr>
          <p:spPr>
            <a:xfrm>
              <a:off x="1117752" y="2058467"/>
              <a:ext cx="2924607" cy="1845973"/>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produire les outils CAC, RECO, CODESA, UCODESA, Task Force Communication, por que la période de décaissement corresponde à la période de mise en </a:t>
              </a:r>
              <a:r>
                <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œ</a:t>
              </a: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vre des activités sur terrain.</a:t>
              </a:r>
            </a:p>
          </p:txBody>
        </p:sp>
        <p:sp>
          <p:nvSpPr>
            <p:cNvPr id="81" name="Text Placeholder 1">
              <a:extLst>
                <a:ext uri="{FF2B5EF4-FFF2-40B4-BE49-F238E27FC236}">
                  <a16:creationId xmlns:a16="http://schemas.microsoft.com/office/drawing/2014/main" id="{BF3E8E77-257C-2A5A-54CF-F51F0114F458}"/>
                </a:ext>
              </a:extLst>
            </p:cNvPr>
            <p:cNvSpPr txBox="1">
              <a:spLocks/>
            </p:cNvSpPr>
            <p:nvPr/>
          </p:nvSpPr>
          <p:spPr>
            <a:xfrm>
              <a:off x="1152385" y="3961849"/>
              <a:ext cx="2889974" cy="2024046"/>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laidoyer auprès des parties en conflit pour assurer l’équité vaccinale pour tous les enfants. </a:t>
              </a: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nforcer la capacité de négociation d’accès dans les zones à conflits pour assurer le suivi des activités communautaires sur terrain.</a:t>
              </a:r>
            </a:p>
          </p:txBody>
        </p:sp>
        <p:sp>
          <p:nvSpPr>
            <p:cNvPr id="82" name="Text Placeholder 1">
              <a:extLst>
                <a:ext uri="{FF2B5EF4-FFF2-40B4-BE49-F238E27FC236}">
                  <a16:creationId xmlns:a16="http://schemas.microsoft.com/office/drawing/2014/main" id="{E31636C8-B447-2E93-82D4-1B38B20057E1}"/>
                </a:ext>
              </a:extLst>
            </p:cNvPr>
            <p:cNvSpPr txBox="1">
              <a:spLocks/>
            </p:cNvSpPr>
            <p:nvPr/>
          </p:nvSpPr>
          <p:spPr>
            <a:xfrm>
              <a:off x="619978" y="2094310"/>
              <a:ext cx="428505" cy="777677"/>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3" name="Text Placeholder 1">
              <a:extLst>
                <a:ext uri="{FF2B5EF4-FFF2-40B4-BE49-F238E27FC236}">
                  <a16:creationId xmlns:a16="http://schemas.microsoft.com/office/drawing/2014/main" id="{84231B81-247F-1E4E-B84A-50B9A229B1A5}"/>
                </a:ext>
              </a:extLst>
            </p:cNvPr>
            <p:cNvSpPr txBox="1">
              <a:spLocks/>
            </p:cNvSpPr>
            <p:nvPr/>
          </p:nvSpPr>
          <p:spPr>
            <a:xfrm>
              <a:off x="619978" y="3960047"/>
              <a:ext cx="428505" cy="777677"/>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2" name="Image 37" descr="http://50.116.44.194:8000/img/logo.png">
            <a:extLst>
              <a:ext uri="{FF2B5EF4-FFF2-40B4-BE49-F238E27FC236}">
                <a16:creationId xmlns:a16="http://schemas.microsoft.com/office/drawing/2014/main" id="{0C003674-B47D-C7B2-CDDD-401E569C6B44}"/>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40871" y="208380"/>
            <a:ext cx="710258" cy="643172"/>
          </a:xfrm>
          <a:prstGeom prst="rect">
            <a:avLst/>
          </a:prstGeom>
          <a:noFill/>
          <a:ln>
            <a:noFill/>
          </a:ln>
        </p:spPr>
      </p:pic>
      <p:pic>
        <p:nvPicPr>
          <p:cNvPr id="5" name="Img1" descr="GAVI Logo">
            <a:extLst>
              <a:ext uri="{FF2B5EF4-FFF2-40B4-BE49-F238E27FC236}">
                <a16:creationId xmlns:a16="http://schemas.microsoft.com/office/drawing/2014/main" id="{BE28E53F-B735-F9A9-932C-C79C0FAB3999}"/>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66960" y="238126"/>
            <a:ext cx="1183548" cy="667088"/>
          </a:xfrm>
          <a:prstGeom prst="rect">
            <a:avLst/>
          </a:prstGeom>
          <a:noFill/>
          <a:ln>
            <a:noFill/>
          </a:ln>
        </p:spPr>
      </p:pic>
      <p:pic>
        <p:nvPicPr>
          <p:cNvPr id="6" name="Image 39">
            <a:extLst>
              <a:ext uri="{FF2B5EF4-FFF2-40B4-BE49-F238E27FC236}">
                <a16:creationId xmlns:a16="http://schemas.microsoft.com/office/drawing/2014/main" id="{8E4A8518-CB42-D5AC-0C1F-140B69173780}"/>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6540" y="276610"/>
            <a:ext cx="887396" cy="544424"/>
          </a:xfrm>
          <a:prstGeom prst="rect">
            <a:avLst/>
          </a:prstGeom>
          <a:noFill/>
          <a:ln>
            <a:noFill/>
          </a:ln>
        </p:spPr>
      </p:pic>
    </p:spTree>
    <p:extLst>
      <p:ext uri="{BB962C8B-B14F-4D97-AF65-F5344CB8AC3E}">
        <p14:creationId xmlns:p14="http://schemas.microsoft.com/office/powerpoint/2010/main" val="29618216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43E72A9-B391-522E-9045-AF10840FA9C0}"/>
              </a:ext>
            </a:extLst>
          </p:cNvPr>
          <p:cNvSpPr/>
          <p:nvPr/>
        </p:nvSpPr>
        <p:spPr>
          <a:xfrm>
            <a:off x="-1298" y="0"/>
            <a:ext cx="453881" cy="6858000"/>
          </a:xfrm>
          <a:prstGeom prst="rect">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7467A356-7078-A730-0BC5-B353AB2196E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8" name="Title 1">
            <a:extLst>
              <a:ext uri="{FF2B5EF4-FFF2-40B4-BE49-F238E27FC236}">
                <a16:creationId xmlns:a16="http://schemas.microsoft.com/office/drawing/2014/main" id="{36975764-AA09-E82F-FA8F-74F31B482CE3}"/>
              </a:ext>
            </a:extLst>
          </p:cNvPr>
          <p:cNvSpPr txBox="1">
            <a:spLocks/>
          </p:cNvSpPr>
          <p:nvPr/>
        </p:nvSpPr>
        <p:spPr>
          <a:xfrm>
            <a:off x="0" y="2377832"/>
            <a:ext cx="12191999" cy="924169"/>
          </a:xfrm>
          <a:prstGeom prst="rect">
            <a:avLst/>
          </a:prstGeom>
          <a:solidFill>
            <a:schemeClr val="bg1"/>
          </a:solidFill>
        </p:spPr>
        <p:txBody>
          <a:bodyPr vert="horz" lIns="0" tIns="0" rIns="0" bIns="0" rtlCol="0" anchor="ctr">
            <a:normAutofit fontScale="47500" lnSpcReduction="20000"/>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4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Palestine Red Crescent Society PRCS-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ensuring access to routine immunizations and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maintaining vaccination coverage in an acute humanitarian crisis</a:t>
            </a:r>
          </a:p>
        </p:txBody>
      </p:sp>
      <p:sp>
        <p:nvSpPr>
          <p:cNvPr id="9" name="TextBox 8">
            <a:extLst>
              <a:ext uri="{FF2B5EF4-FFF2-40B4-BE49-F238E27FC236}">
                <a16:creationId xmlns:a16="http://schemas.microsoft.com/office/drawing/2014/main" id="{250E1250-E910-A3EC-AD54-3829D82082D7}"/>
              </a:ext>
            </a:extLst>
          </p:cNvPr>
          <p:cNvSpPr txBox="1"/>
          <p:nvPr/>
        </p:nvSpPr>
        <p:spPr>
          <a:xfrm>
            <a:off x="225642" y="3627242"/>
            <a:ext cx="1076601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esenter</a:t>
            </a:r>
            <a:r>
              <a:rPr kumimoji="0" lang="en-US"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Dr Bashar Morad, Rami </a:t>
            </a:r>
            <a:r>
              <a:rPr kumimoji="0" lang="en-US" sz="1600" b="1" i="0" u="none" strike="noStrike" kern="1200" cap="none" spc="30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Hijjo</a:t>
            </a:r>
            <a:r>
              <a:rPr kumimoji="0" lang="en-US"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Tasneem Obaid	</a:t>
            </a:r>
            <a:br>
              <a:rPr kumimoji="0" lang="en-US"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p:txBody>
      </p:sp>
      <p:pic>
        <p:nvPicPr>
          <p:cNvPr id="2" name="Picture 1">
            <a:extLst>
              <a:ext uri="{FF2B5EF4-FFF2-40B4-BE49-F238E27FC236}">
                <a16:creationId xmlns:a16="http://schemas.microsoft.com/office/drawing/2014/main" id="{23D4A4CE-BE87-E19A-D81F-2F2E41AFDFC8}"/>
              </a:ext>
              <a:ext uri="{C183D7F6-B498-43B3-948B-1728B52AA6E4}">
                <adec:decorative xmlns:adec="http://schemas.microsoft.com/office/drawing/2017/decorative" val="1"/>
              </a:ext>
            </a:extLst>
          </p:cNvPr>
          <p:cNvPicPr/>
          <p:nvPr/>
        </p:nvPicPr>
        <p:blipFill>
          <a:blip r:embed="rId2">
            <a:extLst>
              <a:ext uri="{28A0092B-C50C-407E-A947-70E740481C1C}">
                <a14:useLocalDpi xmlns:a14="http://schemas.microsoft.com/office/drawing/2010/main" val="0"/>
              </a:ext>
            </a:extLst>
          </a:blip>
          <a:stretch>
            <a:fillRect/>
          </a:stretch>
        </p:blipFill>
        <p:spPr bwMode="auto">
          <a:xfrm>
            <a:off x="-7272" y="0"/>
            <a:ext cx="1281558" cy="854710"/>
          </a:xfrm>
          <a:prstGeom prst="rect">
            <a:avLst/>
          </a:prstGeom>
          <a:ln>
            <a:noFill/>
          </a:ln>
          <a:extLst>
            <a:ext uri="{53640926-AAD7-44D8-BBD7-CCE9431645EC}">
              <a14:shadowObscured xmlns:a14="http://schemas.microsoft.com/office/drawing/2010/main"/>
            </a:ext>
          </a:extLst>
        </p:spPr>
      </p:pic>
      <p:pic>
        <p:nvPicPr>
          <p:cNvPr id="4" name="Picture 3">
            <a:extLst>
              <a:ext uri="{FF2B5EF4-FFF2-40B4-BE49-F238E27FC236}">
                <a16:creationId xmlns:a16="http://schemas.microsoft.com/office/drawing/2014/main" id="{3BDE1E09-3478-FBFF-FC5A-EDD8104236D2}"/>
              </a:ext>
            </a:extLst>
          </p:cNvPr>
          <p:cNvPicPr>
            <a:picLocks noChangeAspect="1"/>
          </p:cNvPicPr>
          <p:nvPr/>
        </p:nvPicPr>
        <p:blipFill>
          <a:blip r:embed="rId3"/>
          <a:stretch>
            <a:fillRect/>
          </a:stretch>
        </p:blipFill>
        <p:spPr>
          <a:xfrm>
            <a:off x="9670450" y="310237"/>
            <a:ext cx="920853" cy="763339"/>
          </a:xfrm>
          <a:prstGeom prst="rect">
            <a:avLst/>
          </a:prstGeom>
        </p:spPr>
      </p:pic>
      <p:pic>
        <p:nvPicPr>
          <p:cNvPr id="5" name="Picture 4">
            <a:extLst>
              <a:ext uri="{FF2B5EF4-FFF2-40B4-BE49-F238E27FC236}">
                <a16:creationId xmlns:a16="http://schemas.microsoft.com/office/drawing/2014/main" id="{57288F89-DE4C-D86C-FC8A-38FB9DF83E7F}"/>
              </a:ext>
            </a:extLst>
          </p:cNvPr>
          <p:cNvPicPr>
            <a:picLocks noChangeAspect="1"/>
          </p:cNvPicPr>
          <p:nvPr/>
        </p:nvPicPr>
        <p:blipFill>
          <a:blip r:embed="rId4"/>
          <a:stretch>
            <a:fillRect/>
          </a:stretch>
        </p:blipFill>
        <p:spPr>
          <a:xfrm>
            <a:off x="10927229" y="180995"/>
            <a:ext cx="920853" cy="892581"/>
          </a:xfrm>
          <a:prstGeom prst="rect">
            <a:avLst/>
          </a:prstGeom>
        </p:spPr>
      </p:pic>
    </p:spTree>
    <p:extLst>
      <p:ext uri="{BB962C8B-B14F-4D97-AF65-F5344CB8AC3E}">
        <p14:creationId xmlns:p14="http://schemas.microsoft.com/office/powerpoint/2010/main" val="15349374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0D853C-849D-5ACE-9881-67A6A5DFE1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0"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AD0D853C-849D-5ACE-9881-67A6A5DFE1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D113E42-A2FC-6ACA-217B-146009CE8169}"/>
              </a:ext>
            </a:extLst>
          </p:cNvPr>
          <p:cNvSpPr txBox="1"/>
          <p:nvPr/>
        </p:nvSpPr>
        <p:spPr>
          <a:xfrm>
            <a:off x="476834" y="1327149"/>
            <a:ext cx="2554127" cy="4995627"/>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Title 1">
            <a:extLst>
              <a:ext uri="{FF2B5EF4-FFF2-40B4-BE49-F238E27FC236}">
                <a16:creationId xmlns:a16="http://schemas.microsoft.com/office/drawing/2014/main" id="{39994DE4-7E1B-D3FE-AF6B-2057CC062DA8}"/>
              </a:ext>
            </a:extLst>
          </p:cNvPr>
          <p:cNvSpPr txBox="1">
            <a:spLocks/>
          </p:cNvSpPr>
          <p:nvPr/>
        </p:nvSpPr>
        <p:spPr>
          <a:xfrm>
            <a:off x="1724333" y="420170"/>
            <a:ext cx="10063162" cy="27420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Ensuring access to routine immunizations and maintaining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vaccination coverage in an acute humanitarian crisis </a:t>
            </a:r>
            <a:endParaRPr kumimoji="0" lang="en-US" sz="20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endParaRPr>
          </a:p>
        </p:txBody>
      </p:sp>
      <p:sp>
        <p:nvSpPr>
          <p:cNvPr id="11" name="Text Placeholder 1">
            <a:extLst>
              <a:ext uri="{FF2B5EF4-FFF2-40B4-BE49-F238E27FC236}">
                <a16:creationId xmlns:a16="http://schemas.microsoft.com/office/drawing/2014/main" id="{DA085808-DDCE-E257-33BE-AB874D5CA66D}"/>
              </a:ext>
            </a:extLst>
          </p:cNvPr>
          <p:cNvSpPr txBox="1">
            <a:spLocks/>
          </p:cNvSpPr>
          <p:nvPr/>
        </p:nvSpPr>
        <p:spPr>
          <a:xfrm>
            <a:off x="619979" y="2117714"/>
            <a:ext cx="2267836" cy="4037024"/>
          </a:xfrm>
          <a:prstGeom prst="rect">
            <a:avLst/>
          </a:prstGeom>
          <a:solidFill>
            <a:schemeClr val="bg1"/>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F726E542-9D92-BD1E-FF7F-B3C346030B03}"/>
              </a:ext>
            </a:extLst>
          </p:cNvPr>
          <p:cNvSpPr/>
          <p:nvPr/>
        </p:nvSpPr>
        <p:spPr>
          <a:xfrm>
            <a:off x="619979" y="1550663"/>
            <a:ext cx="2267836" cy="45785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Text Placeholder 1">
            <a:extLst>
              <a:ext uri="{FF2B5EF4-FFF2-40B4-BE49-F238E27FC236}">
                <a16:creationId xmlns:a16="http://schemas.microsoft.com/office/drawing/2014/main" id="{E7CE8A18-73A5-1486-E387-6031CB12DCCA}"/>
              </a:ext>
            </a:extLst>
          </p:cNvPr>
          <p:cNvSpPr txBox="1">
            <a:spLocks/>
          </p:cNvSpPr>
          <p:nvPr/>
        </p:nvSpPr>
        <p:spPr>
          <a:xfrm>
            <a:off x="619979" y="1664974"/>
            <a:ext cx="2267836"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verview</a:t>
            </a:r>
          </a:p>
        </p:txBody>
      </p:sp>
      <p:sp>
        <p:nvSpPr>
          <p:cNvPr id="18" name="Text Placeholder 1">
            <a:extLst>
              <a:ext uri="{FF2B5EF4-FFF2-40B4-BE49-F238E27FC236}">
                <a16:creationId xmlns:a16="http://schemas.microsoft.com/office/drawing/2014/main" id="{2ED55F04-C739-220B-12A1-94776A53767B}"/>
              </a:ext>
            </a:extLst>
          </p:cNvPr>
          <p:cNvSpPr txBox="1">
            <a:spLocks/>
          </p:cNvSpPr>
          <p:nvPr/>
        </p:nvSpPr>
        <p:spPr>
          <a:xfrm>
            <a:off x="738354" y="3135016"/>
            <a:ext cx="1634447"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ocation: Gaza</a:t>
            </a: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CC34E8A8-DEDD-5EF7-6A02-212181B51977}"/>
              </a:ext>
            </a:extLst>
          </p:cNvPr>
          <p:cNvSpPr txBox="1"/>
          <p:nvPr/>
        </p:nvSpPr>
        <p:spPr>
          <a:xfrm>
            <a:off x="3159448" y="1328972"/>
            <a:ext cx="8631499" cy="4995627"/>
          </a:xfrm>
          <a:prstGeom prst="rect">
            <a:avLst/>
          </a:prstGeom>
          <a:solidFill>
            <a:srgbClr val="F0FAFE"/>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Rectangle 22">
            <a:extLst>
              <a:ext uri="{FF2B5EF4-FFF2-40B4-BE49-F238E27FC236}">
                <a16:creationId xmlns:a16="http://schemas.microsoft.com/office/drawing/2014/main" id="{CBB93C5F-5F8D-0B9D-CEB7-595998EBEF1A}"/>
              </a:ext>
            </a:extLst>
          </p:cNvPr>
          <p:cNvSpPr/>
          <p:nvPr/>
        </p:nvSpPr>
        <p:spPr>
          <a:xfrm>
            <a:off x="3279683" y="1550663"/>
            <a:ext cx="3657600" cy="45785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Text Placeholder 1">
            <a:extLst>
              <a:ext uri="{FF2B5EF4-FFF2-40B4-BE49-F238E27FC236}">
                <a16:creationId xmlns:a16="http://schemas.microsoft.com/office/drawing/2014/main" id="{8DFABA6E-FD38-903C-3306-EEC9956DB456}"/>
              </a:ext>
            </a:extLst>
          </p:cNvPr>
          <p:cNvSpPr txBox="1">
            <a:spLocks/>
          </p:cNvSpPr>
          <p:nvPr/>
        </p:nvSpPr>
        <p:spPr>
          <a:xfrm>
            <a:off x="3279683" y="1664974"/>
            <a:ext cx="2267836"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oject Description</a:t>
            </a:r>
          </a:p>
        </p:txBody>
      </p:sp>
      <p:sp>
        <p:nvSpPr>
          <p:cNvPr id="28" name="Text Placeholder 1">
            <a:extLst>
              <a:ext uri="{FF2B5EF4-FFF2-40B4-BE49-F238E27FC236}">
                <a16:creationId xmlns:a16="http://schemas.microsoft.com/office/drawing/2014/main" id="{67C53866-6565-9B8F-3FC7-DF5D44745595}"/>
              </a:ext>
            </a:extLst>
          </p:cNvPr>
          <p:cNvSpPr txBox="1">
            <a:spLocks/>
          </p:cNvSpPr>
          <p:nvPr/>
        </p:nvSpPr>
        <p:spPr>
          <a:xfrm>
            <a:off x="736892" y="3759493"/>
            <a:ext cx="1633869"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vestment amount: </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7.3 million USD</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Text Placeholder 1">
            <a:extLst>
              <a:ext uri="{FF2B5EF4-FFF2-40B4-BE49-F238E27FC236}">
                <a16:creationId xmlns:a16="http://schemas.microsoft.com/office/drawing/2014/main" id="{87949F6A-B084-707A-325D-1EB2C6FB2D70}"/>
              </a:ext>
            </a:extLst>
          </p:cNvPr>
          <p:cNvSpPr txBox="1">
            <a:spLocks/>
          </p:cNvSpPr>
          <p:nvPr/>
        </p:nvSpPr>
        <p:spPr>
          <a:xfrm>
            <a:off x="3274689" y="2078848"/>
            <a:ext cx="8074118" cy="4037024"/>
          </a:xfrm>
          <a:prstGeom prst="rect">
            <a:avLst/>
          </a:prstGeom>
          <a:solidFill>
            <a:schemeClr val="bg1"/>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FE7C11E0-F328-0A59-838F-3B03C12F7CC2}"/>
              </a:ext>
            </a:extLst>
          </p:cNvPr>
          <p:cNvSpPr/>
          <p:nvPr/>
        </p:nvSpPr>
        <p:spPr>
          <a:xfrm>
            <a:off x="3390899" y="2236426"/>
            <a:ext cx="1663719" cy="378340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Text Placeholder 1">
            <a:extLst>
              <a:ext uri="{FF2B5EF4-FFF2-40B4-BE49-F238E27FC236}">
                <a16:creationId xmlns:a16="http://schemas.microsoft.com/office/drawing/2014/main" id="{445EA729-2776-C858-58C6-7E758AC6087A}"/>
              </a:ext>
            </a:extLst>
          </p:cNvPr>
          <p:cNvSpPr txBox="1">
            <a:spLocks/>
          </p:cNvSpPr>
          <p:nvPr/>
        </p:nvSpPr>
        <p:spPr>
          <a:xfrm>
            <a:off x="3419565" y="3352120"/>
            <a:ext cx="2018074"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pact metric 1: </a:t>
            </a:r>
          </a:p>
        </p:txBody>
      </p:sp>
      <p:sp>
        <p:nvSpPr>
          <p:cNvPr id="31" name="Text Placeholder 1">
            <a:extLst>
              <a:ext uri="{FF2B5EF4-FFF2-40B4-BE49-F238E27FC236}">
                <a16:creationId xmlns:a16="http://schemas.microsoft.com/office/drawing/2014/main" id="{B7987EB0-E654-5119-412A-19E05CE98B62}"/>
              </a:ext>
            </a:extLst>
          </p:cNvPr>
          <p:cNvSpPr txBox="1">
            <a:spLocks/>
          </p:cNvSpPr>
          <p:nvPr/>
        </p:nvSpPr>
        <p:spPr>
          <a:xfrm>
            <a:off x="3450943" y="4701047"/>
            <a:ext cx="2018074"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pact metric 2: </a:t>
            </a:r>
          </a:p>
        </p:txBody>
      </p:sp>
      <p:sp>
        <p:nvSpPr>
          <p:cNvPr id="34" name="Text Placeholder 1">
            <a:extLst>
              <a:ext uri="{FF2B5EF4-FFF2-40B4-BE49-F238E27FC236}">
                <a16:creationId xmlns:a16="http://schemas.microsoft.com/office/drawing/2014/main" id="{8C7DA8E8-5301-8390-61CE-8537DB6EFC80}"/>
              </a:ext>
            </a:extLst>
          </p:cNvPr>
          <p:cNvSpPr txBox="1">
            <a:spLocks/>
          </p:cNvSpPr>
          <p:nvPr/>
        </p:nvSpPr>
        <p:spPr>
          <a:xfrm>
            <a:off x="3440842" y="2172979"/>
            <a:ext cx="1477959" cy="1020954"/>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bjective: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flict resilient routine immunization</a:t>
            </a:r>
          </a:p>
        </p:txBody>
      </p:sp>
      <p:sp>
        <p:nvSpPr>
          <p:cNvPr id="27" name="Rectangle 26">
            <a:extLst>
              <a:ext uri="{FF2B5EF4-FFF2-40B4-BE49-F238E27FC236}">
                <a16:creationId xmlns:a16="http://schemas.microsoft.com/office/drawing/2014/main" id="{1EBE0F23-911F-9E6D-C28D-479A527EB273}"/>
              </a:ext>
            </a:extLst>
          </p:cNvPr>
          <p:cNvSpPr/>
          <p:nvPr/>
        </p:nvSpPr>
        <p:spPr>
          <a:xfrm>
            <a:off x="5172128" y="2236426"/>
            <a:ext cx="6543038" cy="378340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Text Placeholder 1">
            <a:extLst>
              <a:ext uri="{FF2B5EF4-FFF2-40B4-BE49-F238E27FC236}">
                <a16:creationId xmlns:a16="http://schemas.microsoft.com/office/drawing/2014/main" id="{5DEADEE1-2F53-0C83-2087-EDCDFB91BC69}"/>
              </a:ext>
            </a:extLst>
          </p:cNvPr>
          <p:cNvSpPr txBox="1">
            <a:spLocks/>
          </p:cNvSpPr>
          <p:nvPr/>
        </p:nvSpPr>
        <p:spPr>
          <a:xfrm>
            <a:off x="5325440" y="2174992"/>
            <a:ext cx="5884859" cy="944373"/>
          </a:xfrm>
          <a:prstGeom prst="rect">
            <a:avLst/>
          </a:prstGeom>
          <a:solidFill>
            <a:schemeClr val="bg1"/>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5" name="Text Placeholder 1">
            <a:extLst>
              <a:ext uri="{FF2B5EF4-FFF2-40B4-BE49-F238E27FC236}">
                <a16:creationId xmlns:a16="http://schemas.microsoft.com/office/drawing/2014/main" id="{9DF20DD3-72C3-E416-65E1-3FB2AB64FB3C}"/>
              </a:ext>
            </a:extLst>
          </p:cNvPr>
          <p:cNvSpPr txBox="1">
            <a:spLocks/>
          </p:cNvSpPr>
          <p:nvPr/>
        </p:nvSpPr>
        <p:spPr>
          <a:xfrm>
            <a:off x="3322262" y="3560470"/>
            <a:ext cx="1701549"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3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7,013</a:t>
            </a:r>
            <a:endParaRPr kumimoji="0" lang="en-GB" sz="32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Text Placeholder 1">
            <a:extLst>
              <a:ext uri="{FF2B5EF4-FFF2-40B4-BE49-F238E27FC236}">
                <a16:creationId xmlns:a16="http://schemas.microsoft.com/office/drawing/2014/main" id="{79B0FF54-7CA4-4037-6BC2-E9430C2D4131}"/>
              </a:ext>
            </a:extLst>
          </p:cNvPr>
          <p:cNvSpPr txBox="1">
            <a:spLocks/>
          </p:cNvSpPr>
          <p:nvPr/>
        </p:nvSpPr>
        <p:spPr>
          <a:xfrm>
            <a:off x="3523878" y="4071742"/>
            <a:ext cx="1345786"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rPr>
              <a:t>Children reached with ≥1 routine dose </a:t>
            </a:r>
            <a:endParaRPr kumimoji="0" lang="en-GB" sz="1400" b="0" i="1"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endParaRPr>
          </a:p>
        </p:txBody>
      </p:sp>
      <p:sp>
        <p:nvSpPr>
          <p:cNvPr id="41" name="Text Placeholder 1">
            <a:extLst>
              <a:ext uri="{FF2B5EF4-FFF2-40B4-BE49-F238E27FC236}">
                <a16:creationId xmlns:a16="http://schemas.microsoft.com/office/drawing/2014/main" id="{BED33219-09DC-8B2E-5F74-12E6BB84223F}"/>
              </a:ext>
            </a:extLst>
          </p:cNvPr>
          <p:cNvSpPr txBox="1">
            <a:spLocks/>
          </p:cNvSpPr>
          <p:nvPr/>
        </p:nvSpPr>
        <p:spPr>
          <a:xfrm>
            <a:off x="3389123" y="4912368"/>
            <a:ext cx="1650008"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3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331</a:t>
            </a:r>
            <a:endParaRPr kumimoji="0" lang="en-GB" sz="32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Text Placeholder 1">
            <a:extLst>
              <a:ext uri="{FF2B5EF4-FFF2-40B4-BE49-F238E27FC236}">
                <a16:creationId xmlns:a16="http://schemas.microsoft.com/office/drawing/2014/main" id="{D8368DE8-AFFD-4564-22D8-18955A23290C}"/>
              </a:ext>
            </a:extLst>
          </p:cNvPr>
          <p:cNvSpPr txBox="1">
            <a:spLocks/>
          </p:cNvSpPr>
          <p:nvPr/>
        </p:nvSpPr>
        <p:spPr>
          <a:xfrm>
            <a:off x="5305676" y="3970305"/>
            <a:ext cx="5884859" cy="2359643"/>
          </a:xfrm>
          <a:prstGeom prst="rect">
            <a:avLst/>
          </a:prstGeom>
          <a:solidFill>
            <a:schemeClr val="bg1"/>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CS has mitigated health worker shortages by </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gaging retired MoH staff </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ith vaccination expertise. </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o protect staff security, PRCS </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ordinates movement with OCHA and ICRC</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joining convoys and using short access windows in high-risk zones. </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CS mobilizes its </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olunteer network </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o deliver community awareness sessions in shelters and displacement sites, supporting demand generation and monitoring of RI services. </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60 trained volunteers </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ave been engaged in their communities to map shelters, trace defaulters, and promote vaccination uptake among zero-dose and under-immunized childre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6" name="Text Placeholder 1">
            <a:extLst>
              <a:ext uri="{FF2B5EF4-FFF2-40B4-BE49-F238E27FC236}">
                <a16:creationId xmlns:a16="http://schemas.microsoft.com/office/drawing/2014/main" id="{EF53553B-07DF-C4AF-A605-6A38E3FD8D6D}"/>
              </a:ext>
            </a:extLst>
          </p:cNvPr>
          <p:cNvSpPr txBox="1">
            <a:spLocks/>
          </p:cNvSpPr>
          <p:nvPr/>
        </p:nvSpPr>
        <p:spPr>
          <a:xfrm>
            <a:off x="5325440" y="3156590"/>
            <a:ext cx="5808097" cy="78526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 an auxiliary to the </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H</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RCS delivers RI through </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ve fixed sites </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d </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mporary medical points </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shelters and displacement areas, identifying and vaccinating zero-dose and under-immunized childre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Text Placeholder 1">
            <a:extLst>
              <a:ext uri="{FF2B5EF4-FFF2-40B4-BE49-F238E27FC236}">
                <a16:creationId xmlns:a16="http://schemas.microsoft.com/office/drawing/2014/main" id="{10F77E44-758F-8824-746D-0DD8A23DBBA7}"/>
              </a:ext>
            </a:extLst>
          </p:cNvPr>
          <p:cNvSpPr txBox="1">
            <a:spLocks/>
          </p:cNvSpPr>
          <p:nvPr/>
        </p:nvSpPr>
        <p:spPr>
          <a:xfrm>
            <a:off x="5349614" y="4743127"/>
            <a:ext cx="5860685"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Text Placeholder 1">
            <a:extLst>
              <a:ext uri="{FF2B5EF4-FFF2-40B4-BE49-F238E27FC236}">
                <a16:creationId xmlns:a16="http://schemas.microsoft.com/office/drawing/2014/main" id="{CAC8B4F6-B77C-8A0B-748C-A222637B4166}"/>
              </a:ext>
            </a:extLst>
          </p:cNvPr>
          <p:cNvSpPr txBox="1">
            <a:spLocks/>
          </p:cNvSpPr>
          <p:nvPr/>
        </p:nvSpPr>
        <p:spPr>
          <a:xfrm>
            <a:off x="3541234" y="5395269"/>
            <a:ext cx="1328430"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200" b="0" i="1"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rPr>
              <a:t>Doses of routine immunizations administered</a:t>
            </a:r>
          </a:p>
        </p:txBody>
      </p:sp>
      <p:sp>
        <p:nvSpPr>
          <p:cNvPr id="44" name="Text Placeholder 1">
            <a:extLst>
              <a:ext uri="{FF2B5EF4-FFF2-40B4-BE49-F238E27FC236}">
                <a16:creationId xmlns:a16="http://schemas.microsoft.com/office/drawing/2014/main" id="{1762B123-5568-721D-B9AA-BD70EE851E62}"/>
              </a:ext>
            </a:extLst>
          </p:cNvPr>
          <p:cNvSpPr txBox="1">
            <a:spLocks/>
          </p:cNvSpPr>
          <p:nvPr/>
        </p:nvSpPr>
        <p:spPr>
          <a:xfrm>
            <a:off x="5305676" y="2191522"/>
            <a:ext cx="5494546"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CS is ensuring </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at hard-to-reach, displaced, and zero-dose </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hildren are systematically included in service delivery despite access constraints, displacement, and humanitarian emergency</a:t>
            </a: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Text Placeholder 1">
            <a:extLst>
              <a:ext uri="{FF2B5EF4-FFF2-40B4-BE49-F238E27FC236}">
                <a16:creationId xmlns:a16="http://schemas.microsoft.com/office/drawing/2014/main" id="{4D249127-0DF6-73F1-CE0E-3312F4FB19DD}"/>
              </a:ext>
            </a:extLst>
          </p:cNvPr>
          <p:cNvSpPr txBox="1">
            <a:spLocks/>
          </p:cNvSpPr>
          <p:nvPr/>
        </p:nvSpPr>
        <p:spPr>
          <a:xfrm>
            <a:off x="698009" y="1970655"/>
            <a:ext cx="1772381"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tervention </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rea: service delivery, community engagement</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 name="Text Placeholder 1">
            <a:extLst>
              <a:ext uri="{FF2B5EF4-FFF2-40B4-BE49-F238E27FC236}">
                <a16:creationId xmlns:a16="http://schemas.microsoft.com/office/drawing/2014/main" id="{4A6F8763-C785-6ED1-FAA8-35C0BD526468}"/>
              </a:ext>
            </a:extLst>
          </p:cNvPr>
          <p:cNvSpPr txBox="1">
            <a:spLocks/>
          </p:cNvSpPr>
          <p:nvPr/>
        </p:nvSpPr>
        <p:spPr>
          <a:xfrm>
            <a:off x="736892" y="5050110"/>
            <a:ext cx="1569277"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oject dura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ptember 2024 to December 2025</a:t>
            </a:r>
          </a:p>
        </p:txBody>
      </p:sp>
      <p:pic>
        <p:nvPicPr>
          <p:cNvPr id="52" name="Picture 51" descr="A clock and arrow in a circle&#10;&#10;Description automatically generated">
            <a:extLst>
              <a:ext uri="{FF2B5EF4-FFF2-40B4-BE49-F238E27FC236}">
                <a16:creationId xmlns:a16="http://schemas.microsoft.com/office/drawing/2014/main" id="{97898CE0-321E-A4A1-F7BF-0B5C9A41ED4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34973" y="5126499"/>
            <a:ext cx="456256" cy="456256"/>
          </a:xfrm>
          <a:prstGeom prst="rect">
            <a:avLst/>
          </a:prstGeom>
        </p:spPr>
      </p:pic>
      <p:pic>
        <p:nvPicPr>
          <p:cNvPr id="54" name="Picture 53" descr="A coin stack with a hat on top of it&#10;&#10;Description automatically generated">
            <a:extLst>
              <a:ext uri="{FF2B5EF4-FFF2-40B4-BE49-F238E27FC236}">
                <a16:creationId xmlns:a16="http://schemas.microsoft.com/office/drawing/2014/main" id="{2DB38A82-902A-AE47-97C6-7B0AF5EFF089}"/>
              </a:ext>
            </a:extLst>
          </p:cNvPr>
          <p:cNvPicPr>
            <a:picLocks noChangeAspect="1"/>
          </p:cNvPicPr>
          <p:nvPr/>
        </p:nvPicPr>
        <p:blipFill>
          <a:blip r:embed="rId8" cstate="email">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tretch>
            <a:fillRect/>
          </a:stretch>
        </p:blipFill>
        <p:spPr>
          <a:xfrm>
            <a:off x="2169664" y="3956741"/>
            <a:ext cx="507979" cy="507979"/>
          </a:xfrm>
          <a:prstGeom prst="rect">
            <a:avLst/>
          </a:prstGeom>
        </p:spPr>
      </p:pic>
      <p:pic>
        <p:nvPicPr>
          <p:cNvPr id="56" name="Picture 55" descr="A close-up of a gear&#10;&#10;Description automatically generated">
            <a:extLst>
              <a:ext uri="{FF2B5EF4-FFF2-40B4-BE49-F238E27FC236}">
                <a16:creationId xmlns:a16="http://schemas.microsoft.com/office/drawing/2014/main" id="{B528483E-A1DD-C81A-F901-2983EEECA69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162464" y="2158732"/>
            <a:ext cx="559529" cy="559529"/>
          </a:xfrm>
          <a:prstGeom prst="rect">
            <a:avLst/>
          </a:prstGeom>
        </p:spPr>
      </p:pic>
      <p:pic>
        <p:nvPicPr>
          <p:cNvPr id="2" name="Picture 1">
            <a:extLst>
              <a:ext uri="{FF2B5EF4-FFF2-40B4-BE49-F238E27FC236}">
                <a16:creationId xmlns:a16="http://schemas.microsoft.com/office/drawing/2014/main" id="{2ACBA5B8-3DFB-6DFD-FCD3-6ABDD3EDDF1E}"/>
              </a:ext>
            </a:extLst>
          </p:cNvPr>
          <p:cNvPicPr>
            <a:picLocks noChangeAspect="1"/>
          </p:cNvPicPr>
          <p:nvPr/>
        </p:nvPicPr>
        <p:blipFill>
          <a:blip r:embed="rId11"/>
          <a:stretch>
            <a:fillRect/>
          </a:stretch>
        </p:blipFill>
        <p:spPr>
          <a:xfrm>
            <a:off x="10579100" y="53984"/>
            <a:ext cx="1469571" cy="1258851"/>
          </a:xfrm>
          <a:prstGeom prst="rect">
            <a:avLst/>
          </a:prstGeom>
        </p:spPr>
      </p:pic>
      <p:pic>
        <p:nvPicPr>
          <p:cNvPr id="3" name="Picture 2">
            <a:extLst>
              <a:ext uri="{FF2B5EF4-FFF2-40B4-BE49-F238E27FC236}">
                <a16:creationId xmlns:a16="http://schemas.microsoft.com/office/drawing/2014/main" id="{73A839C2-4CD3-6392-70CE-9202F6C3EE34}"/>
              </a:ext>
            </a:extLst>
          </p:cNvPr>
          <p:cNvPicPr>
            <a:picLocks noChangeAspect="1"/>
          </p:cNvPicPr>
          <p:nvPr/>
        </p:nvPicPr>
        <p:blipFill>
          <a:blip r:embed="rId12"/>
          <a:stretch>
            <a:fillRect/>
          </a:stretch>
        </p:blipFill>
        <p:spPr>
          <a:xfrm>
            <a:off x="9478426" y="320774"/>
            <a:ext cx="920853" cy="763339"/>
          </a:xfrm>
          <a:prstGeom prst="rect">
            <a:avLst/>
          </a:prstGeom>
        </p:spPr>
      </p:pic>
      <p:pic>
        <p:nvPicPr>
          <p:cNvPr id="6" name="Picture 5">
            <a:extLst>
              <a:ext uri="{FF2B5EF4-FFF2-40B4-BE49-F238E27FC236}">
                <a16:creationId xmlns:a16="http://schemas.microsoft.com/office/drawing/2014/main" id="{490770D1-CD21-B61F-40DB-E1EA5638112B}"/>
              </a:ext>
              <a:ext uri="{C183D7F6-B498-43B3-948B-1728B52AA6E4}">
                <adec:decorative xmlns:adec="http://schemas.microsoft.com/office/drawing/2017/decorative" val="1"/>
              </a:ext>
            </a:extLst>
          </p:cNvPr>
          <p:cNvPicPr/>
          <p:nvPr/>
        </p:nvPicPr>
        <p:blipFill>
          <a:blip r:embed="rId13">
            <a:extLst>
              <a:ext uri="{28A0092B-C50C-407E-A947-70E740481C1C}">
                <a14:useLocalDpi xmlns:a14="http://schemas.microsoft.com/office/drawing/2010/main" val="0"/>
              </a:ext>
            </a:extLst>
          </a:blip>
          <a:stretch>
            <a:fillRect/>
          </a:stretch>
        </p:blipFill>
        <p:spPr bwMode="auto">
          <a:xfrm>
            <a:off x="-7272" y="0"/>
            <a:ext cx="1281558" cy="85471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19752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027F5-AF1E-8BF7-5D02-696F7E0D0E4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984204-6A54-3710-AE18-C507EC4685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4"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18984204-6A54-3710-AE18-C507EC4685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8BEB814E-098F-9C31-018B-294A5CC59695}"/>
              </a:ext>
            </a:extLst>
          </p:cNvPr>
          <p:cNvSpPr/>
          <p:nvPr/>
        </p:nvSpPr>
        <p:spPr>
          <a:xfrm>
            <a:off x="8654" y="765455"/>
            <a:ext cx="5432376" cy="45785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tervention sites</a:t>
            </a:r>
          </a:p>
        </p:txBody>
      </p:sp>
      <p:sp>
        <p:nvSpPr>
          <p:cNvPr id="18" name="Text Placeholder 1">
            <a:extLst>
              <a:ext uri="{FF2B5EF4-FFF2-40B4-BE49-F238E27FC236}">
                <a16:creationId xmlns:a16="http://schemas.microsoft.com/office/drawing/2014/main" id="{4A167E7D-B052-6A46-9D4F-14C039CC4DEE}"/>
              </a:ext>
            </a:extLst>
          </p:cNvPr>
          <p:cNvSpPr txBox="1">
            <a:spLocks/>
          </p:cNvSpPr>
          <p:nvPr/>
        </p:nvSpPr>
        <p:spPr>
          <a:xfrm>
            <a:off x="738354" y="3135016"/>
            <a:ext cx="1634447"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fr"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342EF7C4-23C3-EDCD-21DA-66516571A431}"/>
              </a:ext>
            </a:extLst>
          </p:cNvPr>
          <p:cNvSpPr txBox="1"/>
          <p:nvPr/>
        </p:nvSpPr>
        <p:spPr>
          <a:xfrm>
            <a:off x="5468287" y="1304052"/>
            <a:ext cx="6723713" cy="5563093"/>
          </a:xfrm>
          <a:prstGeom prst="rect">
            <a:avLst/>
          </a:prstGeom>
          <a:solidFill>
            <a:srgbClr val="F0FAFE"/>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Calibri" panose="020F0502020204030204"/>
                <a:ea typeface="+mn-ea"/>
                <a:cs typeface="+mn-cs"/>
              </a:rPr>
              <a:t>Haitham Bassam Abu Issa, a nurse vaccinator at a PRCS clin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Calibri" panose="020F0502020204030204"/>
                <a:ea typeface="+mn-ea"/>
                <a:cs typeface="+mn-cs"/>
              </a:rPr>
              <a:t>was killed in Deir al-Balah by an airstrik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Calibri" panose="020F0502020204030204"/>
                <a:ea typeface="+mn-ea"/>
                <a:cs typeface="+mn-cs"/>
              </a:rPr>
              <a:t>He was loved, motivated and dedicated to protecting childr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Calibri" panose="020F0502020204030204"/>
                <a:ea typeface="+mn-ea"/>
                <a:cs typeface="+mn-cs"/>
              </a:rPr>
              <a:t>through vaccination</a:t>
            </a:r>
          </a:p>
        </p:txBody>
      </p:sp>
      <p:sp>
        <p:nvSpPr>
          <p:cNvPr id="23" name="Rectangle 22">
            <a:extLst>
              <a:ext uri="{FF2B5EF4-FFF2-40B4-BE49-F238E27FC236}">
                <a16:creationId xmlns:a16="http://schemas.microsoft.com/office/drawing/2014/main" id="{2BCD548E-548F-B7E3-579B-9C922A3AE9B6}"/>
              </a:ext>
            </a:extLst>
          </p:cNvPr>
          <p:cNvSpPr/>
          <p:nvPr/>
        </p:nvSpPr>
        <p:spPr>
          <a:xfrm>
            <a:off x="5495544" y="777913"/>
            <a:ext cx="6687802" cy="45785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ield photos</a:t>
            </a:r>
          </a:p>
        </p:txBody>
      </p:sp>
      <p:sp>
        <p:nvSpPr>
          <p:cNvPr id="28" name="Text Placeholder 1">
            <a:extLst>
              <a:ext uri="{FF2B5EF4-FFF2-40B4-BE49-F238E27FC236}">
                <a16:creationId xmlns:a16="http://schemas.microsoft.com/office/drawing/2014/main" id="{9C02634E-1256-B59C-1F51-D39C51D6E3B7}"/>
              </a:ext>
            </a:extLst>
          </p:cNvPr>
          <p:cNvSpPr txBox="1">
            <a:spLocks/>
          </p:cNvSpPr>
          <p:nvPr/>
        </p:nvSpPr>
        <p:spPr>
          <a:xfrm>
            <a:off x="736892" y="3759493"/>
            <a:ext cx="1633869"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 name="Text Placeholder 1">
            <a:extLst>
              <a:ext uri="{FF2B5EF4-FFF2-40B4-BE49-F238E27FC236}">
                <a16:creationId xmlns:a16="http://schemas.microsoft.com/office/drawing/2014/main" id="{24F001C3-2A1D-8F71-45C3-34108E7CC027}"/>
              </a:ext>
            </a:extLst>
          </p:cNvPr>
          <p:cNvSpPr txBox="1">
            <a:spLocks/>
          </p:cNvSpPr>
          <p:nvPr/>
        </p:nvSpPr>
        <p:spPr>
          <a:xfrm>
            <a:off x="5325546" y="3184568"/>
            <a:ext cx="5808097" cy="772173"/>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Text Placeholder 1">
            <a:extLst>
              <a:ext uri="{FF2B5EF4-FFF2-40B4-BE49-F238E27FC236}">
                <a16:creationId xmlns:a16="http://schemas.microsoft.com/office/drawing/2014/main" id="{5687A99B-F81E-E037-ED7A-E4C12BDAF06F}"/>
              </a:ext>
            </a:extLst>
          </p:cNvPr>
          <p:cNvSpPr txBox="1">
            <a:spLocks/>
          </p:cNvSpPr>
          <p:nvPr/>
        </p:nvSpPr>
        <p:spPr>
          <a:xfrm>
            <a:off x="5349614" y="4658966"/>
            <a:ext cx="5860685" cy="772173"/>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Text Placeholder 1">
            <a:extLst>
              <a:ext uri="{FF2B5EF4-FFF2-40B4-BE49-F238E27FC236}">
                <a16:creationId xmlns:a16="http://schemas.microsoft.com/office/drawing/2014/main" id="{92E71D59-74B1-31FE-63E6-AE5A7C116A10}"/>
              </a:ext>
            </a:extLst>
          </p:cNvPr>
          <p:cNvSpPr txBox="1">
            <a:spLocks/>
          </p:cNvSpPr>
          <p:nvPr/>
        </p:nvSpPr>
        <p:spPr>
          <a:xfrm>
            <a:off x="5349614" y="2431353"/>
            <a:ext cx="5494546"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Text Placeholder 1">
            <a:extLst>
              <a:ext uri="{FF2B5EF4-FFF2-40B4-BE49-F238E27FC236}">
                <a16:creationId xmlns:a16="http://schemas.microsoft.com/office/drawing/2014/main" id="{48A2A90B-AD6E-D22C-AFBB-BB881BD3662A}"/>
              </a:ext>
            </a:extLst>
          </p:cNvPr>
          <p:cNvSpPr txBox="1">
            <a:spLocks/>
          </p:cNvSpPr>
          <p:nvPr/>
        </p:nvSpPr>
        <p:spPr>
          <a:xfrm>
            <a:off x="720562" y="2084902"/>
            <a:ext cx="1583095"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 name="Text Placeholder 1">
            <a:extLst>
              <a:ext uri="{FF2B5EF4-FFF2-40B4-BE49-F238E27FC236}">
                <a16:creationId xmlns:a16="http://schemas.microsoft.com/office/drawing/2014/main" id="{B71C5EBA-E610-D602-944A-85E9582A5247}"/>
              </a:ext>
            </a:extLst>
          </p:cNvPr>
          <p:cNvSpPr txBox="1">
            <a:spLocks/>
          </p:cNvSpPr>
          <p:nvPr/>
        </p:nvSpPr>
        <p:spPr>
          <a:xfrm>
            <a:off x="736892" y="5050110"/>
            <a:ext cx="1569277"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 name="Picture 2">
            <a:extLst>
              <a:ext uri="{FF2B5EF4-FFF2-40B4-BE49-F238E27FC236}">
                <a16:creationId xmlns:a16="http://schemas.microsoft.com/office/drawing/2014/main" id="{25F3B74E-EDD8-B733-4D48-EC1D28049373}"/>
              </a:ext>
              <a:ext uri="{C183D7F6-B498-43B3-948B-1728B52AA6E4}">
                <adec:decorative xmlns:adec="http://schemas.microsoft.com/office/drawing/2017/decorative" val="1"/>
              </a:ext>
            </a:extLst>
          </p:cNvPr>
          <p:cNvPicPr/>
          <p:nvPr/>
        </p:nvPicPr>
        <p:blipFill>
          <a:blip r:embed="rId7">
            <a:extLst>
              <a:ext uri="{28A0092B-C50C-407E-A947-70E740481C1C}">
                <a14:useLocalDpi xmlns:a14="http://schemas.microsoft.com/office/drawing/2010/main" val="0"/>
              </a:ext>
            </a:extLst>
          </a:blip>
          <a:stretch>
            <a:fillRect/>
          </a:stretch>
        </p:blipFill>
        <p:spPr bwMode="auto">
          <a:xfrm>
            <a:off x="-7272" y="0"/>
            <a:ext cx="1281558" cy="734799"/>
          </a:xfrm>
          <a:prstGeom prst="rect">
            <a:avLst/>
          </a:prstGeom>
          <a:ln>
            <a:noFill/>
          </a:ln>
          <a:extLst>
            <a:ext uri="{53640926-AAD7-44D8-BBD7-CCE9431645EC}">
              <a14:shadowObscured xmlns:a14="http://schemas.microsoft.com/office/drawing/2010/main"/>
            </a:ext>
          </a:extLst>
        </p:spPr>
      </p:pic>
      <p:pic>
        <p:nvPicPr>
          <p:cNvPr id="8" name="Picture 7">
            <a:extLst>
              <a:ext uri="{FF2B5EF4-FFF2-40B4-BE49-F238E27FC236}">
                <a16:creationId xmlns:a16="http://schemas.microsoft.com/office/drawing/2014/main" id="{ADBED673-CA16-CC68-ADEE-CD1D5A1AFC5B}"/>
              </a:ext>
            </a:extLst>
          </p:cNvPr>
          <p:cNvPicPr>
            <a:picLocks noChangeAspect="1"/>
          </p:cNvPicPr>
          <p:nvPr/>
        </p:nvPicPr>
        <p:blipFill>
          <a:blip r:embed="rId8"/>
          <a:stretch>
            <a:fillRect/>
          </a:stretch>
        </p:blipFill>
        <p:spPr>
          <a:xfrm>
            <a:off x="404504" y="1223305"/>
            <a:ext cx="4928439" cy="4919362"/>
          </a:xfrm>
          <a:prstGeom prst="rect">
            <a:avLst/>
          </a:prstGeom>
        </p:spPr>
      </p:pic>
      <p:pic>
        <p:nvPicPr>
          <p:cNvPr id="10" name="Picture 9">
            <a:extLst>
              <a:ext uri="{FF2B5EF4-FFF2-40B4-BE49-F238E27FC236}">
                <a16:creationId xmlns:a16="http://schemas.microsoft.com/office/drawing/2014/main" id="{0E2F7A6F-2FBD-DCDA-78E6-F25A86BD990C}"/>
              </a:ext>
            </a:extLst>
          </p:cNvPr>
          <p:cNvPicPr>
            <a:picLocks noChangeAspect="1"/>
          </p:cNvPicPr>
          <p:nvPr/>
        </p:nvPicPr>
        <p:blipFill>
          <a:blip r:embed="rId9"/>
          <a:stretch>
            <a:fillRect/>
          </a:stretch>
        </p:blipFill>
        <p:spPr>
          <a:xfrm>
            <a:off x="8750807" y="1274898"/>
            <a:ext cx="3406367" cy="3171093"/>
          </a:xfrm>
          <a:prstGeom prst="rect">
            <a:avLst/>
          </a:prstGeom>
        </p:spPr>
      </p:pic>
      <p:pic>
        <p:nvPicPr>
          <p:cNvPr id="19" name="Picture 18">
            <a:extLst>
              <a:ext uri="{FF2B5EF4-FFF2-40B4-BE49-F238E27FC236}">
                <a16:creationId xmlns:a16="http://schemas.microsoft.com/office/drawing/2014/main" id="{3330316D-070F-0FDC-B548-D7E9A06DAA3F}"/>
              </a:ext>
            </a:extLst>
          </p:cNvPr>
          <p:cNvPicPr>
            <a:picLocks noChangeAspect="1"/>
          </p:cNvPicPr>
          <p:nvPr/>
        </p:nvPicPr>
        <p:blipFill>
          <a:blip r:embed="rId10"/>
          <a:stretch>
            <a:fillRect/>
          </a:stretch>
        </p:blipFill>
        <p:spPr>
          <a:xfrm>
            <a:off x="5454701" y="3175984"/>
            <a:ext cx="3261280" cy="3638956"/>
          </a:xfrm>
          <a:prstGeom prst="rect">
            <a:avLst/>
          </a:prstGeom>
        </p:spPr>
      </p:pic>
      <p:pic>
        <p:nvPicPr>
          <p:cNvPr id="20" name="Picture 19">
            <a:extLst>
              <a:ext uri="{FF2B5EF4-FFF2-40B4-BE49-F238E27FC236}">
                <a16:creationId xmlns:a16="http://schemas.microsoft.com/office/drawing/2014/main" id="{70F6ABD9-EF71-D3D2-A529-6FC92263B45F}"/>
              </a:ext>
            </a:extLst>
          </p:cNvPr>
          <p:cNvPicPr>
            <a:picLocks noChangeAspect="1"/>
          </p:cNvPicPr>
          <p:nvPr/>
        </p:nvPicPr>
        <p:blipFill>
          <a:blip r:embed="rId11"/>
          <a:stretch>
            <a:fillRect/>
          </a:stretch>
        </p:blipFill>
        <p:spPr>
          <a:xfrm>
            <a:off x="10386854" y="71303"/>
            <a:ext cx="823445" cy="682593"/>
          </a:xfrm>
          <a:prstGeom prst="rect">
            <a:avLst/>
          </a:prstGeom>
        </p:spPr>
      </p:pic>
      <p:pic>
        <p:nvPicPr>
          <p:cNvPr id="24" name="Picture 23">
            <a:extLst>
              <a:ext uri="{FF2B5EF4-FFF2-40B4-BE49-F238E27FC236}">
                <a16:creationId xmlns:a16="http://schemas.microsoft.com/office/drawing/2014/main" id="{8D3BC1FF-F81B-F017-F706-54CEFB52FBA3}"/>
              </a:ext>
            </a:extLst>
          </p:cNvPr>
          <p:cNvPicPr>
            <a:picLocks noChangeAspect="1"/>
          </p:cNvPicPr>
          <p:nvPr/>
        </p:nvPicPr>
        <p:blipFill>
          <a:blip r:embed="rId12"/>
          <a:stretch>
            <a:fillRect/>
          </a:stretch>
        </p:blipFill>
        <p:spPr>
          <a:xfrm>
            <a:off x="11292840" y="53984"/>
            <a:ext cx="755831" cy="647453"/>
          </a:xfrm>
          <a:prstGeom prst="rect">
            <a:avLst/>
          </a:prstGeom>
        </p:spPr>
      </p:pic>
      <p:sp>
        <p:nvSpPr>
          <p:cNvPr id="25" name="TextBox 24">
            <a:extLst>
              <a:ext uri="{FF2B5EF4-FFF2-40B4-BE49-F238E27FC236}">
                <a16:creationId xmlns:a16="http://schemas.microsoft.com/office/drawing/2014/main" id="{EFB7D57C-ACBE-4420-7CAE-55CEE6820B47}"/>
              </a:ext>
            </a:extLst>
          </p:cNvPr>
          <p:cNvSpPr txBox="1"/>
          <p:nvPr/>
        </p:nvSpPr>
        <p:spPr>
          <a:xfrm>
            <a:off x="213721" y="6207870"/>
            <a:ext cx="44149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edical points highlighted in blue and PHCs in green</a:t>
            </a:r>
          </a:p>
        </p:txBody>
      </p:sp>
      <p:sp>
        <p:nvSpPr>
          <p:cNvPr id="26" name="TextBox 25">
            <a:extLst>
              <a:ext uri="{FF2B5EF4-FFF2-40B4-BE49-F238E27FC236}">
                <a16:creationId xmlns:a16="http://schemas.microsoft.com/office/drawing/2014/main" id="{86C13CB9-D752-96A6-96B6-BB01798D0E4B}"/>
              </a:ext>
            </a:extLst>
          </p:cNvPr>
          <p:cNvSpPr txBox="1"/>
          <p:nvPr/>
        </p:nvSpPr>
        <p:spPr>
          <a:xfrm>
            <a:off x="9251442" y="4721629"/>
            <a:ext cx="2654808"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 medical point established within weeks after the destruction of a PRCS fixed immunisation PHC</a:t>
            </a:r>
          </a:p>
        </p:txBody>
      </p:sp>
    </p:spTree>
    <p:extLst>
      <p:ext uri="{BB962C8B-B14F-4D97-AF65-F5344CB8AC3E}">
        <p14:creationId xmlns:p14="http://schemas.microsoft.com/office/powerpoint/2010/main" val="20904125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0480" y="842933"/>
            <a:ext cx="8996656" cy="332824"/>
          </a:xfrm>
        </p:spPr>
        <p:txBody>
          <a:bodyPr/>
          <a:lstStyle/>
          <a:p>
            <a:r>
              <a:rPr lang="en-US" sz="2000"/>
              <a:t>PRCS: Strengthening Its Role as a Local Health Actor</a:t>
            </a:r>
            <a:endParaRPr sz="2000"/>
          </a:p>
        </p:txBody>
      </p:sp>
      <p:sp>
        <p:nvSpPr>
          <p:cNvPr id="3" name="Content Placeholder 2"/>
          <p:cNvSpPr>
            <a:spLocks noGrp="1"/>
          </p:cNvSpPr>
          <p:nvPr>
            <p:ph idx="1"/>
          </p:nvPr>
        </p:nvSpPr>
        <p:spPr>
          <a:xfrm>
            <a:off x="447797" y="1829628"/>
            <a:ext cx="11319661" cy="5282152"/>
          </a:xfrm>
        </p:spPr>
        <p:txBody>
          <a:bodyPr>
            <a:normAutofit/>
          </a:bodyPr>
          <a:lstStyle/>
          <a:p>
            <a:pPr marL="304793" indent="0"/>
            <a:r>
              <a:rPr lang="en-US" sz="1600"/>
              <a:t>As a local actor, PRCS is leveraging its reach within communities in Gaza to deliver immunizations, building on its existing health capacities—including </a:t>
            </a:r>
            <a:r>
              <a:rPr lang="en-US" sz="1600" b="1"/>
              <a:t>EMS, hospitals, and health posts</a:t>
            </a:r>
            <a:r>
              <a:rPr lang="en-US" sz="1600"/>
              <a:t>—and strengthening the skills and commitment of its staff and volunteers at the community level. </a:t>
            </a:r>
            <a:r>
              <a:rPr lang="en-US" sz="1600" b="1"/>
              <a:t>Despite restricted access, PRCS has maintained operational continuity.</a:t>
            </a:r>
          </a:p>
          <a:p>
            <a:pPr marL="304793" indent="0"/>
            <a:endParaRPr lang="en-GB" sz="1600" b="1"/>
          </a:p>
          <a:p>
            <a:pPr marL="304793" indent="0"/>
            <a:r>
              <a:rPr lang="en-GB" sz="1600" b="1"/>
              <a:t>Effective coordination is essential, including: </a:t>
            </a:r>
            <a:endParaRPr lang="en-GB" sz="1600"/>
          </a:p>
          <a:p>
            <a:pPr marL="647693" indent="-342900">
              <a:buFont typeface="Arial" panose="020B0604020202020204" pitchFamily="34" charset="0"/>
              <a:buChar char="•"/>
            </a:pPr>
            <a:endParaRPr lang="en-GB" sz="1600"/>
          </a:p>
          <a:p>
            <a:pPr marL="647693" indent="-342900">
              <a:buFont typeface="Arial" panose="020B0604020202020204" pitchFamily="34" charset="0"/>
              <a:buChar char="•"/>
            </a:pPr>
            <a:r>
              <a:rPr lang="en-GB" sz="1600"/>
              <a:t>Actively participating in </a:t>
            </a:r>
            <a:r>
              <a:rPr lang="en-GB" sz="1600" b="1"/>
              <a:t>EPI technical coordination </a:t>
            </a:r>
            <a:r>
              <a:rPr lang="en-GB" sz="1600"/>
              <a:t>structures: align immunisation efforts with MoH and Alliance planning and closely follow deconfliction windows.</a:t>
            </a:r>
          </a:p>
          <a:p>
            <a:pPr marL="647693" indent="-342900">
              <a:buFont typeface="Arial" panose="020B0604020202020204" pitchFamily="34" charset="0"/>
              <a:buChar char="•"/>
            </a:pPr>
            <a:endParaRPr lang="en-GB" sz="1600" b="1"/>
          </a:p>
          <a:p>
            <a:pPr marL="647693" indent="-342900">
              <a:buFont typeface="Arial" panose="020B0604020202020204" pitchFamily="34" charset="0"/>
              <a:buChar char="•"/>
            </a:pPr>
            <a:r>
              <a:rPr lang="en-GB" sz="1600" b="1"/>
              <a:t>Ensuring all CSO data is reported to and recorded in MoH records, avoiding parallel structure. </a:t>
            </a:r>
            <a:r>
              <a:rPr lang="en-GB" sz="1600"/>
              <a:t>A plan is underway to link the reporting to </a:t>
            </a:r>
            <a:r>
              <a:rPr lang="en-GB" sz="1600" err="1"/>
              <a:t>Sehaty</a:t>
            </a:r>
            <a:r>
              <a:rPr lang="en-GB" sz="1600"/>
              <a:t> app for streamlined approach.  </a:t>
            </a:r>
          </a:p>
          <a:p>
            <a:pPr marL="647693" indent="-342900">
              <a:buFont typeface="Arial" panose="020B0604020202020204" pitchFamily="34" charset="0"/>
              <a:buChar char="•"/>
            </a:pPr>
            <a:endParaRPr lang="en-GB" sz="1600" b="1"/>
          </a:p>
          <a:p>
            <a:pPr marL="647693" indent="-342900">
              <a:buFont typeface="Arial" panose="020B0604020202020204" pitchFamily="34" charset="0"/>
              <a:buChar char="•"/>
            </a:pPr>
            <a:r>
              <a:rPr lang="en-GB" sz="1600" b="1"/>
              <a:t>Community-level engagement</a:t>
            </a:r>
            <a:r>
              <a:rPr lang="en-GB" sz="1600"/>
              <a:t>: shelter/ camp managers for IDP sites, MoH and community leaders to micro-plan vaccination sites, session timing, and crowd flow.</a:t>
            </a:r>
          </a:p>
          <a:p>
            <a:pPr marL="647693" indent="-342900">
              <a:buFont typeface="Arial" panose="020B0604020202020204" pitchFamily="34" charset="0"/>
              <a:buChar char="•"/>
            </a:pPr>
            <a:endParaRPr lang="en-GB" sz="1600"/>
          </a:p>
          <a:p>
            <a:pPr marL="647693" indent="-342900">
              <a:buFont typeface="Arial" panose="020B0604020202020204" pitchFamily="34" charset="0"/>
              <a:buChar char="•"/>
            </a:pPr>
            <a:endParaRPr sz="1600"/>
          </a:p>
        </p:txBody>
      </p:sp>
      <p:pic>
        <p:nvPicPr>
          <p:cNvPr id="4" name="Picture 3">
            <a:extLst>
              <a:ext uri="{FF2B5EF4-FFF2-40B4-BE49-F238E27FC236}">
                <a16:creationId xmlns:a16="http://schemas.microsoft.com/office/drawing/2014/main" id="{5408392B-4EA4-0C5B-6A4E-E5046E4B8335}"/>
              </a:ext>
            </a:extLst>
          </p:cNvPr>
          <p:cNvPicPr>
            <a:picLocks noChangeAspect="1"/>
          </p:cNvPicPr>
          <p:nvPr/>
        </p:nvPicPr>
        <p:blipFill>
          <a:blip r:embed="rId2"/>
          <a:stretch>
            <a:fillRect/>
          </a:stretch>
        </p:blipFill>
        <p:spPr>
          <a:xfrm>
            <a:off x="10598045" y="196295"/>
            <a:ext cx="920853" cy="892581"/>
          </a:xfrm>
          <a:prstGeom prst="rect">
            <a:avLst/>
          </a:prstGeom>
        </p:spPr>
      </p:pic>
      <p:pic>
        <p:nvPicPr>
          <p:cNvPr id="5" name="Picture 4">
            <a:extLst>
              <a:ext uri="{FF2B5EF4-FFF2-40B4-BE49-F238E27FC236}">
                <a16:creationId xmlns:a16="http://schemas.microsoft.com/office/drawing/2014/main" id="{6944E674-FCAA-31A1-6AD6-0EFBEEE23F82}"/>
              </a:ext>
            </a:extLst>
          </p:cNvPr>
          <p:cNvPicPr>
            <a:picLocks noChangeAspect="1"/>
          </p:cNvPicPr>
          <p:nvPr/>
        </p:nvPicPr>
        <p:blipFill>
          <a:blip r:embed="rId3"/>
          <a:stretch>
            <a:fillRect/>
          </a:stretch>
        </p:blipFill>
        <p:spPr>
          <a:xfrm>
            <a:off x="9670450" y="310237"/>
            <a:ext cx="920853" cy="763339"/>
          </a:xfrm>
          <a:prstGeom prst="rect">
            <a:avLst/>
          </a:prstGeom>
        </p:spPr>
      </p:pic>
      <p:sp>
        <p:nvSpPr>
          <p:cNvPr id="9" name="TextBox 8">
            <a:extLst>
              <a:ext uri="{FF2B5EF4-FFF2-40B4-BE49-F238E27FC236}">
                <a16:creationId xmlns:a16="http://schemas.microsoft.com/office/drawing/2014/main" id="{A3C519F6-63ED-DFDE-998B-34AACBBF410A}"/>
              </a:ext>
            </a:extLst>
          </p:cNvPr>
          <p:cNvSpPr txBox="1"/>
          <p:nvPr/>
        </p:nvSpPr>
        <p:spPr>
          <a:xfrm>
            <a:off x="764815" y="6015374"/>
            <a:ext cx="11207987"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Calibri" panose="020F0502020204030204"/>
                <a:ea typeface="+mn-ea"/>
                <a:cs typeface="+mn-cs"/>
              </a:rPr>
              <a:t>‘PRCS bridges the gap between communities and health systems; empowering them as strategic partners strengthens trust and ensures access to hard-to-reach populations</a:t>
            </a:r>
            <a:r>
              <a:rPr kumimoji="0" lang="en-US" sz="1800" b="1" i="1" u="none" strike="noStrike" kern="1200" cap="none" spc="0" normalizeH="0" baseline="0" noProof="0">
                <a:ln>
                  <a:noFill/>
                </a:ln>
                <a:solidFill>
                  <a:srgbClr val="000000"/>
                </a:solidFill>
                <a:effectLst/>
                <a:uLnTx/>
                <a:uFillTx/>
                <a:latin typeface="Calibri" panose="020F0502020204030204"/>
                <a:ea typeface="+mn-ea"/>
                <a:cs typeface="+mn-cs"/>
              </a:rPr>
              <a:t>.’</a:t>
            </a:r>
            <a:endParaRPr kumimoji="0" lang="en-US" sz="1800" b="0" i="1"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2CBA2E93-367A-3E30-8090-37B12524A38E}"/>
              </a:ext>
              <a:ext uri="{C183D7F6-B498-43B3-948B-1728B52AA6E4}">
                <adec:decorative xmlns:adec="http://schemas.microsoft.com/office/drawing/2017/decorative" val="1"/>
              </a:ext>
            </a:extLst>
          </p:cNvPr>
          <p:cNvPicPr/>
          <p:nvPr/>
        </p:nvPicPr>
        <p:blipFill>
          <a:blip r:embed="rId4">
            <a:extLst>
              <a:ext uri="{28A0092B-C50C-407E-A947-70E740481C1C}">
                <a14:useLocalDpi xmlns:a14="http://schemas.microsoft.com/office/drawing/2010/main" val="0"/>
              </a:ext>
            </a:extLst>
          </a:blip>
          <a:stretch>
            <a:fillRect/>
          </a:stretch>
        </p:blipFill>
        <p:spPr bwMode="auto">
          <a:xfrm>
            <a:off x="-7272" y="0"/>
            <a:ext cx="1281558" cy="854710"/>
          </a:xfrm>
          <a:prstGeom prst="rect">
            <a:avLst/>
          </a:prstGeom>
          <a:ln>
            <a:noFill/>
          </a:ln>
          <a:extLst>
            <a:ext uri="{53640926-AAD7-44D8-BBD7-CCE9431645EC}">
              <a14:shadowObscured xmlns:a14="http://schemas.microsoft.com/office/drawing/2010/main"/>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0D853C-849D-5ACE-9881-67A6A5DFE1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8"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AD0D853C-849D-5ACE-9881-67A6A5DFE1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1">
            <a:extLst>
              <a:ext uri="{FF2B5EF4-FFF2-40B4-BE49-F238E27FC236}">
                <a16:creationId xmlns:a16="http://schemas.microsoft.com/office/drawing/2014/main" id="{E7CBDB5F-BCD4-E323-97C0-AD30D1DF9519}"/>
              </a:ext>
            </a:extLst>
          </p:cNvPr>
          <p:cNvSpPr txBox="1">
            <a:spLocks/>
          </p:cNvSpPr>
          <p:nvPr/>
        </p:nvSpPr>
        <p:spPr>
          <a:xfrm>
            <a:off x="5744143" y="2134472"/>
            <a:ext cx="2275335" cy="2034477"/>
          </a:xfrm>
          <a:prstGeom prst="rect">
            <a:avLst/>
          </a:prstGeom>
          <a:solidFill>
            <a:schemeClr val="bg1"/>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5" name="Text Placeholder 1">
            <a:extLst>
              <a:ext uri="{FF2B5EF4-FFF2-40B4-BE49-F238E27FC236}">
                <a16:creationId xmlns:a16="http://schemas.microsoft.com/office/drawing/2014/main" id="{0346FE17-BFE9-BA47-F727-633786AF43AC}"/>
              </a:ext>
            </a:extLst>
          </p:cNvPr>
          <p:cNvSpPr txBox="1">
            <a:spLocks/>
          </p:cNvSpPr>
          <p:nvPr/>
        </p:nvSpPr>
        <p:spPr>
          <a:xfrm>
            <a:off x="2668690" y="1390623"/>
            <a:ext cx="2301634"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46" name="Text Placeholder 1">
            <a:extLst>
              <a:ext uri="{FF2B5EF4-FFF2-40B4-BE49-F238E27FC236}">
                <a16:creationId xmlns:a16="http://schemas.microsoft.com/office/drawing/2014/main" id="{D0611986-3E0D-2AA2-D1B4-9733183A8542}"/>
              </a:ext>
            </a:extLst>
          </p:cNvPr>
          <p:cNvSpPr txBox="1">
            <a:spLocks/>
          </p:cNvSpPr>
          <p:nvPr/>
        </p:nvSpPr>
        <p:spPr>
          <a:xfrm>
            <a:off x="8187697" y="1664974"/>
            <a:ext cx="2301634"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13" name="Text Placeholder 1">
            <a:extLst>
              <a:ext uri="{FF2B5EF4-FFF2-40B4-BE49-F238E27FC236}">
                <a16:creationId xmlns:a16="http://schemas.microsoft.com/office/drawing/2014/main" id="{E7CE8A18-73A5-1486-E387-6031CB12DCCA}"/>
              </a:ext>
            </a:extLst>
          </p:cNvPr>
          <p:cNvSpPr txBox="1">
            <a:spLocks/>
          </p:cNvSpPr>
          <p:nvPr/>
        </p:nvSpPr>
        <p:spPr>
          <a:xfrm>
            <a:off x="655127" y="1664974"/>
            <a:ext cx="3473387"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39" name="Rectangle 38">
            <a:extLst>
              <a:ext uri="{FF2B5EF4-FFF2-40B4-BE49-F238E27FC236}">
                <a16:creationId xmlns:a16="http://schemas.microsoft.com/office/drawing/2014/main" id="{CED2D1C8-60BB-6B4A-A0D5-503497D81340}"/>
              </a:ext>
            </a:extLst>
          </p:cNvPr>
          <p:cNvSpPr/>
          <p:nvPr/>
        </p:nvSpPr>
        <p:spPr>
          <a:xfrm>
            <a:off x="512162" y="463972"/>
            <a:ext cx="5162143" cy="45785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oject successes and achievements</a:t>
            </a:r>
          </a:p>
        </p:txBody>
      </p:sp>
      <p:sp>
        <p:nvSpPr>
          <p:cNvPr id="40" name="Text Placeholder 1">
            <a:extLst>
              <a:ext uri="{FF2B5EF4-FFF2-40B4-BE49-F238E27FC236}">
                <a16:creationId xmlns:a16="http://schemas.microsoft.com/office/drawing/2014/main" id="{1D49926E-E7AF-F136-A36F-5E50AE216D86}"/>
              </a:ext>
            </a:extLst>
          </p:cNvPr>
          <p:cNvSpPr txBox="1">
            <a:spLocks/>
          </p:cNvSpPr>
          <p:nvPr/>
        </p:nvSpPr>
        <p:spPr>
          <a:xfrm>
            <a:off x="-502985" y="780381"/>
            <a:ext cx="5201592" cy="435274"/>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fr"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1" name="Text Placeholder 1">
            <a:extLst>
              <a:ext uri="{FF2B5EF4-FFF2-40B4-BE49-F238E27FC236}">
                <a16:creationId xmlns:a16="http://schemas.microsoft.com/office/drawing/2014/main" id="{2479D008-0106-B713-0EBD-7391B6F87501}"/>
              </a:ext>
            </a:extLst>
          </p:cNvPr>
          <p:cNvSpPr txBox="1">
            <a:spLocks/>
          </p:cNvSpPr>
          <p:nvPr/>
        </p:nvSpPr>
        <p:spPr>
          <a:xfrm>
            <a:off x="512163" y="922964"/>
            <a:ext cx="5159720" cy="5512487"/>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793"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7,013 children reached with at least one vaccine dose (Apr –Aug 2025)</a:t>
            </a:r>
          </a:p>
          <a:p>
            <a:pPr marL="304793"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0,331 antigens administered including: Penta: 2,642. Polio/IPV: 8,081. MCV: 1,856</a:t>
            </a:r>
          </a:p>
          <a:p>
            <a:pPr marL="304793"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ore than 40 immunization awareness sessions have been conducted in IDP sites</a:t>
            </a:r>
          </a:p>
          <a:p>
            <a:pPr marL="304793"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304793"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CS was a key partner in 3 rounds of </a:t>
            </a:r>
            <a:r>
              <a:rPr kumimoji="0" lang="en-US" sz="1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nOPV</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campaigns (2024-2025) </a:t>
            </a:r>
          </a:p>
          <a:p>
            <a:pPr marL="304793"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304793"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spite short access windows, strong micro-planning enabled delivery at scale. </a:t>
            </a:r>
          </a:p>
          <a:p>
            <a:pPr marL="304793"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304793"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CS reached nearly 100% of targeted children in its areas of operation, with the MOH relying heavily on PRCS to reach hard to reach areas like North Gaza </a:t>
            </a:r>
          </a:p>
        </p:txBody>
      </p:sp>
      <p:sp>
        <p:nvSpPr>
          <p:cNvPr id="60" name="Text Placeholder 1">
            <a:extLst>
              <a:ext uri="{FF2B5EF4-FFF2-40B4-BE49-F238E27FC236}">
                <a16:creationId xmlns:a16="http://schemas.microsoft.com/office/drawing/2014/main" id="{5A3DFD94-71CB-B8D8-1E62-C2BCE127DE65}"/>
              </a:ext>
            </a:extLst>
          </p:cNvPr>
          <p:cNvSpPr txBox="1">
            <a:spLocks/>
          </p:cNvSpPr>
          <p:nvPr/>
        </p:nvSpPr>
        <p:spPr>
          <a:xfrm>
            <a:off x="37619" y="973739"/>
            <a:ext cx="434891" cy="876373"/>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2" name="Text Placeholder 1">
            <a:extLst>
              <a:ext uri="{FF2B5EF4-FFF2-40B4-BE49-F238E27FC236}">
                <a16:creationId xmlns:a16="http://schemas.microsoft.com/office/drawing/2014/main" id="{51DB7458-5002-1C30-9B7B-34A43A9C3089}"/>
              </a:ext>
            </a:extLst>
          </p:cNvPr>
          <p:cNvSpPr txBox="1">
            <a:spLocks/>
          </p:cNvSpPr>
          <p:nvPr/>
        </p:nvSpPr>
        <p:spPr>
          <a:xfrm>
            <a:off x="67441" y="2166690"/>
            <a:ext cx="434891" cy="876373"/>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6" name="Text Placeholder 1">
            <a:extLst>
              <a:ext uri="{FF2B5EF4-FFF2-40B4-BE49-F238E27FC236}">
                <a16:creationId xmlns:a16="http://schemas.microsoft.com/office/drawing/2014/main" id="{CA00D43F-3419-6897-7225-A22CE92DD59F}"/>
              </a:ext>
            </a:extLst>
          </p:cNvPr>
          <p:cNvSpPr txBox="1">
            <a:spLocks/>
          </p:cNvSpPr>
          <p:nvPr/>
        </p:nvSpPr>
        <p:spPr>
          <a:xfrm>
            <a:off x="8040382" y="1667500"/>
            <a:ext cx="3473387"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78" name="Text Placeholder 1">
            <a:extLst>
              <a:ext uri="{FF2B5EF4-FFF2-40B4-BE49-F238E27FC236}">
                <a16:creationId xmlns:a16="http://schemas.microsoft.com/office/drawing/2014/main" id="{D8B1C779-7FEC-D86A-EA08-D9FCAED1352C}"/>
              </a:ext>
            </a:extLst>
          </p:cNvPr>
          <p:cNvSpPr txBox="1">
            <a:spLocks/>
          </p:cNvSpPr>
          <p:nvPr/>
        </p:nvSpPr>
        <p:spPr>
          <a:xfrm>
            <a:off x="5882684" y="440140"/>
            <a:ext cx="4788902" cy="445938"/>
          </a:xfrm>
          <a:prstGeom prst="rect">
            <a:avLst/>
          </a:prstGeom>
          <a:solidFill>
            <a:schemeClr val="bg1">
              <a:lumMod val="8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ecommendations to Gavi</a:t>
            </a:r>
          </a:p>
        </p:txBody>
      </p:sp>
      <p:grpSp>
        <p:nvGrpSpPr>
          <p:cNvPr id="79" name="Group 78">
            <a:extLst>
              <a:ext uri="{FF2B5EF4-FFF2-40B4-BE49-F238E27FC236}">
                <a16:creationId xmlns:a16="http://schemas.microsoft.com/office/drawing/2014/main" id="{ABF25D5E-5C45-CA02-3314-855B331A1AA2}"/>
              </a:ext>
            </a:extLst>
          </p:cNvPr>
          <p:cNvGrpSpPr/>
          <p:nvPr/>
        </p:nvGrpSpPr>
        <p:grpSpPr>
          <a:xfrm>
            <a:off x="5909320" y="1012006"/>
            <a:ext cx="6095706" cy="5845994"/>
            <a:chOff x="-1079863" y="1974457"/>
            <a:chExt cx="5306250" cy="3748473"/>
          </a:xfrm>
        </p:grpSpPr>
        <p:sp>
          <p:nvSpPr>
            <p:cNvPr id="81" name="Text Placeholder 1">
              <a:extLst>
                <a:ext uri="{FF2B5EF4-FFF2-40B4-BE49-F238E27FC236}">
                  <a16:creationId xmlns:a16="http://schemas.microsoft.com/office/drawing/2014/main" id="{25A0C1EB-1196-5103-5F46-0C7A1719622C}"/>
                </a:ext>
              </a:extLst>
            </p:cNvPr>
            <p:cNvSpPr txBox="1">
              <a:spLocks/>
            </p:cNvSpPr>
            <p:nvPr/>
          </p:nvSpPr>
          <p:spPr>
            <a:xfrm>
              <a:off x="-617129" y="2132801"/>
              <a:ext cx="4843516" cy="3590129"/>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2" name="Text Placeholder 1">
              <a:extLst>
                <a:ext uri="{FF2B5EF4-FFF2-40B4-BE49-F238E27FC236}">
                  <a16:creationId xmlns:a16="http://schemas.microsoft.com/office/drawing/2014/main" id="{A6A90D06-8F6B-9B5A-E892-0BC79B2DDCE9}"/>
                </a:ext>
              </a:extLst>
            </p:cNvPr>
            <p:cNvSpPr txBox="1">
              <a:spLocks/>
            </p:cNvSpPr>
            <p:nvPr/>
          </p:nvSpPr>
          <p:spPr>
            <a:xfrm>
              <a:off x="-1051156" y="1974457"/>
              <a:ext cx="428505" cy="476184"/>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3" name="Text Placeholder 1">
              <a:extLst>
                <a:ext uri="{FF2B5EF4-FFF2-40B4-BE49-F238E27FC236}">
                  <a16:creationId xmlns:a16="http://schemas.microsoft.com/office/drawing/2014/main" id="{26873D4A-BC62-9671-6E48-600994FFA6F0}"/>
                </a:ext>
              </a:extLst>
            </p:cNvPr>
            <p:cNvSpPr txBox="1">
              <a:spLocks/>
            </p:cNvSpPr>
            <p:nvPr/>
          </p:nvSpPr>
          <p:spPr>
            <a:xfrm>
              <a:off x="-1079863" y="2652095"/>
              <a:ext cx="428505" cy="579442"/>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7" name="Text Placeholder 1">
            <a:extLst>
              <a:ext uri="{FF2B5EF4-FFF2-40B4-BE49-F238E27FC236}">
                <a16:creationId xmlns:a16="http://schemas.microsoft.com/office/drawing/2014/main" id="{70E14238-3266-CFC7-4A13-DF7D6B017436}"/>
              </a:ext>
            </a:extLst>
          </p:cNvPr>
          <p:cNvSpPr txBox="1">
            <a:spLocks/>
          </p:cNvSpPr>
          <p:nvPr/>
        </p:nvSpPr>
        <p:spPr>
          <a:xfrm>
            <a:off x="473352" y="4791258"/>
            <a:ext cx="4704230" cy="832176"/>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2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pic>
        <p:nvPicPr>
          <p:cNvPr id="8" name="Picture 7">
            <a:extLst>
              <a:ext uri="{FF2B5EF4-FFF2-40B4-BE49-F238E27FC236}">
                <a16:creationId xmlns:a16="http://schemas.microsoft.com/office/drawing/2014/main" id="{2021BB09-B180-1985-4E0A-91D6BDD0FF00}"/>
              </a:ext>
              <a:ext uri="{C183D7F6-B498-43B3-948B-1728B52AA6E4}">
                <adec:decorative xmlns:adec="http://schemas.microsoft.com/office/drawing/2017/decorative" val="1"/>
              </a:ext>
            </a:extLst>
          </p:cNvPr>
          <p:cNvPicPr/>
          <p:nvPr/>
        </p:nvPicPr>
        <p:blipFill>
          <a:blip r:embed="rId7">
            <a:extLst>
              <a:ext uri="{28A0092B-C50C-407E-A947-70E740481C1C}">
                <a14:useLocalDpi xmlns:a14="http://schemas.microsoft.com/office/drawing/2010/main" val="0"/>
              </a:ext>
            </a:extLst>
          </a:blip>
          <a:stretch>
            <a:fillRect/>
          </a:stretch>
        </p:blipFill>
        <p:spPr bwMode="auto">
          <a:xfrm>
            <a:off x="-7272" y="0"/>
            <a:ext cx="939960" cy="475001"/>
          </a:xfrm>
          <a:prstGeom prst="rect">
            <a:avLst/>
          </a:prstGeom>
          <a:ln>
            <a:noFill/>
          </a:ln>
          <a:extLst>
            <a:ext uri="{53640926-AAD7-44D8-BBD7-CCE9431645EC}">
              <a14:shadowObscured xmlns:a14="http://schemas.microsoft.com/office/drawing/2010/main"/>
            </a:ext>
          </a:extLst>
        </p:spPr>
      </p:pic>
      <p:sp>
        <p:nvSpPr>
          <p:cNvPr id="11" name="Text Placeholder 1">
            <a:extLst>
              <a:ext uri="{FF2B5EF4-FFF2-40B4-BE49-F238E27FC236}">
                <a16:creationId xmlns:a16="http://schemas.microsoft.com/office/drawing/2014/main" id="{CF40EB27-3BAE-C6F7-22C9-AECE1E6B707B}"/>
              </a:ext>
            </a:extLst>
          </p:cNvPr>
          <p:cNvSpPr txBox="1">
            <a:spLocks/>
          </p:cNvSpPr>
          <p:nvPr/>
        </p:nvSpPr>
        <p:spPr>
          <a:xfrm>
            <a:off x="74850" y="3180591"/>
            <a:ext cx="434891" cy="610452"/>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3</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Text Placeholder 1">
            <a:extLst>
              <a:ext uri="{FF2B5EF4-FFF2-40B4-BE49-F238E27FC236}">
                <a16:creationId xmlns:a16="http://schemas.microsoft.com/office/drawing/2014/main" id="{BF2143CA-6DDD-A5F9-55D9-F9BBDD1B8D78}"/>
              </a:ext>
            </a:extLst>
          </p:cNvPr>
          <p:cNvSpPr txBox="1">
            <a:spLocks/>
          </p:cNvSpPr>
          <p:nvPr/>
        </p:nvSpPr>
        <p:spPr>
          <a:xfrm>
            <a:off x="5917959" y="4473597"/>
            <a:ext cx="492257" cy="738476"/>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4</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Text Placeholder 1">
            <a:extLst>
              <a:ext uri="{FF2B5EF4-FFF2-40B4-BE49-F238E27FC236}">
                <a16:creationId xmlns:a16="http://schemas.microsoft.com/office/drawing/2014/main" id="{DA2FE076-8336-FBE2-14C2-458FD88E784C}"/>
              </a:ext>
            </a:extLst>
          </p:cNvPr>
          <p:cNvSpPr txBox="1">
            <a:spLocks/>
          </p:cNvSpPr>
          <p:nvPr/>
        </p:nvSpPr>
        <p:spPr>
          <a:xfrm>
            <a:off x="5917959" y="3457395"/>
            <a:ext cx="492257" cy="819022"/>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3</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Text Placeholder 1">
            <a:extLst>
              <a:ext uri="{FF2B5EF4-FFF2-40B4-BE49-F238E27FC236}">
                <a16:creationId xmlns:a16="http://schemas.microsoft.com/office/drawing/2014/main" id="{80E68955-F432-E8FC-B8DC-1C838BBC1B03}"/>
              </a:ext>
            </a:extLst>
          </p:cNvPr>
          <p:cNvSpPr txBox="1">
            <a:spLocks/>
          </p:cNvSpPr>
          <p:nvPr/>
        </p:nvSpPr>
        <p:spPr>
          <a:xfrm>
            <a:off x="5928981" y="5845994"/>
            <a:ext cx="492257" cy="738476"/>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5</a:t>
            </a:r>
          </a:p>
        </p:txBody>
      </p:sp>
      <p:sp>
        <p:nvSpPr>
          <p:cNvPr id="2" name="Text Placeholder 1">
            <a:extLst>
              <a:ext uri="{FF2B5EF4-FFF2-40B4-BE49-F238E27FC236}">
                <a16:creationId xmlns:a16="http://schemas.microsoft.com/office/drawing/2014/main" id="{2AB547F1-0B45-15FD-471D-F4E68A8C4F18}"/>
              </a:ext>
            </a:extLst>
          </p:cNvPr>
          <p:cNvSpPr txBox="1">
            <a:spLocks/>
          </p:cNvSpPr>
          <p:nvPr/>
        </p:nvSpPr>
        <p:spPr>
          <a:xfrm>
            <a:off x="19958" y="4168732"/>
            <a:ext cx="492257" cy="738476"/>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4</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Text Placeholder 1">
            <a:extLst>
              <a:ext uri="{FF2B5EF4-FFF2-40B4-BE49-F238E27FC236}">
                <a16:creationId xmlns:a16="http://schemas.microsoft.com/office/drawing/2014/main" id="{F04852D8-6F34-C35F-7708-A14FA0D2B434}"/>
              </a:ext>
            </a:extLst>
          </p:cNvPr>
          <p:cNvSpPr txBox="1">
            <a:spLocks/>
          </p:cNvSpPr>
          <p:nvPr/>
        </p:nvSpPr>
        <p:spPr>
          <a:xfrm>
            <a:off x="28597" y="5213723"/>
            <a:ext cx="492257" cy="738476"/>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5</a:t>
            </a:r>
          </a:p>
        </p:txBody>
      </p:sp>
      <p:sp>
        <p:nvSpPr>
          <p:cNvPr id="22" name="TextBox 21">
            <a:extLst>
              <a:ext uri="{FF2B5EF4-FFF2-40B4-BE49-F238E27FC236}">
                <a16:creationId xmlns:a16="http://schemas.microsoft.com/office/drawing/2014/main" id="{FECB25EC-C907-B22F-73AC-67A38A7E3E2F}"/>
              </a:ext>
            </a:extLst>
          </p:cNvPr>
          <p:cNvSpPr txBox="1"/>
          <p:nvPr/>
        </p:nvSpPr>
        <p:spPr>
          <a:xfrm>
            <a:off x="6453586" y="886078"/>
            <a:ext cx="5536844" cy="61247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stitutionalize central MoH–CSO coordination (EPI):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 clear streamlined coordination channel with clear focal points, mirrored at subnational level with shared micro-pla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mpower local, context appropriate, and community accepted organizations to be strategic partners in immunization planning and service delivery b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dvocating with MOH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o expand immunization service delivery partners to include local CSOs who are trusted by communities and can reach hard-to-access popul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oviding flexible and dynamic funding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at empowers local actors to make field appropriate, timely adjustments to operations during acute humanitarian cri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dopting a greater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olerance for risk and a no regrets mindset</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This may involve accepting less detailed budgets and streamlined reporting requirements. Such an approach enables local organizations to direct their efforts and resources toward urgently reaching missed children and preventing outbreaks, rather than heavy reporting requiremen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abling CSOs to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tegrate immunization activities with other urgent, context-specific humanitarian and primary health priorities</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for example nutritional supplements and WASH, ensuring a more holistic and efficient response in fragile settings and avoiding missed opportunities</a:t>
            </a:r>
            <a:endPar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3" name="Picture 22">
            <a:extLst>
              <a:ext uri="{FF2B5EF4-FFF2-40B4-BE49-F238E27FC236}">
                <a16:creationId xmlns:a16="http://schemas.microsoft.com/office/drawing/2014/main" id="{06725FF0-BF71-6A36-298F-C91044D1CDA5}"/>
              </a:ext>
            </a:extLst>
          </p:cNvPr>
          <p:cNvPicPr>
            <a:picLocks noChangeAspect="1"/>
          </p:cNvPicPr>
          <p:nvPr/>
        </p:nvPicPr>
        <p:blipFill>
          <a:blip r:embed="rId8"/>
          <a:stretch>
            <a:fillRect/>
          </a:stretch>
        </p:blipFill>
        <p:spPr>
          <a:xfrm>
            <a:off x="11313733" y="89014"/>
            <a:ext cx="881791" cy="755352"/>
          </a:xfrm>
          <a:prstGeom prst="rect">
            <a:avLst/>
          </a:prstGeom>
        </p:spPr>
      </p:pic>
      <p:pic>
        <p:nvPicPr>
          <p:cNvPr id="25" name="Picture 24">
            <a:extLst>
              <a:ext uri="{FF2B5EF4-FFF2-40B4-BE49-F238E27FC236}">
                <a16:creationId xmlns:a16="http://schemas.microsoft.com/office/drawing/2014/main" id="{B9E181F1-2CEB-4864-B86E-A2B2422F6292}"/>
              </a:ext>
            </a:extLst>
          </p:cNvPr>
          <p:cNvPicPr>
            <a:picLocks noChangeAspect="1"/>
          </p:cNvPicPr>
          <p:nvPr/>
        </p:nvPicPr>
        <p:blipFill>
          <a:blip r:embed="rId9"/>
          <a:stretch>
            <a:fillRect/>
          </a:stretch>
        </p:blipFill>
        <p:spPr>
          <a:xfrm>
            <a:off x="10671586" y="196315"/>
            <a:ext cx="537957" cy="445938"/>
          </a:xfrm>
          <a:prstGeom prst="rect">
            <a:avLst/>
          </a:prstGeom>
        </p:spPr>
      </p:pic>
    </p:spTree>
    <p:extLst>
      <p:ext uri="{BB962C8B-B14F-4D97-AF65-F5344CB8AC3E}">
        <p14:creationId xmlns:p14="http://schemas.microsoft.com/office/powerpoint/2010/main" val="36789925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43E72A9-B391-522E-9045-AF10840FA9C0}"/>
              </a:ext>
            </a:extLst>
          </p:cNvPr>
          <p:cNvSpPr/>
          <p:nvPr/>
        </p:nvSpPr>
        <p:spPr>
          <a:xfrm>
            <a:off x="-1298" y="0"/>
            <a:ext cx="453881" cy="6858000"/>
          </a:xfrm>
          <a:prstGeom prst="rect">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7467A356-7078-A730-0BC5-B353AB2196E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8" name="Title 1">
            <a:extLst>
              <a:ext uri="{FF2B5EF4-FFF2-40B4-BE49-F238E27FC236}">
                <a16:creationId xmlns:a16="http://schemas.microsoft.com/office/drawing/2014/main" id="{36975764-AA09-E82F-FA8F-74F31B482CE3}"/>
              </a:ext>
            </a:extLst>
          </p:cNvPr>
          <p:cNvSpPr txBox="1">
            <a:spLocks/>
          </p:cNvSpPr>
          <p:nvPr/>
        </p:nvSpPr>
        <p:spPr>
          <a:xfrm>
            <a:off x="0" y="2377832"/>
            <a:ext cx="12191999" cy="924169"/>
          </a:xfrm>
          <a:prstGeom prst="rect">
            <a:avLst/>
          </a:prstGeom>
          <a:solidFill>
            <a:schemeClr val="bg1"/>
          </a:solidFill>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Save the Children - Sudan</a:t>
            </a:r>
          </a:p>
        </p:txBody>
      </p:sp>
      <p:sp>
        <p:nvSpPr>
          <p:cNvPr id="9" name="TextBox 8">
            <a:extLst>
              <a:ext uri="{FF2B5EF4-FFF2-40B4-BE49-F238E27FC236}">
                <a16:creationId xmlns:a16="http://schemas.microsoft.com/office/drawing/2014/main" id="{250E1250-E910-A3EC-AD54-3829D82082D7}"/>
              </a:ext>
            </a:extLst>
          </p:cNvPr>
          <p:cNvSpPr txBox="1"/>
          <p:nvPr/>
        </p:nvSpPr>
        <p:spPr>
          <a:xfrm>
            <a:off x="225642" y="3627242"/>
            <a:ext cx="10766012"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esenter</a:t>
            </a:r>
            <a:r>
              <a:rPr kumimoji="0" lang="en-US"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Dr. Bashir Kamalelde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Health and Nutrition Dire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S</a:t>
            </a:r>
            <a:r>
              <a:rPr kumimoji="0" lang="en-US" sz="1600" b="1" i="0" u="none" strike="noStrike" kern="1200" cap="none" spc="30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udan</a:t>
            </a:r>
            <a:br>
              <a:rPr kumimoji="0" lang="en-US"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p:txBody>
      </p:sp>
      <p:graphicFrame>
        <p:nvGraphicFramePr>
          <p:cNvPr id="2" name="Table 1">
            <a:extLst>
              <a:ext uri="{FF2B5EF4-FFF2-40B4-BE49-F238E27FC236}">
                <a16:creationId xmlns:a16="http://schemas.microsoft.com/office/drawing/2014/main" id="{0D54EFFD-4036-F10D-9CDE-221600B4F473}"/>
              </a:ext>
            </a:extLst>
          </p:cNvPr>
          <p:cNvGraphicFramePr>
            <a:graphicFrameLocks noGrp="1"/>
          </p:cNvGraphicFramePr>
          <p:nvPr/>
        </p:nvGraphicFramePr>
        <p:xfrm>
          <a:off x="2032000" y="594556"/>
          <a:ext cx="8128000" cy="1188720"/>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640285045"/>
                    </a:ext>
                  </a:extLst>
                </a:gridCol>
              </a:tblGrid>
              <a:tr h="370840">
                <a:tc>
                  <a:txBody>
                    <a:bodyPr/>
                    <a:lstStyle/>
                    <a:p>
                      <a:endParaRPr lang="en-US"/>
                    </a:p>
                    <a:p>
                      <a:endParaRPr lang="en-US"/>
                    </a:p>
                    <a:p>
                      <a:endParaRPr lang="en-US"/>
                    </a:p>
                    <a:p>
                      <a:endParaRPr lang="en-US"/>
                    </a:p>
                  </a:txBody>
                  <a:tcPr>
                    <a:solidFill>
                      <a:schemeClr val="bg1"/>
                    </a:solidFill>
                  </a:tcPr>
                </a:tc>
                <a:extLst>
                  <a:ext uri="{0D108BD9-81ED-4DB2-BD59-A6C34878D82A}">
                    <a16:rowId xmlns:a16="http://schemas.microsoft.com/office/drawing/2014/main" val="3705412119"/>
                  </a:ext>
                </a:extLst>
              </a:tr>
            </a:tbl>
          </a:graphicData>
        </a:graphic>
      </p:graphicFrame>
      <p:pic>
        <p:nvPicPr>
          <p:cNvPr id="4" name="Picture 3" descr="A logo of a palm tree&#10;&#10;AI-generated content may be incorrect.">
            <a:extLst>
              <a:ext uri="{FF2B5EF4-FFF2-40B4-BE49-F238E27FC236}">
                <a16:creationId xmlns:a16="http://schemas.microsoft.com/office/drawing/2014/main" id="{4B8E6F43-0535-1440-56DD-95C8BE427BAC}"/>
              </a:ext>
            </a:extLst>
          </p:cNvPr>
          <p:cNvPicPr>
            <a:picLocks noChangeAspect="1"/>
          </p:cNvPicPr>
          <p:nvPr/>
        </p:nvPicPr>
        <p:blipFill>
          <a:blip r:embed="rId2">
            <a:clrChange>
              <a:clrFrom>
                <a:srgbClr val="FDFEFF"/>
              </a:clrFrom>
              <a:clrTo>
                <a:srgbClr val="FDFEFF">
                  <a:alpha val="0"/>
                </a:srgbClr>
              </a:clrTo>
            </a:clrChange>
            <a:extLst>
              <a:ext uri="{28A0092B-C50C-407E-A947-70E740481C1C}">
                <a14:useLocalDpi xmlns:a14="http://schemas.microsoft.com/office/drawing/2010/main" val="0"/>
              </a:ext>
            </a:extLst>
          </a:blip>
          <a:stretch>
            <a:fillRect/>
          </a:stretch>
        </p:blipFill>
        <p:spPr>
          <a:xfrm>
            <a:off x="8612819" y="604603"/>
            <a:ext cx="1178673" cy="1178673"/>
          </a:xfrm>
          <a:prstGeom prst="rect">
            <a:avLst/>
          </a:prstGeom>
        </p:spPr>
      </p:pic>
      <p:pic>
        <p:nvPicPr>
          <p:cNvPr id="5" name="Picture 1" descr="A black background with a black square&#10;&#10;AI-generated content may be incorrect.">
            <a:extLst>
              <a:ext uri="{FF2B5EF4-FFF2-40B4-BE49-F238E27FC236}">
                <a16:creationId xmlns:a16="http://schemas.microsoft.com/office/drawing/2014/main" id="{E8EE3347-8412-9D4D-9EAA-839B11532E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5894" y="861891"/>
            <a:ext cx="2384425" cy="6127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664225487">
            <a:extLst>
              <a:ext uri="{FF2B5EF4-FFF2-40B4-BE49-F238E27FC236}">
                <a16:creationId xmlns:a16="http://schemas.microsoft.com/office/drawing/2014/main" id="{35539987-8734-36CC-5AAB-020CFB06D1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3894" y="903166"/>
            <a:ext cx="153670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40483673" descr="A close up of a logo&#10;&#10;AI-generated content may be incorrect.">
            <a:extLst>
              <a:ext uri="{FF2B5EF4-FFF2-40B4-BE49-F238E27FC236}">
                <a16:creationId xmlns:a16="http://schemas.microsoft.com/office/drawing/2014/main" id="{18788F4F-5011-C29A-8FCB-95CCA0CEFC1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2000" y="874531"/>
            <a:ext cx="2019301"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58402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0D853C-849D-5ACE-9881-67A6A5DFE1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2"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AD0D853C-849D-5ACE-9881-67A6A5DFE1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D113E42-A2FC-6ACA-217B-146009CE8169}"/>
              </a:ext>
            </a:extLst>
          </p:cNvPr>
          <p:cNvSpPr txBox="1"/>
          <p:nvPr/>
        </p:nvSpPr>
        <p:spPr>
          <a:xfrm>
            <a:off x="476834" y="1550663"/>
            <a:ext cx="2554127" cy="5069212"/>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Title 1">
            <a:extLst>
              <a:ext uri="{FF2B5EF4-FFF2-40B4-BE49-F238E27FC236}">
                <a16:creationId xmlns:a16="http://schemas.microsoft.com/office/drawing/2014/main" id="{39994DE4-7E1B-D3FE-AF6B-2057CC062DA8}"/>
              </a:ext>
            </a:extLst>
          </p:cNvPr>
          <p:cNvSpPr txBox="1">
            <a:spLocks/>
          </p:cNvSpPr>
          <p:nvPr/>
        </p:nvSpPr>
        <p:spPr>
          <a:xfrm>
            <a:off x="515938" y="1059760"/>
            <a:ext cx="10063162" cy="27420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Save the Children – Sudan Hard-to-Reach Areas Consortium</a:t>
            </a:r>
            <a:endParaRPr kumimoji="0" lang="en-US" sz="20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endParaRPr>
          </a:p>
        </p:txBody>
      </p:sp>
      <p:sp>
        <p:nvSpPr>
          <p:cNvPr id="11" name="Text Placeholder 1">
            <a:extLst>
              <a:ext uri="{FF2B5EF4-FFF2-40B4-BE49-F238E27FC236}">
                <a16:creationId xmlns:a16="http://schemas.microsoft.com/office/drawing/2014/main" id="{DA085808-DDCE-E257-33BE-AB874D5CA66D}"/>
              </a:ext>
            </a:extLst>
          </p:cNvPr>
          <p:cNvSpPr txBox="1">
            <a:spLocks/>
          </p:cNvSpPr>
          <p:nvPr/>
        </p:nvSpPr>
        <p:spPr>
          <a:xfrm>
            <a:off x="619979" y="2117714"/>
            <a:ext cx="2267836" cy="4037024"/>
          </a:xfrm>
          <a:prstGeom prst="rect">
            <a:avLst/>
          </a:prstGeom>
          <a:solidFill>
            <a:schemeClr val="bg1"/>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F726E542-9D92-BD1E-FF7F-B3C346030B03}"/>
              </a:ext>
            </a:extLst>
          </p:cNvPr>
          <p:cNvSpPr/>
          <p:nvPr/>
        </p:nvSpPr>
        <p:spPr>
          <a:xfrm>
            <a:off x="619979" y="1550663"/>
            <a:ext cx="2267836" cy="45785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Text Placeholder 1">
            <a:extLst>
              <a:ext uri="{FF2B5EF4-FFF2-40B4-BE49-F238E27FC236}">
                <a16:creationId xmlns:a16="http://schemas.microsoft.com/office/drawing/2014/main" id="{E7CE8A18-73A5-1486-E387-6031CB12DCCA}"/>
              </a:ext>
            </a:extLst>
          </p:cNvPr>
          <p:cNvSpPr txBox="1">
            <a:spLocks/>
          </p:cNvSpPr>
          <p:nvPr/>
        </p:nvSpPr>
        <p:spPr>
          <a:xfrm>
            <a:off x="619979" y="1604413"/>
            <a:ext cx="2267836"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verview</a:t>
            </a:r>
          </a:p>
        </p:txBody>
      </p:sp>
      <p:sp>
        <p:nvSpPr>
          <p:cNvPr id="18" name="Text Placeholder 1">
            <a:extLst>
              <a:ext uri="{FF2B5EF4-FFF2-40B4-BE49-F238E27FC236}">
                <a16:creationId xmlns:a16="http://schemas.microsoft.com/office/drawing/2014/main" id="{2ED55F04-C739-220B-12A1-94776A53767B}"/>
              </a:ext>
            </a:extLst>
          </p:cNvPr>
          <p:cNvSpPr txBox="1">
            <a:spLocks/>
          </p:cNvSpPr>
          <p:nvPr/>
        </p:nvSpPr>
        <p:spPr>
          <a:xfrm>
            <a:off x="736892" y="3118097"/>
            <a:ext cx="1416585"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ocation : </a:t>
            </a: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1 of 13 states in Sudan</a:t>
            </a:r>
          </a:p>
        </p:txBody>
      </p:sp>
      <p:sp>
        <p:nvSpPr>
          <p:cNvPr id="21" name="TextBox 20">
            <a:extLst>
              <a:ext uri="{FF2B5EF4-FFF2-40B4-BE49-F238E27FC236}">
                <a16:creationId xmlns:a16="http://schemas.microsoft.com/office/drawing/2014/main" id="{CC34E8A8-DEDD-5EF7-6A02-212181B51977}"/>
              </a:ext>
            </a:extLst>
          </p:cNvPr>
          <p:cNvSpPr txBox="1"/>
          <p:nvPr/>
        </p:nvSpPr>
        <p:spPr>
          <a:xfrm>
            <a:off x="3257504" y="1550663"/>
            <a:ext cx="8354321" cy="5069212"/>
          </a:xfrm>
          <a:prstGeom prst="rect">
            <a:avLst/>
          </a:prstGeom>
          <a:solidFill>
            <a:srgbClr val="F0FAFE"/>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Rectangle 22">
            <a:extLst>
              <a:ext uri="{FF2B5EF4-FFF2-40B4-BE49-F238E27FC236}">
                <a16:creationId xmlns:a16="http://schemas.microsoft.com/office/drawing/2014/main" id="{CBB93C5F-5F8D-0B9D-CEB7-595998EBEF1A}"/>
              </a:ext>
            </a:extLst>
          </p:cNvPr>
          <p:cNvSpPr/>
          <p:nvPr/>
        </p:nvSpPr>
        <p:spPr>
          <a:xfrm>
            <a:off x="3279683" y="1550663"/>
            <a:ext cx="3657600" cy="45785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Text Placeholder 1">
            <a:extLst>
              <a:ext uri="{FF2B5EF4-FFF2-40B4-BE49-F238E27FC236}">
                <a16:creationId xmlns:a16="http://schemas.microsoft.com/office/drawing/2014/main" id="{8DFABA6E-FD38-903C-3306-EEC9956DB456}"/>
              </a:ext>
            </a:extLst>
          </p:cNvPr>
          <p:cNvSpPr txBox="1">
            <a:spLocks/>
          </p:cNvSpPr>
          <p:nvPr/>
        </p:nvSpPr>
        <p:spPr>
          <a:xfrm>
            <a:off x="3279683" y="1598463"/>
            <a:ext cx="2267836"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oject description</a:t>
            </a:r>
          </a:p>
        </p:txBody>
      </p:sp>
      <p:sp>
        <p:nvSpPr>
          <p:cNvPr id="28" name="Text Placeholder 1">
            <a:extLst>
              <a:ext uri="{FF2B5EF4-FFF2-40B4-BE49-F238E27FC236}">
                <a16:creationId xmlns:a16="http://schemas.microsoft.com/office/drawing/2014/main" id="{67C53866-6565-9B8F-3FC7-DF5D44745595}"/>
              </a:ext>
            </a:extLst>
          </p:cNvPr>
          <p:cNvSpPr txBox="1">
            <a:spLocks/>
          </p:cNvSpPr>
          <p:nvPr/>
        </p:nvSpPr>
        <p:spPr>
          <a:xfrm>
            <a:off x="736892" y="3759493"/>
            <a:ext cx="1633869"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Text Placeholder 1">
            <a:extLst>
              <a:ext uri="{FF2B5EF4-FFF2-40B4-BE49-F238E27FC236}">
                <a16:creationId xmlns:a16="http://schemas.microsoft.com/office/drawing/2014/main" id="{87949F6A-B084-707A-325D-1EB2C6FB2D70}"/>
              </a:ext>
            </a:extLst>
          </p:cNvPr>
          <p:cNvSpPr txBox="1">
            <a:spLocks/>
          </p:cNvSpPr>
          <p:nvPr/>
        </p:nvSpPr>
        <p:spPr>
          <a:xfrm>
            <a:off x="3274689" y="2130136"/>
            <a:ext cx="8193709" cy="4203965"/>
          </a:xfrm>
          <a:prstGeom prst="rect">
            <a:avLst/>
          </a:prstGeom>
          <a:solidFill>
            <a:schemeClr val="bg1"/>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FE7C11E0-F328-0A59-838F-3B03C12F7CC2}"/>
              </a:ext>
            </a:extLst>
          </p:cNvPr>
          <p:cNvSpPr/>
          <p:nvPr/>
        </p:nvSpPr>
        <p:spPr>
          <a:xfrm>
            <a:off x="3390899" y="2236426"/>
            <a:ext cx="1663719" cy="378340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Text Placeholder 1">
            <a:extLst>
              <a:ext uri="{FF2B5EF4-FFF2-40B4-BE49-F238E27FC236}">
                <a16:creationId xmlns:a16="http://schemas.microsoft.com/office/drawing/2014/main" id="{8C7DA8E8-5301-8390-61CE-8537DB6EFC80}"/>
              </a:ext>
            </a:extLst>
          </p:cNvPr>
          <p:cNvSpPr txBox="1">
            <a:spLocks/>
          </p:cNvSpPr>
          <p:nvPr/>
        </p:nvSpPr>
        <p:spPr>
          <a:xfrm>
            <a:off x="3908187" y="2213624"/>
            <a:ext cx="1109674"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im:</a:t>
            </a:r>
          </a:p>
        </p:txBody>
      </p:sp>
      <p:sp>
        <p:nvSpPr>
          <p:cNvPr id="27" name="Rectangle 26">
            <a:extLst>
              <a:ext uri="{FF2B5EF4-FFF2-40B4-BE49-F238E27FC236}">
                <a16:creationId xmlns:a16="http://schemas.microsoft.com/office/drawing/2014/main" id="{1EBE0F23-911F-9E6D-C28D-479A527EB273}"/>
              </a:ext>
            </a:extLst>
          </p:cNvPr>
          <p:cNvSpPr/>
          <p:nvPr/>
        </p:nvSpPr>
        <p:spPr>
          <a:xfrm>
            <a:off x="5261589" y="2221673"/>
            <a:ext cx="6067371" cy="391831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9798001F-8AC0-07C3-3EB5-7D0FEB566AD3}"/>
              </a:ext>
            </a:extLst>
          </p:cNvPr>
          <p:cNvGrpSpPr/>
          <p:nvPr/>
        </p:nvGrpSpPr>
        <p:grpSpPr>
          <a:xfrm>
            <a:off x="3293847" y="3498688"/>
            <a:ext cx="2018074" cy="1394129"/>
            <a:chOff x="3311550" y="3365625"/>
            <a:chExt cx="2018074" cy="1394129"/>
          </a:xfrm>
        </p:grpSpPr>
        <p:sp>
          <p:nvSpPr>
            <p:cNvPr id="29" name="Text Placeholder 1">
              <a:extLst>
                <a:ext uri="{FF2B5EF4-FFF2-40B4-BE49-F238E27FC236}">
                  <a16:creationId xmlns:a16="http://schemas.microsoft.com/office/drawing/2014/main" id="{445EA729-2776-C858-58C6-7E758AC6087A}"/>
                </a:ext>
              </a:extLst>
            </p:cNvPr>
            <p:cNvSpPr txBox="1">
              <a:spLocks/>
            </p:cNvSpPr>
            <p:nvPr/>
          </p:nvSpPr>
          <p:spPr>
            <a:xfrm>
              <a:off x="3311550" y="3365625"/>
              <a:ext cx="2018074"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pact measure 1 : </a:t>
              </a:r>
            </a:p>
          </p:txBody>
        </p:sp>
        <p:sp>
          <p:nvSpPr>
            <p:cNvPr id="35" name="Text Placeholder 1">
              <a:extLst>
                <a:ext uri="{FF2B5EF4-FFF2-40B4-BE49-F238E27FC236}">
                  <a16:creationId xmlns:a16="http://schemas.microsoft.com/office/drawing/2014/main" id="{9DF20DD3-72C3-E416-65E1-3FB2AB64FB3C}"/>
                </a:ext>
              </a:extLst>
            </p:cNvPr>
            <p:cNvSpPr txBox="1">
              <a:spLocks/>
            </p:cNvSpPr>
            <p:nvPr/>
          </p:nvSpPr>
          <p:spPr>
            <a:xfrm>
              <a:off x="3385170" y="3557348"/>
              <a:ext cx="1701549"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60,918</a:t>
              </a:r>
              <a:endParaRPr kumimoji="0" lang="en-GB" sz="32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Text Placeholder 1">
              <a:extLst>
                <a:ext uri="{FF2B5EF4-FFF2-40B4-BE49-F238E27FC236}">
                  <a16:creationId xmlns:a16="http://schemas.microsoft.com/office/drawing/2014/main" id="{79B0FF54-7CA4-4037-6BC2-E9430C2D4131}"/>
                </a:ext>
              </a:extLst>
            </p:cNvPr>
            <p:cNvSpPr txBox="1">
              <a:spLocks/>
            </p:cNvSpPr>
            <p:nvPr/>
          </p:nvSpPr>
          <p:spPr>
            <a:xfrm>
              <a:off x="3523878" y="4071742"/>
              <a:ext cx="1345786"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fr" sz="1400" b="0" i="1"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rPr>
                <a:t>Children vaccinated</a:t>
              </a:r>
            </a:p>
          </p:txBody>
        </p:sp>
      </p:grpSp>
      <p:sp>
        <p:nvSpPr>
          <p:cNvPr id="36" name="Text Placeholder 1">
            <a:extLst>
              <a:ext uri="{FF2B5EF4-FFF2-40B4-BE49-F238E27FC236}">
                <a16:creationId xmlns:a16="http://schemas.microsoft.com/office/drawing/2014/main" id="{EF53553B-07DF-C4AF-A605-6A38E3FD8D6D}"/>
              </a:ext>
            </a:extLst>
          </p:cNvPr>
          <p:cNvSpPr txBox="1">
            <a:spLocks/>
          </p:cNvSpPr>
          <p:nvPr/>
        </p:nvSpPr>
        <p:spPr>
          <a:xfrm>
            <a:off x="5365017" y="3420916"/>
            <a:ext cx="5963943" cy="772173"/>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ve the Children is integrated side-by-side and through the system through resourcing, logistics and operational support to the EPI program: </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ctive in national and state planning and coordination forum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pports MoH/EPI with rehabilitating facilities, vaccinators, and outreach/mobile delivery.</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uilds community-based structures, M to M  SG ,volunteers, and immunisation referral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pport partners working under GAVI support as a consortium lead</a:t>
            </a:r>
          </a:p>
        </p:txBody>
      </p:sp>
      <p:sp>
        <p:nvSpPr>
          <p:cNvPr id="42" name="Text Placeholder 1">
            <a:extLst>
              <a:ext uri="{FF2B5EF4-FFF2-40B4-BE49-F238E27FC236}">
                <a16:creationId xmlns:a16="http://schemas.microsoft.com/office/drawing/2014/main" id="{10F77E44-758F-8824-746D-0DD8A23DBBA7}"/>
              </a:ext>
            </a:extLst>
          </p:cNvPr>
          <p:cNvSpPr txBox="1">
            <a:spLocks/>
          </p:cNvSpPr>
          <p:nvPr/>
        </p:nvSpPr>
        <p:spPr>
          <a:xfrm>
            <a:off x="5340128" y="4596668"/>
            <a:ext cx="5988832" cy="971337"/>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in achievements:</a:t>
            </a:r>
          </a:p>
          <a:p>
            <a:pPr marL="285750" marR="0" lvl="0" indent="-285750" algn="just"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ealth worker training: Trained 897 health workers on immunisation </a:t>
            </a:r>
          </a:p>
          <a:p>
            <a:pPr marL="285750" marR="0" lvl="0" indent="-285750" algn="just"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upervision: Supportive mentoring and adherence to standards.</a:t>
            </a:r>
          </a:p>
          <a:p>
            <a:pPr marL="285750" marR="0" lvl="0" indent="-285750" algn="just"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mmunity engagement: builds community-based structures, ICCM volunteers, and referrals for immunization 85 mother to mother support groups </a:t>
            </a:r>
          </a:p>
          <a:p>
            <a:pPr marL="285750" marR="0" lvl="0" indent="-285750" algn="just"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ight vaccine hesitance through tailored health promotion language</a:t>
            </a:r>
          </a:p>
          <a:p>
            <a:pPr marL="285750" marR="0" lvl="0" indent="-285750" algn="just"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enerate evidence on vaccination coverage zero dose children distribution and reasons behind missing the vaccine, including improving reporting for VPDs and timely reporting  </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8" name="Group 7">
            <a:extLst>
              <a:ext uri="{FF2B5EF4-FFF2-40B4-BE49-F238E27FC236}">
                <a16:creationId xmlns:a16="http://schemas.microsoft.com/office/drawing/2014/main" id="{B3DE17AB-41E7-F2D1-3D8F-2EA7690DE32C}"/>
              </a:ext>
            </a:extLst>
          </p:cNvPr>
          <p:cNvGrpSpPr/>
          <p:nvPr/>
        </p:nvGrpSpPr>
        <p:grpSpPr>
          <a:xfrm>
            <a:off x="3322054" y="4773014"/>
            <a:ext cx="2018074" cy="1359968"/>
            <a:chOff x="3331540" y="4707257"/>
            <a:chExt cx="2018074" cy="1359968"/>
          </a:xfrm>
        </p:grpSpPr>
        <p:sp>
          <p:nvSpPr>
            <p:cNvPr id="31" name="Text Placeholder 1">
              <a:extLst>
                <a:ext uri="{FF2B5EF4-FFF2-40B4-BE49-F238E27FC236}">
                  <a16:creationId xmlns:a16="http://schemas.microsoft.com/office/drawing/2014/main" id="{B7987EB0-E654-5119-412A-19E05CE98B62}"/>
                </a:ext>
              </a:extLst>
            </p:cNvPr>
            <p:cNvSpPr txBox="1">
              <a:spLocks/>
            </p:cNvSpPr>
            <p:nvPr/>
          </p:nvSpPr>
          <p:spPr>
            <a:xfrm>
              <a:off x="3331540" y="4707257"/>
              <a:ext cx="2018074"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pact measure 2:</a:t>
              </a:r>
            </a:p>
          </p:txBody>
        </p:sp>
        <p:sp>
          <p:nvSpPr>
            <p:cNvPr id="41" name="Text Placeholder 1">
              <a:extLst>
                <a:ext uri="{FF2B5EF4-FFF2-40B4-BE49-F238E27FC236}">
                  <a16:creationId xmlns:a16="http://schemas.microsoft.com/office/drawing/2014/main" id="{BED33219-09DC-8B2E-5F74-12E6BB84223F}"/>
                </a:ext>
              </a:extLst>
            </p:cNvPr>
            <p:cNvSpPr txBox="1">
              <a:spLocks/>
            </p:cNvSpPr>
            <p:nvPr/>
          </p:nvSpPr>
          <p:spPr>
            <a:xfrm>
              <a:off x="3389123" y="4912368"/>
              <a:ext cx="1650008"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FR" sz="3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25,373</a:t>
              </a:r>
              <a:endParaRPr kumimoji="0" lang="en-GB" sz="3200" b="1"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Text Placeholder 1">
              <a:extLst>
                <a:ext uri="{FF2B5EF4-FFF2-40B4-BE49-F238E27FC236}">
                  <a16:creationId xmlns:a16="http://schemas.microsoft.com/office/drawing/2014/main" id="{CAC8B4F6-B77C-8A0B-748C-A222637B4166}"/>
                </a:ext>
              </a:extLst>
            </p:cNvPr>
            <p:cNvSpPr txBox="1">
              <a:spLocks/>
            </p:cNvSpPr>
            <p:nvPr/>
          </p:nvSpPr>
          <p:spPr>
            <a:xfrm>
              <a:off x="3388659" y="5379213"/>
              <a:ext cx="1586414"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fr" sz="1400" b="0" i="1"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rPr>
                <a:t>Zero-dose children reached</a:t>
              </a:r>
            </a:p>
          </p:txBody>
        </p:sp>
      </p:grpSp>
      <p:sp>
        <p:nvSpPr>
          <p:cNvPr id="44" name="Text Placeholder 1">
            <a:extLst>
              <a:ext uri="{FF2B5EF4-FFF2-40B4-BE49-F238E27FC236}">
                <a16:creationId xmlns:a16="http://schemas.microsoft.com/office/drawing/2014/main" id="{1762B123-5568-721D-B9AA-BD70EE851E62}"/>
              </a:ext>
            </a:extLst>
          </p:cNvPr>
          <p:cNvSpPr txBox="1">
            <a:spLocks/>
          </p:cNvSpPr>
          <p:nvPr/>
        </p:nvSpPr>
        <p:spPr>
          <a:xfrm>
            <a:off x="5368925" y="2236426"/>
            <a:ext cx="5977220" cy="3960225"/>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ultisector operation on Health &amp; Nutrition</a:t>
            </a: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hild Protection, Safeguarding, Education, FSL at 10 out of 13 states in Sudan, focusing on PHC strengthening, </a:t>
            </a:r>
            <a:r>
              <a:rPr kumimoji="0" lang="en-US" sz="11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mmunisation</a:t>
            </a: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service delivery and reaching zero-dose children</a:t>
            </a:r>
            <a:endParaRPr kumimoji="0" lang="fr"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FR"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ve the </a:t>
            </a:r>
            <a:r>
              <a:rPr kumimoji="0" lang="fr-FR" sz="11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Children</a:t>
            </a:r>
            <a:r>
              <a:rPr kumimoji="0" lang="fr-FR"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nd consortium </a:t>
            </a:r>
            <a:r>
              <a:rPr kumimoji="0" lang="fr-FR" sz="11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partners</a:t>
            </a:r>
            <a:r>
              <a:rPr kumimoji="0" lang="fr-FR"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national and </a:t>
            </a:r>
            <a:r>
              <a:rPr kumimoji="0" lang="fr-FR" sz="11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subnational</a:t>
            </a:r>
            <a:r>
              <a:rPr kumimoji="0" lang="fr-FR"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EPI teams, </a:t>
            </a:r>
            <a:r>
              <a:rPr kumimoji="0" lang="fr-FR" sz="11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including</a:t>
            </a:r>
            <a:r>
              <a:rPr kumimoji="0" lang="fr-FR"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FMOH, </a:t>
            </a:r>
            <a:r>
              <a:rPr kumimoji="0" lang="fr-FR" sz="11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OHs</a:t>
            </a:r>
            <a:r>
              <a:rPr kumimoji="0" lang="fr-FR"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nd PHC </a:t>
            </a:r>
            <a:r>
              <a:rPr kumimoji="0" lang="fr-FR" sz="11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directorate</a:t>
            </a:r>
            <a:endParaRPr kumimoji="0" lang="fr"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Text Placeholder 1">
            <a:extLst>
              <a:ext uri="{FF2B5EF4-FFF2-40B4-BE49-F238E27FC236}">
                <a16:creationId xmlns:a16="http://schemas.microsoft.com/office/drawing/2014/main" id="{4D249127-0DF6-73F1-CE0E-3312F4FB19DD}"/>
              </a:ext>
            </a:extLst>
          </p:cNvPr>
          <p:cNvSpPr txBox="1">
            <a:spLocks/>
          </p:cNvSpPr>
          <p:nvPr/>
        </p:nvSpPr>
        <p:spPr>
          <a:xfrm>
            <a:off x="720561" y="2084902"/>
            <a:ext cx="1402011"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terven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ulti-sector, focusing on PHC strengthening</a:t>
            </a:r>
          </a:p>
        </p:txBody>
      </p:sp>
      <p:sp>
        <p:nvSpPr>
          <p:cNvPr id="50" name="Text Placeholder 1">
            <a:extLst>
              <a:ext uri="{FF2B5EF4-FFF2-40B4-BE49-F238E27FC236}">
                <a16:creationId xmlns:a16="http://schemas.microsoft.com/office/drawing/2014/main" id="{4A6F8763-C785-6ED1-FAA8-35C0BD526468}"/>
              </a:ext>
            </a:extLst>
          </p:cNvPr>
          <p:cNvSpPr txBox="1">
            <a:spLocks/>
          </p:cNvSpPr>
          <p:nvPr/>
        </p:nvSpPr>
        <p:spPr>
          <a:xfrm>
            <a:off x="736892" y="4912368"/>
            <a:ext cx="1654084" cy="929256"/>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ength of project:</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 year </a:t>
            </a:r>
          </a:p>
        </p:txBody>
      </p:sp>
      <p:pic>
        <p:nvPicPr>
          <p:cNvPr id="52" name="Picture 51" descr="Une horloge et une flèche dans un cercle&#10;&#10;Description générée automatiquement">
            <a:extLst>
              <a:ext uri="{FF2B5EF4-FFF2-40B4-BE49-F238E27FC236}">
                <a16:creationId xmlns:a16="http://schemas.microsoft.com/office/drawing/2014/main" id="{97898CE0-321E-A4A1-F7BF-0B5C9A41ED4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34973" y="5126499"/>
            <a:ext cx="456256" cy="456256"/>
          </a:xfrm>
          <a:prstGeom prst="rect">
            <a:avLst/>
          </a:prstGeom>
        </p:spPr>
      </p:pic>
      <p:pic>
        <p:nvPicPr>
          <p:cNvPr id="54" name="Picture 53" descr="Une pile de pièces avec un chapeau dessus&#10;&#10;Description générée automatiquement">
            <a:extLst>
              <a:ext uri="{FF2B5EF4-FFF2-40B4-BE49-F238E27FC236}">
                <a16:creationId xmlns:a16="http://schemas.microsoft.com/office/drawing/2014/main" id="{2DB38A82-902A-AE47-97C6-7B0AF5EFF089}"/>
              </a:ext>
            </a:extLst>
          </p:cNvPr>
          <p:cNvPicPr>
            <a:picLocks noChangeAspect="1"/>
          </p:cNvPicPr>
          <p:nvPr/>
        </p:nvPicPr>
        <p:blipFill>
          <a:blip r:embed="rId8" cstate="email">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tretch>
            <a:fillRect/>
          </a:stretch>
        </p:blipFill>
        <p:spPr>
          <a:xfrm>
            <a:off x="2169664" y="3956741"/>
            <a:ext cx="507979" cy="507979"/>
          </a:xfrm>
          <a:prstGeom prst="rect">
            <a:avLst/>
          </a:prstGeom>
        </p:spPr>
      </p:pic>
      <p:pic>
        <p:nvPicPr>
          <p:cNvPr id="56" name="Picture 55" descr="Gros plan d'un engrenage&#10;&#10;Description générée automatiquement">
            <a:extLst>
              <a:ext uri="{FF2B5EF4-FFF2-40B4-BE49-F238E27FC236}">
                <a16:creationId xmlns:a16="http://schemas.microsoft.com/office/drawing/2014/main" id="{B528483E-A1DD-C81A-F901-2983EEECA69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216547" y="2176396"/>
            <a:ext cx="559529" cy="559529"/>
          </a:xfrm>
          <a:prstGeom prst="rect">
            <a:avLst/>
          </a:prstGeom>
        </p:spPr>
      </p:pic>
      <p:pic>
        <p:nvPicPr>
          <p:cNvPr id="6" name="Picture 5">
            <a:extLst>
              <a:ext uri="{FF2B5EF4-FFF2-40B4-BE49-F238E27FC236}">
                <a16:creationId xmlns:a16="http://schemas.microsoft.com/office/drawing/2014/main" id="{B742AD6C-49BC-59BE-94FD-66132283BD90}"/>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2207359" y="3202402"/>
            <a:ext cx="505395" cy="335864"/>
          </a:xfrm>
          <a:prstGeom prst="rect">
            <a:avLst/>
          </a:prstGeom>
        </p:spPr>
      </p:pic>
      <p:pic>
        <p:nvPicPr>
          <p:cNvPr id="39" name="Img1" descr="GAVI Logo"/>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737186" y="172287"/>
            <a:ext cx="1183548" cy="667088"/>
          </a:xfrm>
          <a:prstGeom prst="rect">
            <a:avLst/>
          </a:prstGeom>
          <a:noFill/>
          <a:ln>
            <a:noFill/>
          </a:ln>
        </p:spPr>
      </p:pic>
      <p:sp>
        <p:nvSpPr>
          <p:cNvPr id="2" name="Text Placeholder 1">
            <a:extLst>
              <a:ext uri="{FF2B5EF4-FFF2-40B4-BE49-F238E27FC236}">
                <a16:creationId xmlns:a16="http://schemas.microsoft.com/office/drawing/2014/main" id="{58B0FF33-6A3A-2954-F82D-CF6568A7E3C0}"/>
              </a:ext>
            </a:extLst>
          </p:cNvPr>
          <p:cNvSpPr txBox="1">
            <a:spLocks/>
          </p:cNvSpPr>
          <p:nvPr/>
        </p:nvSpPr>
        <p:spPr>
          <a:xfrm>
            <a:off x="746710" y="4031151"/>
            <a:ext cx="1003431" cy="647700"/>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udget : $12 million </a:t>
            </a:r>
            <a:endParaRPr kumimoji="0" lang="fr"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ext Placeholder 1">
            <a:extLst>
              <a:ext uri="{FF2B5EF4-FFF2-40B4-BE49-F238E27FC236}">
                <a16:creationId xmlns:a16="http://schemas.microsoft.com/office/drawing/2014/main" id="{84F65B79-0C21-3201-9395-5E16CC3F16C4}"/>
              </a:ext>
            </a:extLst>
          </p:cNvPr>
          <p:cNvSpPr txBox="1">
            <a:spLocks/>
          </p:cNvSpPr>
          <p:nvPr/>
        </p:nvSpPr>
        <p:spPr>
          <a:xfrm>
            <a:off x="3502290" y="2784755"/>
            <a:ext cx="1361864" cy="688012"/>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Key Stakeholders:</a:t>
            </a:r>
          </a:p>
        </p:txBody>
      </p:sp>
      <p:pic>
        <p:nvPicPr>
          <p:cNvPr id="14" name="Picture 13" descr="A logo of a palm tree&#10;&#10;AI-generated content may be incorrect.">
            <a:extLst>
              <a:ext uri="{FF2B5EF4-FFF2-40B4-BE49-F238E27FC236}">
                <a16:creationId xmlns:a16="http://schemas.microsoft.com/office/drawing/2014/main" id="{31FA5875-F6E7-3827-3101-E2B79BD46287}"/>
              </a:ext>
            </a:extLst>
          </p:cNvPr>
          <p:cNvPicPr>
            <a:picLocks noChangeAspect="1"/>
          </p:cNvPicPr>
          <p:nvPr/>
        </p:nvPicPr>
        <p:blipFill>
          <a:blip r:embed="rId13">
            <a:clrChange>
              <a:clrFrom>
                <a:srgbClr val="FDFEFF"/>
              </a:clrFrom>
              <a:clrTo>
                <a:srgbClr val="FDFEFF">
                  <a:alpha val="0"/>
                </a:srgbClr>
              </a:clrTo>
            </a:clrChange>
            <a:extLst>
              <a:ext uri="{28A0092B-C50C-407E-A947-70E740481C1C}">
                <a14:useLocalDpi xmlns:a14="http://schemas.microsoft.com/office/drawing/2010/main" val="0"/>
              </a:ext>
            </a:extLst>
          </a:blip>
          <a:stretch>
            <a:fillRect/>
          </a:stretch>
        </p:blipFill>
        <p:spPr>
          <a:xfrm>
            <a:off x="4222758" y="155572"/>
            <a:ext cx="667089" cy="667089"/>
          </a:xfrm>
          <a:prstGeom prst="rect">
            <a:avLst/>
          </a:prstGeom>
        </p:spPr>
      </p:pic>
      <p:pic>
        <p:nvPicPr>
          <p:cNvPr id="15" name="Picture 1" descr="A black background with a black square&#10;&#10;AI-generated content may be incorrect.">
            <a:extLst>
              <a:ext uri="{FF2B5EF4-FFF2-40B4-BE49-F238E27FC236}">
                <a16:creationId xmlns:a16="http://schemas.microsoft.com/office/drawing/2014/main" id="{AD3621F1-D621-4F10-0355-F7BBE9BF21E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33062" y="309723"/>
            <a:ext cx="1349504" cy="34681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664225487">
            <a:extLst>
              <a:ext uri="{FF2B5EF4-FFF2-40B4-BE49-F238E27FC236}">
                <a16:creationId xmlns:a16="http://schemas.microsoft.com/office/drawing/2014/main" id="{27F2C25F-1B5D-ECF7-0569-0A6B1FD9F5E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096887" y="333083"/>
            <a:ext cx="869721" cy="32345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40483673" descr="A close up of a logo&#10;&#10;AI-generated content may be incorrect.">
            <a:extLst>
              <a:ext uri="{FF2B5EF4-FFF2-40B4-BE49-F238E27FC236}">
                <a16:creationId xmlns:a16="http://schemas.microsoft.com/office/drawing/2014/main" id="{8F4DB511-EE58-D3BB-20DC-037FE938DA5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34902" y="294938"/>
            <a:ext cx="1142856" cy="283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46314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E7F627-A057-E734-0008-2C760038E9B9}"/>
              </a:ext>
            </a:extLst>
          </p:cNvPr>
          <p:cNvGraphicFramePr>
            <a:graphicFrameLocks noChangeAspect="1"/>
          </p:cNvGraphicFramePr>
          <p:nvPr>
            <p:custDataLst>
              <p:tags r:id="rId2"/>
            </p:custDataLst>
            <p:extLst>
              <p:ext uri="{D42A27DB-BD31-4B8C-83A1-F6EECF244321}">
                <p14:modId xmlns:p14="http://schemas.microsoft.com/office/powerpoint/2010/main" val="391836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4" name="think-cell Slide" r:id="rId5" imgW="411" imgH="412" progId="TCLayout.ActiveDocument.1">
                  <p:embed/>
                </p:oleObj>
              </mc:Choice>
              <mc:Fallback>
                <p:oleObj name="think-cell Slide" r:id="rId5" imgW="411" imgH="412" progId="TCLayout.ActiveDocument.1">
                  <p:embed/>
                  <p:pic>
                    <p:nvPicPr>
                      <p:cNvPr id="6" name="Object 5" hidden="1">
                        <a:extLst>
                          <a:ext uri="{FF2B5EF4-FFF2-40B4-BE49-F238E27FC236}">
                            <a16:creationId xmlns:a16="http://schemas.microsoft.com/office/drawing/2014/main" id="{ECE7F627-A057-E734-0008-2C760038E9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ED6F80-57E6-569E-69A5-63D228693BEB}"/>
              </a:ext>
            </a:extLst>
          </p:cNvPr>
          <p:cNvSpPr>
            <a:spLocks noGrp="1"/>
          </p:cNvSpPr>
          <p:nvPr>
            <p:ph type="title"/>
          </p:nvPr>
        </p:nvSpPr>
        <p:spPr/>
        <p:txBody>
          <a:bodyPr vert="horz"/>
          <a:lstStyle/>
          <a:p>
            <a:r>
              <a:rPr lang="en-US">
                <a:solidFill>
                  <a:schemeClr val="bg1"/>
                </a:solidFill>
              </a:rPr>
              <a:t>Housekeeping / Ménage</a:t>
            </a:r>
          </a:p>
        </p:txBody>
      </p:sp>
      <p:sp>
        <p:nvSpPr>
          <p:cNvPr id="4" name="Slide Number Placeholder 3">
            <a:extLst>
              <a:ext uri="{FF2B5EF4-FFF2-40B4-BE49-F238E27FC236}">
                <a16:creationId xmlns:a16="http://schemas.microsoft.com/office/drawing/2014/main" id="{C2A9BDFB-8961-2AC4-1FED-5E3FB9B00FAF}"/>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2</a:t>
            </a:fld>
            <a:endParaRPr lang="en-GB">
              <a:solidFill>
                <a:schemeClr val="tx1">
                  <a:lumMod val="50000"/>
                  <a:lumOff val="50000"/>
                </a:schemeClr>
              </a:solidFill>
            </a:endParaRPr>
          </a:p>
        </p:txBody>
      </p:sp>
      <p:pic>
        <p:nvPicPr>
          <p:cNvPr id="8" name="Graphic 7" descr="Chat bubble with solid fill">
            <a:extLst>
              <a:ext uri="{FF2B5EF4-FFF2-40B4-BE49-F238E27FC236}">
                <a16:creationId xmlns:a16="http://schemas.microsoft.com/office/drawing/2014/main" id="{FF19228E-AB81-196D-81C4-40153245CB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40729" y="1171222"/>
            <a:ext cx="914400" cy="914400"/>
          </a:xfrm>
          <a:prstGeom prst="rect">
            <a:avLst/>
          </a:prstGeom>
        </p:spPr>
      </p:pic>
      <p:sp>
        <p:nvSpPr>
          <p:cNvPr id="9" name="TextBox 8">
            <a:extLst>
              <a:ext uri="{FF2B5EF4-FFF2-40B4-BE49-F238E27FC236}">
                <a16:creationId xmlns:a16="http://schemas.microsoft.com/office/drawing/2014/main" id="{EEBE4433-B4F0-EEA6-1C70-64E890F700EA}"/>
              </a:ext>
            </a:extLst>
          </p:cNvPr>
          <p:cNvSpPr txBox="1"/>
          <p:nvPr/>
        </p:nvSpPr>
        <p:spPr>
          <a:xfrm>
            <a:off x="5218430" y="2089070"/>
            <a:ext cx="2279649" cy="1754326"/>
          </a:xfrm>
          <a:prstGeom prst="rect">
            <a:avLst/>
          </a:prstGeom>
          <a:noFill/>
        </p:spPr>
        <p:txBody>
          <a:bodyPr wrap="square" rtlCol="0">
            <a:spAutoFit/>
          </a:bodyPr>
          <a:lstStyle/>
          <a:p>
            <a:pPr algn="ctr"/>
            <a:r>
              <a:rPr lang="en-US">
                <a:solidFill>
                  <a:schemeClr val="bg1"/>
                </a:solidFill>
              </a:rPr>
              <a:t>Use chat feature to post links/reactions</a:t>
            </a:r>
          </a:p>
          <a:p>
            <a:pPr algn="ctr"/>
            <a:endParaRPr lang="en-US">
              <a:solidFill>
                <a:schemeClr val="bg1"/>
              </a:solidFill>
            </a:endParaRPr>
          </a:p>
          <a:p>
            <a:pPr algn="ctr"/>
            <a:r>
              <a:rPr lang="fr-FR">
                <a:solidFill>
                  <a:schemeClr val="bg1"/>
                </a:solidFill>
              </a:rPr>
              <a:t>Utilisez la fonction de chat pour publier des liens/réactions</a:t>
            </a:r>
            <a:endParaRPr lang="en-US">
              <a:solidFill>
                <a:schemeClr val="bg1"/>
              </a:solidFill>
            </a:endParaRPr>
          </a:p>
        </p:txBody>
      </p:sp>
      <p:pic>
        <p:nvPicPr>
          <p:cNvPr id="14" name="Graphic 13" descr="Projector screen with solid fill">
            <a:extLst>
              <a:ext uri="{FF2B5EF4-FFF2-40B4-BE49-F238E27FC236}">
                <a16:creationId xmlns:a16="http://schemas.microsoft.com/office/drawing/2014/main" id="{75A273AB-1F11-506F-30BB-E602AD99537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0729" y="4120395"/>
            <a:ext cx="914400" cy="914400"/>
          </a:xfrm>
          <a:prstGeom prst="rect">
            <a:avLst/>
          </a:prstGeom>
        </p:spPr>
      </p:pic>
      <p:sp>
        <p:nvSpPr>
          <p:cNvPr id="15" name="TextBox 14">
            <a:extLst>
              <a:ext uri="{FF2B5EF4-FFF2-40B4-BE49-F238E27FC236}">
                <a16:creationId xmlns:a16="http://schemas.microsoft.com/office/drawing/2014/main" id="{2516EB88-4C24-486B-A6ED-DD1BFAF30307}"/>
              </a:ext>
            </a:extLst>
          </p:cNvPr>
          <p:cNvSpPr txBox="1"/>
          <p:nvPr/>
        </p:nvSpPr>
        <p:spPr>
          <a:xfrm>
            <a:off x="4312920" y="5086613"/>
            <a:ext cx="4312920" cy="1200329"/>
          </a:xfrm>
          <a:prstGeom prst="rect">
            <a:avLst/>
          </a:prstGeom>
          <a:noFill/>
        </p:spPr>
        <p:txBody>
          <a:bodyPr wrap="square" rtlCol="0">
            <a:spAutoFit/>
          </a:bodyPr>
          <a:lstStyle/>
          <a:p>
            <a:pPr algn="ctr"/>
            <a:r>
              <a:rPr lang="en-US">
                <a:solidFill>
                  <a:schemeClr val="bg1"/>
                </a:solidFill>
              </a:rPr>
              <a:t>Slideshow &amp; recording shared following the session</a:t>
            </a:r>
          </a:p>
          <a:p>
            <a:pPr algn="ctr"/>
            <a:r>
              <a:rPr lang="fr-FR">
                <a:solidFill>
                  <a:schemeClr val="bg1"/>
                </a:solidFill>
              </a:rPr>
              <a:t>Diaporama et enregistrement partagés après la séance</a:t>
            </a:r>
            <a:endParaRPr lang="en-US">
              <a:solidFill>
                <a:schemeClr val="bg1"/>
              </a:solidFill>
            </a:endParaRPr>
          </a:p>
        </p:txBody>
      </p:sp>
      <p:sp>
        <p:nvSpPr>
          <p:cNvPr id="18" name="TextBox 17">
            <a:extLst>
              <a:ext uri="{FF2B5EF4-FFF2-40B4-BE49-F238E27FC236}">
                <a16:creationId xmlns:a16="http://schemas.microsoft.com/office/drawing/2014/main" id="{2FBD1358-740A-A35F-46E2-A722C7025EAB}"/>
              </a:ext>
            </a:extLst>
          </p:cNvPr>
          <p:cNvSpPr txBox="1"/>
          <p:nvPr/>
        </p:nvSpPr>
        <p:spPr>
          <a:xfrm>
            <a:off x="1643380" y="2966233"/>
            <a:ext cx="2127250" cy="2308324"/>
          </a:xfrm>
          <a:prstGeom prst="rect">
            <a:avLst/>
          </a:prstGeom>
          <a:noFill/>
        </p:spPr>
        <p:txBody>
          <a:bodyPr wrap="square" rtlCol="0">
            <a:spAutoFit/>
          </a:bodyPr>
          <a:lstStyle/>
          <a:p>
            <a:pPr algn="ctr"/>
            <a:r>
              <a:rPr lang="en-US">
                <a:solidFill>
                  <a:schemeClr val="bg1"/>
                </a:solidFill>
              </a:rPr>
              <a:t>ENG-FR translation available – use the globe button</a:t>
            </a:r>
          </a:p>
          <a:p>
            <a:pPr algn="ctr"/>
            <a:endParaRPr lang="en-US">
              <a:solidFill>
                <a:schemeClr val="bg1"/>
              </a:solidFill>
            </a:endParaRPr>
          </a:p>
          <a:p>
            <a:pPr algn="ctr"/>
            <a:r>
              <a:rPr lang="en-US" err="1">
                <a:solidFill>
                  <a:schemeClr val="bg1"/>
                </a:solidFill>
              </a:rPr>
              <a:t>Traduction</a:t>
            </a:r>
            <a:r>
              <a:rPr lang="en-US">
                <a:solidFill>
                  <a:schemeClr val="bg1"/>
                </a:solidFill>
              </a:rPr>
              <a:t> ANG-FR disponible – </a:t>
            </a:r>
            <a:r>
              <a:rPr lang="en-US" err="1">
                <a:solidFill>
                  <a:schemeClr val="bg1"/>
                </a:solidFill>
              </a:rPr>
              <a:t>utiliez</a:t>
            </a:r>
            <a:r>
              <a:rPr lang="en-US">
                <a:solidFill>
                  <a:schemeClr val="bg1"/>
                </a:solidFill>
              </a:rPr>
              <a:t> le bouton globe</a:t>
            </a:r>
          </a:p>
          <a:p>
            <a:pPr algn="ctr"/>
            <a:endParaRPr lang="en-US">
              <a:solidFill>
                <a:schemeClr val="bg1"/>
              </a:solidFill>
            </a:endParaRPr>
          </a:p>
        </p:txBody>
      </p:sp>
      <p:pic>
        <p:nvPicPr>
          <p:cNvPr id="20" name="Graphic 19" descr="Customer review with solid fill">
            <a:extLst>
              <a:ext uri="{FF2B5EF4-FFF2-40B4-BE49-F238E27FC236}">
                <a16:creationId xmlns:a16="http://schemas.microsoft.com/office/drawing/2014/main" id="{F78167E7-89F1-7E62-B718-1129EC1EDAD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41130" y="1171222"/>
            <a:ext cx="914400" cy="914400"/>
          </a:xfrm>
          <a:prstGeom prst="rect">
            <a:avLst/>
          </a:prstGeom>
        </p:spPr>
      </p:pic>
      <p:sp>
        <p:nvSpPr>
          <p:cNvPr id="21" name="TextBox 20">
            <a:extLst>
              <a:ext uri="{FF2B5EF4-FFF2-40B4-BE49-F238E27FC236}">
                <a16:creationId xmlns:a16="http://schemas.microsoft.com/office/drawing/2014/main" id="{D4ADA330-4E86-549A-1C50-B8252BC2B823}"/>
              </a:ext>
            </a:extLst>
          </p:cNvPr>
          <p:cNvSpPr txBox="1"/>
          <p:nvPr/>
        </p:nvSpPr>
        <p:spPr>
          <a:xfrm>
            <a:off x="8482330" y="2089070"/>
            <a:ext cx="2279649" cy="2031325"/>
          </a:xfrm>
          <a:prstGeom prst="rect">
            <a:avLst/>
          </a:prstGeom>
          <a:noFill/>
        </p:spPr>
        <p:txBody>
          <a:bodyPr wrap="square" rtlCol="0">
            <a:spAutoFit/>
          </a:bodyPr>
          <a:lstStyle/>
          <a:p>
            <a:pPr algn="ctr"/>
            <a:r>
              <a:rPr lang="en-US">
                <a:solidFill>
                  <a:schemeClr val="bg1"/>
                </a:solidFill>
              </a:rPr>
              <a:t>Use chat function to post questions</a:t>
            </a:r>
          </a:p>
          <a:p>
            <a:pPr algn="ctr"/>
            <a:endParaRPr lang="en-US">
              <a:solidFill>
                <a:schemeClr val="bg1"/>
              </a:solidFill>
            </a:endParaRPr>
          </a:p>
          <a:p>
            <a:pPr algn="ctr"/>
            <a:r>
              <a:rPr lang="fr-FR">
                <a:solidFill>
                  <a:schemeClr val="bg1"/>
                </a:solidFill>
              </a:rPr>
              <a:t>Utilisez la fonction de chat pour poser des questions</a:t>
            </a:r>
            <a:br>
              <a:rPr lang="fr-FR">
                <a:solidFill>
                  <a:schemeClr val="bg1"/>
                </a:solidFill>
              </a:rPr>
            </a:br>
            <a:endParaRPr lang="en-US">
              <a:solidFill>
                <a:schemeClr val="bg1"/>
              </a:solidFill>
            </a:endParaRPr>
          </a:p>
        </p:txBody>
      </p:sp>
      <p:pic>
        <p:nvPicPr>
          <p:cNvPr id="7" name="Picture 6">
            <a:extLst>
              <a:ext uri="{FF2B5EF4-FFF2-40B4-BE49-F238E27FC236}">
                <a16:creationId xmlns:a16="http://schemas.microsoft.com/office/drawing/2014/main" id="{15E0E2DA-B2CA-D950-4C77-10EB763338C0}"/>
              </a:ext>
            </a:extLst>
          </p:cNvPr>
          <p:cNvPicPr>
            <a:picLocks noChangeAspect="1"/>
          </p:cNvPicPr>
          <p:nvPr/>
        </p:nvPicPr>
        <p:blipFill>
          <a:blip r:embed="rId13"/>
          <a:stretch>
            <a:fillRect/>
          </a:stretch>
        </p:blipFill>
        <p:spPr>
          <a:xfrm>
            <a:off x="1844041" y="1329378"/>
            <a:ext cx="1647188" cy="1459542"/>
          </a:xfrm>
          <a:prstGeom prst="rect">
            <a:avLst/>
          </a:prstGeom>
        </p:spPr>
      </p:pic>
    </p:spTree>
    <p:extLst>
      <p:ext uri="{BB962C8B-B14F-4D97-AF65-F5344CB8AC3E}">
        <p14:creationId xmlns:p14="http://schemas.microsoft.com/office/powerpoint/2010/main" val="34433259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0D853C-849D-5ACE-9881-67A6A5DFE1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6"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AD0D853C-849D-5ACE-9881-67A6A5DFE1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ext Placeholder 1">
            <a:extLst>
              <a:ext uri="{FF2B5EF4-FFF2-40B4-BE49-F238E27FC236}">
                <a16:creationId xmlns:a16="http://schemas.microsoft.com/office/drawing/2014/main" id="{E7CE8A18-73A5-1486-E387-6031CB12DCCA}"/>
              </a:ext>
            </a:extLst>
          </p:cNvPr>
          <p:cNvSpPr txBox="1">
            <a:spLocks/>
          </p:cNvSpPr>
          <p:nvPr/>
        </p:nvSpPr>
        <p:spPr>
          <a:xfrm>
            <a:off x="655127" y="1664974"/>
            <a:ext cx="3473387"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verview</a:t>
            </a:r>
          </a:p>
        </p:txBody>
      </p:sp>
      <p:sp>
        <p:nvSpPr>
          <p:cNvPr id="39" name="Rectangle 38">
            <a:extLst>
              <a:ext uri="{FF2B5EF4-FFF2-40B4-BE49-F238E27FC236}">
                <a16:creationId xmlns:a16="http://schemas.microsoft.com/office/drawing/2014/main" id="{CED2D1C8-60BB-6B4A-A0D5-503497D81340}"/>
              </a:ext>
            </a:extLst>
          </p:cNvPr>
          <p:cNvSpPr/>
          <p:nvPr/>
        </p:nvSpPr>
        <p:spPr>
          <a:xfrm>
            <a:off x="619978" y="1550663"/>
            <a:ext cx="3473386" cy="457850"/>
          </a:xfrm>
          <a:prstGeom prst="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0" name="Text Placeholder 1">
            <a:extLst>
              <a:ext uri="{FF2B5EF4-FFF2-40B4-BE49-F238E27FC236}">
                <a16:creationId xmlns:a16="http://schemas.microsoft.com/office/drawing/2014/main" id="{1D49926E-E7AF-F136-A36F-5E50AE216D86}"/>
              </a:ext>
            </a:extLst>
          </p:cNvPr>
          <p:cNvSpPr txBox="1">
            <a:spLocks/>
          </p:cNvSpPr>
          <p:nvPr/>
        </p:nvSpPr>
        <p:spPr>
          <a:xfrm>
            <a:off x="619979" y="1664975"/>
            <a:ext cx="3170682" cy="227326"/>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ap </a:t>
            </a:r>
          </a:p>
        </p:txBody>
      </p:sp>
      <p:sp>
        <p:nvSpPr>
          <p:cNvPr id="6" name="Text Placeholder 1">
            <a:extLst>
              <a:ext uri="{FF2B5EF4-FFF2-40B4-BE49-F238E27FC236}">
                <a16:creationId xmlns:a16="http://schemas.microsoft.com/office/drawing/2014/main" id="{A7C4ED3F-7EB9-EB54-94EA-FDB24FEC36FE}"/>
              </a:ext>
            </a:extLst>
          </p:cNvPr>
          <p:cNvSpPr txBox="1">
            <a:spLocks/>
          </p:cNvSpPr>
          <p:nvPr/>
        </p:nvSpPr>
        <p:spPr>
          <a:xfrm>
            <a:off x="576420" y="5072179"/>
            <a:ext cx="3560501" cy="1633421"/>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Project is implemented in 10 states, supporting 123 localities, focusing on zero-dose and under-immunised communiti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B. project states are in red (SCI), blue (IMC) and orange (Alight),</a:t>
            </a:r>
          </a:p>
        </p:txBody>
      </p:sp>
      <p:sp>
        <p:nvSpPr>
          <p:cNvPr id="45" name="Text Placeholder 1">
            <a:extLst>
              <a:ext uri="{FF2B5EF4-FFF2-40B4-BE49-F238E27FC236}">
                <a16:creationId xmlns:a16="http://schemas.microsoft.com/office/drawing/2014/main" id="{0346FE17-BFE9-BA47-F727-633786AF43AC}"/>
              </a:ext>
            </a:extLst>
          </p:cNvPr>
          <p:cNvSpPr txBox="1">
            <a:spLocks/>
          </p:cNvSpPr>
          <p:nvPr/>
        </p:nvSpPr>
        <p:spPr>
          <a:xfrm>
            <a:off x="4410512" y="1664974"/>
            <a:ext cx="2470011"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verview</a:t>
            </a:r>
          </a:p>
        </p:txBody>
      </p:sp>
      <p:sp>
        <p:nvSpPr>
          <p:cNvPr id="46" name="Text Placeholder 1">
            <a:extLst>
              <a:ext uri="{FF2B5EF4-FFF2-40B4-BE49-F238E27FC236}">
                <a16:creationId xmlns:a16="http://schemas.microsoft.com/office/drawing/2014/main" id="{D0611986-3E0D-2AA2-D1B4-9733183A8542}"/>
              </a:ext>
            </a:extLst>
          </p:cNvPr>
          <p:cNvSpPr txBox="1">
            <a:spLocks/>
          </p:cNvSpPr>
          <p:nvPr/>
        </p:nvSpPr>
        <p:spPr>
          <a:xfrm>
            <a:off x="8471182" y="1664974"/>
            <a:ext cx="2470011"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verview</a:t>
            </a:r>
          </a:p>
        </p:txBody>
      </p:sp>
      <p:sp>
        <p:nvSpPr>
          <p:cNvPr id="67" name="Text Placeholder 1">
            <a:extLst>
              <a:ext uri="{FF2B5EF4-FFF2-40B4-BE49-F238E27FC236}">
                <a16:creationId xmlns:a16="http://schemas.microsoft.com/office/drawing/2014/main" id="{451D872F-EC97-3380-41BE-39C7139EDA81}"/>
              </a:ext>
            </a:extLst>
          </p:cNvPr>
          <p:cNvSpPr txBox="1">
            <a:spLocks/>
          </p:cNvSpPr>
          <p:nvPr/>
        </p:nvSpPr>
        <p:spPr>
          <a:xfrm>
            <a:off x="4350325" y="1666237"/>
            <a:ext cx="3727485"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verview</a:t>
            </a:r>
          </a:p>
        </p:txBody>
      </p:sp>
      <p:sp>
        <p:nvSpPr>
          <p:cNvPr id="68" name="Rectangle 67">
            <a:extLst>
              <a:ext uri="{FF2B5EF4-FFF2-40B4-BE49-F238E27FC236}">
                <a16:creationId xmlns:a16="http://schemas.microsoft.com/office/drawing/2014/main" id="{F05ED1B1-D9BA-2E17-4A9D-ED1030EE6F61}"/>
              </a:ext>
            </a:extLst>
          </p:cNvPr>
          <p:cNvSpPr/>
          <p:nvPr/>
        </p:nvSpPr>
        <p:spPr>
          <a:xfrm>
            <a:off x="4312605" y="1551926"/>
            <a:ext cx="7735233" cy="457850"/>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9" name="Text Placeholder 1">
            <a:extLst>
              <a:ext uri="{FF2B5EF4-FFF2-40B4-BE49-F238E27FC236}">
                <a16:creationId xmlns:a16="http://schemas.microsoft.com/office/drawing/2014/main" id="{8893F04C-B0A0-6283-6445-D6757B0D504A}"/>
              </a:ext>
            </a:extLst>
          </p:cNvPr>
          <p:cNvSpPr txBox="1">
            <a:spLocks/>
          </p:cNvSpPr>
          <p:nvPr/>
        </p:nvSpPr>
        <p:spPr>
          <a:xfrm>
            <a:off x="4312606" y="1666237"/>
            <a:ext cx="2470011"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ield photos</a:t>
            </a:r>
          </a:p>
        </p:txBody>
      </p:sp>
      <p:pic>
        <p:nvPicPr>
          <p:cNvPr id="3" name="Picture 2">
            <a:extLst>
              <a:ext uri="{FF2B5EF4-FFF2-40B4-BE49-F238E27FC236}">
                <a16:creationId xmlns:a16="http://schemas.microsoft.com/office/drawing/2014/main" id="{1B913147-5187-CFF7-1BC4-1AD269FFC270}"/>
              </a:ext>
            </a:extLst>
          </p:cNvPr>
          <p:cNvPicPr>
            <a:picLocks noChangeAspect="1"/>
          </p:cNvPicPr>
          <p:nvPr/>
        </p:nvPicPr>
        <p:blipFill>
          <a:blip r:embed="rId7"/>
          <a:stretch>
            <a:fillRect/>
          </a:stretch>
        </p:blipFill>
        <p:spPr>
          <a:xfrm>
            <a:off x="619978" y="2017785"/>
            <a:ext cx="3473386" cy="3059664"/>
          </a:xfrm>
          <a:prstGeom prst="rect">
            <a:avLst/>
          </a:prstGeom>
        </p:spPr>
      </p:pic>
      <p:pic>
        <p:nvPicPr>
          <p:cNvPr id="8" name="Picture 7" descr="A group of people sitting outside&#10;&#10;AI-generated content may be incorrect.">
            <a:extLst>
              <a:ext uri="{FF2B5EF4-FFF2-40B4-BE49-F238E27FC236}">
                <a16:creationId xmlns:a16="http://schemas.microsoft.com/office/drawing/2014/main" id="{112ADAE1-4498-E001-B05A-A8D741FC0564}"/>
              </a:ext>
            </a:extLst>
          </p:cNvPr>
          <p:cNvPicPr>
            <a:picLocks noChangeAspect="1"/>
          </p:cNvPicPr>
          <p:nvPr/>
        </p:nvPicPr>
        <p:blipFill>
          <a:blip r:embed="rId8">
            <a:extLst>
              <a:ext uri="{28A0092B-C50C-407E-A947-70E740481C1C}">
                <a14:useLocalDpi xmlns:a14="http://schemas.microsoft.com/office/drawing/2010/main" val="0"/>
              </a:ext>
            </a:extLst>
          </a:blip>
          <a:srcRect t="14150" b="20538"/>
          <a:stretch>
            <a:fillRect/>
          </a:stretch>
        </p:blipFill>
        <p:spPr bwMode="auto">
          <a:xfrm>
            <a:off x="4308857" y="2046515"/>
            <a:ext cx="4056294" cy="1991751"/>
          </a:xfrm>
          <a:prstGeom prst="rect">
            <a:avLst/>
          </a:prstGeom>
          <a:noFill/>
          <a:ln>
            <a:noFill/>
          </a:ln>
        </p:spPr>
      </p:pic>
      <p:pic>
        <p:nvPicPr>
          <p:cNvPr id="10" name="Picture 9">
            <a:extLst>
              <a:ext uri="{FF2B5EF4-FFF2-40B4-BE49-F238E27FC236}">
                <a16:creationId xmlns:a16="http://schemas.microsoft.com/office/drawing/2014/main" id="{84258C71-7A8A-C35A-D01D-2615F7494E4F}"/>
              </a:ext>
            </a:extLst>
          </p:cNvPr>
          <p:cNvPicPr>
            <a:picLocks noChangeAspect="1"/>
          </p:cNvPicPr>
          <p:nvPr/>
        </p:nvPicPr>
        <p:blipFill>
          <a:blip r:embed="rId9">
            <a:extLst>
              <a:ext uri="{28A0092B-C50C-407E-A947-70E740481C1C}">
                <a14:useLocalDpi xmlns:a14="http://schemas.microsoft.com/office/drawing/2010/main" val="0"/>
              </a:ext>
            </a:extLst>
          </a:blip>
          <a:srcRect r="912" b="19441"/>
          <a:stretch>
            <a:fillRect/>
          </a:stretch>
        </p:blipFill>
        <p:spPr bwMode="auto">
          <a:xfrm>
            <a:off x="4306507" y="4104950"/>
            <a:ext cx="4055858" cy="2506162"/>
          </a:xfrm>
          <a:prstGeom prst="rect">
            <a:avLst/>
          </a:prstGeom>
          <a:noFill/>
          <a:ln>
            <a:noFill/>
          </a:ln>
        </p:spPr>
      </p:pic>
      <p:sp>
        <p:nvSpPr>
          <p:cNvPr id="2" name="Title 1">
            <a:extLst>
              <a:ext uri="{FF2B5EF4-FFF2-40B4-BE49-F238E27FC236}">
                <a16:creationId xmlns:a16="http://schemas.microsoft.com/office/drawing/2014/main" id="{2913E542-CCA8-14BB-4643-329EF6FD8C29}"/>
              </a:ext>
            </a:extLst>
          </p:cNvPr>
          <p:cNvSpPr txBox="1">
            <a:spLocks/>
          </p:cNvSpPr>
          <p:nvPr/>
        </p:nvSpPr>
        <p:spPr>
          <a:xfrm>
            <a:off x="515938" y="1059760"/>
            <a:ext cx="10063162" cy="27420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Save the Children – Sudan Hard-to-Reach Areas Consortium</a:t>
            </a:r>
            <a:endParaRPr kumimoji="0" lang="en-US" sz="20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endParaRPr>
          </a:p>
        </p:txBody>
      </p:sp>
      <p:pic>
        <p:nvPicPr>
          <p:cNvPr id="5" name="Img1" descr="GAVI Logo">
            <a:extLst>
              <a:ext uri="{FF2B5EF4-FFF2-40B4-BE49-F238E27FC236}">
                <a16:creationId xmlns:a16="http://schemas.microsoft.com/office/drawing/2014/main" id="{224BF8A9-871F-3095-A502-23B18DD9C94E}"/>
              </a:ext>
            </a:extLst>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37186" y="172287"/>
            <a:ext cx="1183548" cy="667088"/>
          </a:xfrm>
          <a:prstGeom prst="rect">
            <a:avLst/>
          </a:prstGeom>
          <a:noFill/>
          <a:ln>
            <a:noFill/>
          </a:ln>
        </p:spPr>
      </p:pic>
      <p:pic>
        <p:nvPicPr>
          <p:cNvPr id="9" name="Picture 8" descr="A logo of a palm tree&#10;&#10;AI-generated content may be incorrect.">
            <a:extLst>
              <a:ext uri="{FF2B5EF4-FFF2-40B4-BE49-F238E27FC236}">
                <a16:creationId xmlns:a16="http://schemas.microsoft.com/office/drawing/2014/main" id="{D56BB1CB-04BA-E792-46F5-12E6B5DAE0A3}"/>
              </a:ext>
            </a:extLst>
          </p:cNvPr>
          <p:cNvPicPr>
            <a:picLocks noChangeAspect="1"/>
          </p:cNvPicPr>
          <p:nvPr/>
        </p:nvPicPr>
        <p:blipFill>
          <a:blip r:embed="rId11">
            <a:clrChange>
              <a:clrFrom>
                <a:srgbClr val="FDFEFF"/>
              </a:clrFrom>
              <a:clrTo>
                <a:srgbClr val="FDFEFF">
                  <a:alpha val="0"/>
                </a:srgbClr>
              </a:clrTo>
            </a:clrChange>
            <a:extLst>
              <a:ext uri="{28A0092B-C50C-407E-A947-70E740481C1C}">
                <a14:useLocalDpi xmlns:a14="http://schemas.microsoft.com/office/drawing/2010/main" val="0"/>
              </a:ext>
            </a:extLst>
          </a:blip>
          <a:stretch>
            <a:fillRect/>
          </a:stretch>
        </p:blipFill>
        <p:spPr>
          <a:xfrm>
            <a:off x="4222758" y="155572"/>
            <a:ext cx="667089" cy="667089"/>
          </a:xfrm>
          <a:prstGeom prst="rect">
            <a:avLst/>
          </a:prstGeom>
        </p:spPr>
      </p:pic>
      <p:pic>
        <p:nvPicPr>
          <p:cNvPr id="14" name="Picture 1" descr="A black background with a black square&#10;&#10;AI-generated content may be incorrect.">
            <a:extLst>
              <a:ext uri="{FF2B5EF4-FFF2-40B4-BE49-F238E27FC236}">
                <a16:creationId xmlns:a16="http://schemas.microsoft.com/office/drawing/2014/main" id="{DF5977EF-F1B7-39D2-34BC-05573F15EE3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33062" y="309723"/>
            <a:ext cx="1349504" cy="34681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664225487">
            <a:extLst>
              <a:ext uri="{FF2B5EF4-FFF2-40B4-BE49-F238E27FC236}">
                <a16:creationId xmlns:a16="http://schemas.microsoft.com/office/drawing/2014/main" id="{7345DBD2-BB6B-F98A-9936-5B03C9D9914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096887" y="333083"/>
            <a:ext cx="869721" cy="32345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40483673" descr="A close up of a logo&#10;&#10;AI-generated content may be incorrect.">
            <a:extLst>
              <a:ext uri="{FF2B5EF4-FFF2-40B4-BE49-F238E27FC236}">
                <a16:creationId xmlns:a16="http://schemas.microsoft.com/office/drawing/2014/main" id="{A0A5F6BF-71EC-FDB4-4B4F-AF2771BB4F0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34902" y="294938"/>
            <a:ext cx="1142856" cy="28391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746DABB5-BE5B-477C-09C8-B8F9B20EB76A}"/>
              </a:ext>
            </a:extLst>
          </p:cNvPr>
          <p:cNvPicPr>
            <a:picLocks noChangeAspect="1"/>
          </p:cNvPicPr>
          <p:nvPr/>
        </p:nvPicPr>
        <p:blipFill>
          <a:blip r:embed="rId15"/>
          <a:srcRect t="1479" r="2323" b="20972"/>
          <a:stretch>
            <a:fillRect/>
          </a:stretch>
        </p:blipFill>
        <p:spPr>
          <a:xfrm>
            <a:off x="8377117" y="2046515"/>
            <a:ext cx="3658755" cy="1991751"/>
          </a:xfrm>
          <a:prstGeom prst="rect">
            <a:avLst/>
          </a:prstGeom>
        </p:spPr>
      </p:pic>
      <p:pic>
        <p:nvPicPr>
          <p:cNvPr id="18" name="Picture 17">
            <a:extLst>
              <a:ext uri="{FF2B5EF4-FFF2-40B4-BE49-F238E27FC236}">
                <a16:creationId xmlns:a16="http://schemas.microsoft.com/office/drawing/2014/main" id="{12B7F1ED-84F3-8A84-39B6-1D856EC6B2AD}"/>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429120" y="4087456"/>
            <a:ext cx="3608476" cy="2523656"/>
          </a:xfrm>
          <a:prstGeom prst="rect">
            <a:avLst/>
          </a:prstGeom>
          <a:noFill/>
          <a:ln>
            <a:noFill/>
          </a:ln>
        </p:spPr>
      </p:pic>
    </p:spTree>
    <p:extLst>
      <p:ext uri="{BB962C8B-B14F-4D97-AF65-F5344CB8AC3E}">
        <p14:creationId xmlns:p14="http://schemas.microsoft.com/office/powerpoint/2010/main" val="15908040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7C31AC-BAA0-FEEA-95E5-4693A51784E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62DBA7-A4F2-7361-1AE4-C4D15FD24D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0"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5F62DBA7-A4F2-7361-1AE4-C4D15FD24D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1">
            <a:extLst>
              <a:ext uri="{FF2B5EF4-FFF2-40B4-BE49-F238E27FC236}">
                <a16:creationId xmlns:a16="http://schemas.microsoft.com/office/drawing/2014/main" id="{CDD72C8E-3211-E545-5D18-D52532A4B56F}"/>
              </a:ext>
            </a:extLst>
          </p:cNvPr>
          <p:cNvSpPr txBox="1">
            <a:spLocks/>
          </p:cNvSpPr>
          <p:nvPr/>
        </p:nvSpPr>
        <p:spPr>
          <a:xfrm>
            <a:off x="4347755" y="2134473"/>
            <a:ext cx="3473387" cy="3800486"/>
          </a:xfrm>
          <a:prstGeom prst="rect">
            <a:avLst/>
          </a:prstGeom>
          <a:solidFill>
            <a:schemeClr val="bg1"/>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5" name="Text Placeholder 1">
            <a:extLst>
              <a:ext uri="{FF2B5EF4-FFF2-40B4-BE49-F238E27FC236}">
                <a16:creationId xmlns:a16="http://schemas.microsoft.com/office/drawing/2014/main" id="{3A704841-86C1-46F7-7CFB-6B45079ECF39}"/>
              </a:ext>
            </a:extLst>
          </p:cNvPr>
          <p:cNvSpPr txBox="1">
            <a:spLocks/>
          </p:cNvSpPr>
          <p:nvPr/>
        </p:nvSpPr>
        <p:spPr>
          <a:xfrm>
            <a:off x="4403838" y="1664974"/>
            <a:ext cx="2301634"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46" name="Text Placeholder 1">
            <a:extLst>
              <a:ext uri="{FF2B5EF4-FFF2-40B4-BE49-F238E27FC236}">
                <a16:creationId xmlns:a16="http://schemas.microsoft.com/office/drawing/2014/main" id="{85AE16BD-0A7D-669F-D088-073C90D257F9}"/>
              </a:ext>
            </a:extLst>
          </p:cNvPr>
          <p:cNvSpPr txBox="1">
            <a:spLocks/>
          </p:cNvSpPr>
          <p:nvPr/>
        </p:nvSpPr>
        <p:spPr>
          <a:xfrm>
            <a:off x="8187697" y="1664974"/>
            <a:ext cx="2301634"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13" name="Text Placeholder 1">
            <a:extLst>
              <a:ext uri="{FF2B5EF4-FFF2-40B4-BE49-F238E27FC236}">
                <a16:creationId xmlns:a16="http://schemas.microsoft.com/office/drawing/2014/main" id="{6FFDE23E-413D-4EC0-77FD-913E337C8C06}"/>
              </a:ext>
            </a:extLst>
          </p:cNvPr>
          <p:cNvSpPr txBox="1">
            <a:spLocks/>
          </p:cNvSpPr>
          <p:nvPr/>
        </p:nvSpPr>
        <p:spPr>
          <a:xfrm>
            <a:off x="655127" y="1664974"/>
            <a:ext cx="3473387"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39" name="Rectangle 38">
            <a:extLst>
              <a:ext uri="{FF2B5EF4-FFF2-40B4-BE49-F238E27FC236}">
                <a16:creationId xmlns:a16="http://schemas.microsoft.com/office/drawing/2014/main" id="{CB2FA45D-517E-D7C9-620E-983A056FE973}"/>
              </a:ext>
            </a:extLst>
          </p:cNvPr>
          <p:cNvSpPr/>
          <p:nvPr/>
        </p:nvSpPr>
        <p:spPr>
          <a:xfrm>
            <a:off x="619978" y="1550663"/>
            <a:ext cx="3473386" cy="45785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0" name="Text Placeholder 1">
            <a:extLst>
              <a:ext uri="{FF2B5EF4-FFF2-40B4-BE49-F238E27FC236}">
                <a16:creationId xmlns:a16="http://schemas.microsoft.com/office/drawing/2014/main" id="{820640A8-1E47-4CDE-C742-CAD5EBE64455}"/>
              </a:ext>
            </a:extLst>
          </p:cNvPr>
          <p:cNvSpPr txBox="1">
            <a:spLocks/>
          </p:cNvSpPr>
          <p:nvPr/>
        </p:nvSpPr>
        <p:spPr>
          <a:xfrm>
            <a:off x="655126" y="1619327"/>
            <a:ext cx="3170682" cy="227326"/>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oject successes</a:t>
            </a:r>
          </a:p>
        </p:txBody>
      </p:sp>
      <p:sp>
        <p:nvSpPr>
          <p:cNvPr id="47" name="Text Placeholder 1">
            <a:extLst>
              <a:ext uri="{FF2B5EF4-FFF2-40B4-BE49-F238E27FC236}">
                <a16:creationId xmlns:a16="http://schemas.microsoft.com/office/drawing/2014/main" id="{150A23C2-10DB-CD0D-E944-6B62BEC3B45C}"/>
              </a:ext>
            </a:extLst>
          </p:cNvPr>
          <p:cNvSpPr txBox="1">
            <a:spLocks/>
          </p:cNvSpPr>
          <p:nvPr/>
        </p:nvSpPr>
        <p:spPr>
          <a:xfrm>
            <a:off x="1238960" y="2065254"/>
            <a:ext cx="2861838" cy="2080248"/>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upporting operation of morethan1655 </a:t>
            </a:r>
            <a:r>
              <a:rPr kumimoji="0" lang="en-US"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mmunisation</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sites across 10 hard-to-reach states, including provision of  cold chain equipment. These efforts have contributed to improved Penta 1 reach from 47% to 71% within 6 months.</a:t>
            </a:r>
          </a:p>
        </p:txBody>
      </p:sp>
      <p:sp>
        <p:nvSpPr>
          <p:cNvPr id="51" name="Text Placeholder 1">
            <a:extLst>
              <a:ext uri="{FF2B5EF4-FFF2-40B4-BE49-F238E27FC236}">
                <a16:creationId xmlns:a16="http://schemas.microsoft.com/office/drawing/2014/main" id="{5A13A729-5DDE-980C-2B1E-56D114A00FCC}"/>
              </a:ext>
            </a:extLst>
          </p:cNvPr>
          <p:cNvSpPr txBox="1">
            <a:spLocks/>
          </p:cNvSpPr>
          <p:nvPr/>
        </p:nvSpPr>
        <p:spPr>
          <a:xfrm>
            <a:off x="1231525" y="4199356"/>
            <a:ext cx="2861839" cy="1874948"/>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project has increased vaccine coverage in the Red Sea state almost tenfold in the last year, from 3382 children vaccinated with Penta 1 in January, to 29,390 children vaccinated with Penta 1 in December. </a:t>
            </a:r>
            <a:endPar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 name="Text Placeholder 1">
            <a:extLst>
              <a:ext uri="{FF2B5EF4-FFF2-40B4-BE49-F238E27FC236}">
                <a16:creationId xmlns:a16="http://schemas.microsoft.com/office/drawing/2014/main" id="{770C86C7-C314-FAC2-0D3A-203000231CB5}"/>
              </a:ext>
            </a:extLst>
          </p:cNvPr>
          <p:cNvSpPr txBox="1">
            <a:spLocks/>
          </p:cNvSpPr>
          <p:nvPr/>
        </p:nvSpPr>
        <p:spPr>
          <a:xfrm>
            <a:off x="619978" y="2094310"/>
            <a:ext cx="434891" cy="876373"/>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2" name="Text Placeholder 1">
            <a:extLst>
              <a:ext uri="{FF2B5EF4-FFF2-40B4-BE49-F238E27FC236}">
                <a16:creationId xmlns:a16="http://schemas.microsoft.com/office/drawing/2014/main" id="{C29917E5-08EE-0504-E516-8FA83654F278}"/>
              </a:ext>
            </a:extLst>
          </p:cNvPr>
          <p:cNvSpPr txBox="1">
            <a:spLocks/>
          </p:cNvSpPr>
          <p:nvPr/>
        </p:nvSpPr>
        <p:spPr>
          <a:xfrm>
            <a:off x="619978" y="4236173"/>
            <a:ext cx="434891" cy="876373"/>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7" name="Text Placeholder 1">
            <a:extLst>
              <a:ext uri="{FF2B5EF4-FFF2-40B4-BE49-F238E27FC236}">
                <a16:creationId xmlns:a16="http://schemas.microsoft.com/office/drawing/2014/main" id="{B59D1391-986C-1C9E-9CE9-0D1E53412680}"/>
              </a:ext>
            </a:extLst>
          </p:cNvPr>
          <p:cNvSpPr txBox="1">
            <a:spLocks/>
          </p:cNvSpPr>
          <p:nvPr/>
        </p:nvSpPr>
        <p:spPr>
          <a:xfrm>
            <a:off x="4347754" y="1666237"/>
            <a:ext cx="3473387"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68" name="Rectangle 67">
            <a:extLst>
              <a:ext uri="{FF2B5EF4-FFF2-40B4-BE49-F238E27FC236}">
                <a16:creationId xmlns:a16="http://schemas.microsoft.com/office/drawing/2014/main" id="{AB503F7E-F808-8C3D-ECA8-947241F27EE2}"/>
              </a:ext>
            </a:extLst>
          </p:cNvPr>
          <p:cNvSpPr/>
          <p:nvPr/>
        </p:nvSpPr>
        <p:spPr>
          <a:xfrm>
            <a:off x="4312605" y="1551926"/>
            <a:ext cx="3473386" cy="456588"/>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9" name="Text Placeholder 1">
            <a:extLst>
              <a:ext uri="{FF2B5EF4-FFF2-40B4-BE49-F238E27FC236}">
                <a16:creationId xmlns:a16="http://schemas.microsoft.com/office/drawing/2014/main" id="{9EECE1E5-E520-6A93-9887-F6E91E49A47B}"/>
              </a:ext>
            </a:extLst>
          </p:cNvPr>
          <p:cNvSpPr txBox="1">
            <a:spLocks/>
          </p:cNvSpPr>
          <p:nvPr/>
        </p:nvSpPr>
        <p:spPr>
          <a:xfrm>
            <a:off x="4349313" y="1610949"/>
            <a:ext cx="3261914"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ain challenges</a:t>
            </a:r>
          </a:p>
        </p:txBody>
      </p:sp>
      <p:grpSp>
        <p:nvGrpSpPr>
          <p:cNvPr id="70" name="Group 69">
            <a:extLst>
              <a:ext uri="{FF2B5EF4-FFF2-40B4-BE49-F238E27FC236}">
                <a16:creationId xmlns:a16="http://schemas.microsoft.com/office/drawing/2014/main" id="{056F5900-A614-E56B-7331-24AE0B9C4E85}"/>
              </a:ext>
            </a:extLst>
          </p:cNvPr>
          <p:cNvGrpSpPr/>
          <p:nvPr/>
        </p:nvGrpSpPr>
        <p:grpSpPr>
          <a:xfrm>
            <a:off x="4312605" y="2031854"/>
            <a:ext cx="3473387" cy="4044481"/>
            <a:chOff x="619978" y="2035242"/>
            <a:chExt cx="3422382" cy="3749221"/>
          </a:xfrm>
        </p:grpSpPr>
        <p:sp>
          <p:nvSpPr>
            <p:cNvPr id="71" name="Text Placeholder 1">
              <a:extLst>
                <a:ext uri="{FF2B5EF4-FFF2-40B4-BE49-F238E27FC236}">
                  <a16:creationId xmlns:a16="http://schemas.microsoft.com/office/drawing/2014/main" id="{013320DF-500A-67D5-2B01-11D243B8E52A}"/>
                </a:ext>
              </a:extLst>
            </p:cNvPr>
            <p:cNvSpPr txBox="1">
              <a:spLocks/>
            </p:cNvSpPr>
            <p:nvPr/>
          </p:nvSpPr>
          <p:spPr>
            <a:xfrm>
              <a:off x="1083117" y="2035242"/>
              <a:ext cx="2959243" cy="1928383"/>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eyond "Country-Led" to "Community-Owned":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avi's country-led approach is a strong foundation, but moving beyond national levels to empower sub-national and community structures need to be considered. This includes supporting local health committees, community-based organizations, and other grassroots initiatives.</a:t>
              </a:r>
            </a:p>
          </p:txBody>
        </p:sp>
        <p:sp>
          <p:nvSpPr>
            <p:cNvPr id="72" name="Text Placeholder 1">
              <a:extLst>
                <a:ext uri="{FF2B5EF4-FFF2-40B4-BE49-F238E27FC236}">
                  <a16:creationId xmlns:a16="http://schemas.microsoft.com/office/drawing/2014/main" id="{AA213D42-0DD6-3ED5-533B-D8B56D1C45D9}"/>
                </a:ext>
              </a:extLst>
            </p:cNvPr>
            <p:cNvSpPr txBox="1">
              <a:spLocks/>
            </p:cNvSpPr>
            <p:nvPr/>
          </p:nvSpPr>
          <p:spPr>
            <a:xfrm>
              <a:off x="1083117" y="4024755"/>
              <a:ext cx="2959243" cy="1759708"/>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Given</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the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developing</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humanitarian</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conflict</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context</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n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Sudan</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t</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has been a challenge to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ntegrate</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mmunisation services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nto</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Save the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Children’s</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humanitarian</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response</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Text Placeholder 1">
              <a:extLst>
                <a:ext uri="{FF2B5EF4-FFF2-40B4-BE49-F238E27FC236}">
                  <a16:creationId xmlns:a16="http://schemas.microsoft.com/office/drawing/2014/main" id="{86118DE8-A5F5-64AD-9109-983308BEE0B8}"/>
                </a:ext>
              </a:extLst>
            </p:cNvPr>
            <p:cNvSpPr txBox="1">
              <a:spLocks/>
            </p:cNvSpPr>
            <p:nvPr/>
          </p:nvSpPr>
          <p:spPr>
            <a:xfrm>
              <a:off x="619978" y="2094310"/>
              <a:ext cx="428505" cy="777677"/>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4" name="Text Placeholder 1">
              <a:extLst>
                <a:ext uri="{FF2B5EF4-FFF2-40B4-BE49-F238E27FC236}">
                  <a16:creationId xmlns:a16="http://schemas.microsoft.com/office/drawing/2014/main" id="{3C90C153-0960-8382-775F-781CF099986D}"/>
                </a:ext>
              </a:extLst>
            </p:cNvPr>
            <p:cNvSpPr txBox="1">
              <a:spLocks/>
            </p:cNvSpPr>
            <p:nvPr/>
          </p:nvSpPr>
          <p:spPr>
            <a:xfrm>
              <a:off x="619978" y="4044509"/>
              <a:ext cx="428505" cy="777677"/>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76" name="Text Placeholder 1">
            <a:extLst>
              <a:ext uri="{FF2B5EF4-FFF2-40B4-BE49-F238E27FC236}">
                <a16:creationId xmlns:a16="http://schemas.microsoft.com/office/drawing/2014/main" id="{06E03280-9BDB-C046-AC15-F57B96A602A7}"/>
              </a:ext>
            </a:extLst>
          </p:cNvPr>
          <p:cNvSpPr txBox="1">
            <a:spLocks/>
          </p:cNvSpPr>
          <p:nvPr/>
        </p:nvSpPr>
        <p:spPr>
          <a:xfrm>
            <a:off x="8040382" y="1667500"/>
            <a:ext cx="3473387" cy="343539"/>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perçu</a:t>
            </a:r>
          </a:p>
        </p:txBody>
      </p:sp>
      <p:sp>
        <p:nvSpPr>
          <p:cNvPr id="77" name="Rectangle 76">
            <a:extLst>
              <a:ext uri="{FF2B5EF4-FFF2-40B4-BE49-F238E27FC236}">
                <a16:creationId xmlns:a16="http://schemas.microsoft.com/office/drawing/2014/main" id="{0D847923-B537-AE40-FF50-E4D2EC91C652}"/>
              </a:ext>
            </a:extLst>
          </p:cNvPr>
          <p:cNvSpPr/>
          <p:nvPr/>
        </p:nvSpPr>
        <p:spPr>
          <a:xfrm>
            <a:off x="8005233" y="1553189"/>
            <a:ext cx="3473386" cy="457850"/>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8" name="Text Placeholder 1">
            <a:extLst>
              <a:ext uri="{FF2B5EF4-FFF2-40B4-BE49-F238E27FC236}">
                <a16:creationId xmlns:a16="http://schemas.microsoft.com/office/drawing/2014/main" id="{A0E5B0D3-4994-A985-3A0B-886F46D1BA51}"/>
              </a:ext>
            </a:extLst>
          </p:cNvPr>
          <p:cNvSpPr txBox="1">
            <a:spLocks/>
          </p:cNvSpPr>
          <p:nvPr/>
        </p:nvSpPr>
        <p:spPr>
          <a:xfrm>
            <a:off x="8040381" y="1613475"/>
            <a:ext cx="3097274" cy="341013"/>
          </a:xfrm>
          <a:prstGeom prst="rect">
            <a:avLst/>
          </a:prstGeom>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f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ecommendations to Gavi</a:t>
            </a:r>
          </a:p>
        </p:txBody>
      </p:sp>
      <p:grpSp>
        <p:nvGrpSpPr>
          <p:cNvPr id="79" name="Group 78">
            <a:extLst>
              <a:ext uri="{FF2B5EF4-FFF2-40B4-BE49-F238E27FC236}">
                <a16:creationId xmlns:a16="http://schemas.microsoft.com/office/drawing/2014/main" id="{3B3A9455-C15C-2E97-7975-637050265755}"/>
              </a:ext>
            </a:extLst>
          </p:cNvPr>
          <p:cNvGrpSpPr/>
          <p:nvPr/>
        </p:nvGrpSpPr>
        <p:grpSpPr>
          <a:xfrm>
            <a:off x="8005233" y="2056444"/>
            <a:ext cx="3473386" cy="4019891"/>
            <a:chOff x="619978" y="2058467"/>
            <a:chExt cx="3422381" cy="3567176"/>
          </a:xfrm>
        </p:grpSpPr>
        <p:sp>
          <p:nvSpPr>
            <p:cNvPr id="80" name="Text Placeholder 1">
              <a:extLst>
                <a:ext uri="{FF2B5EF4-FFF2-40B4-BE49-F238E27FC236}">
                  <a16:creationId xmlns:a16="http://schemas.microsoft.com/office/drawing/2014/main" id="{141B0FAF-241F-F4C0-26FA-A448148BA0DD}"/>
                </a:ext>
              </a:extLst>
            </p:cNvPr>
            <p:cNvSpPr txBox="1">
              <a:spLocks/>
            </p:cNvSpPr>
            <p:nvPr/>
          </p:nvSpPr>
          <p:spPr>
            <a:xfrm>
              <a:off x="1117752" y="2058467"/>
              <a:ext cx="2924607" cy="1845973"/>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cus on Zero-Dose and Missed Communities: </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s must remain the absolute priority. Gavi should scale up its efforts to identify and reach these communities, which are often in fragile or conflict-affected areas, urban slums, or remote populations. Innovative approaches, such as micro-planning and community-led delivery models, are crucial to ensure equitable access.</a:t>
              </a:r>
            </a:p>
          </p:txBody>
        </p:sp>
        <p:sp>
          <p:nvSpPr>
            <p:cNvPr id="81" name="Text Placeholder 1">
              <a:extLst>
                <a:ext uri="{FF2B5EF4-FFF2-40B4-BE49-F238E27FC236}">
                  <a16:creationId xmlns:a16="http://schemas.microsoft.com/office/drawing/2014/main" id="{BF3E8E77-257C-2A5A-54CF-F51F0114F458}"/>
                </a:ext>
              </a:extLst>
            </p:cNvPr>
            <p:cNvSpPr txBox="1">
              <a:spLocks/>
            </p:cNvSpPr>
            <p:nvPr/>
          </p:nvSpPr>
          <p:spPr>
            <a:xfrm>
              <a:off x="1152385" y="3961849"/>
              <a:ext cx="2889974" cy="1663794"/>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rket Shaping: </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avi's unique position allows it to influence vaccine markets, drive down prices, and encourage the development of new, affordable vaccines. This capability should be leveraged to ensure a stable supply of new and existing vaccines, especially for diseases which are increasingly important.</a:t>
              </a:r>
            </a:p>
          </p:txBody>
        </p:sp>
        <p:sp>
          <p:nvSpPr>
            <p:cNvPr id="82" name="Text Placeholder 1">
              <a:extLst>
                <a:ext uri="{FF2B5EF4-FFF2-40B4-BE49-F238E27FC236}">
                  <a16:creationId xmlns:a16="http://schemas.microsoft.com/office/drawing/2014/main" id="{E31636C8-B447-2E93-82D4-1B38B20057E1}"/>
                </a:ext>
              </a:extLst>
            </p:cNvPr>
            <p:cNvSpPr txBox="1">
              <a:spLocks/>
            </p:cNvSpPr>
            <p:nvPr/>
          </p:nvSpPr>
          <p:spPr>
            <a:xfrm>
              <a:off x="619978" y="2094310"/>
              <a:ext cx="428505" cy="777677"/>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3" name="Text Placeholder 1">
              <a:extLst>
                <a:ext uri="{FF2B5EF4-FFF2-40B4-BE49-F238E27FC236}">
                  <a16:creationId xmlns:a16="http://schemas.microsoft.com/office/drawing/2014/main" id="{84231B81-247F-1E4E-B84A-50B9A229B1A5}"/>
                </a:ext>
              </a:extLst>
            </p:cNvPr>
            <p:cNvSpPr txBox="1">
              <a:spLocks/>
            </p:cNvSpPr>
            <p:nvPr/>
          </p:nvSpPr>
          <p:spPr>
            <a:xfrm>
              <a:off x="619978" y="3960047"/>
              <a:ext cx="428505" cy="777677"/>
            </a:xfrm>
            <a:prstGeom prst="rect">
              <a:avLst/>
            </a:prstGeom>
            <a:solidFill>
              <a:srgbClr val="7F7F7F"/>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GB" sz="3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7" name="Img1" descr="GAVI Logo">
            <a:extLst>
              <a:ext uri="{FF2B5EF4-FFF2-40B4-BE49-F238E27FC236}">
                <a16:creationId xmlns:a16="http://schemas.microsoft.com/office/drawing/2014/main" id="{EC3FBD6C-2859-B56D-02F2-4A151E22D261}"/>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37186" y="172287"/>
            <a:ext cx="1183548" cy="667088"/>
          </a:xfrm>
          <a:prstGeom prst="rect">
            <a:avLst/>
          </a:prstGeom>
          <a:noFill/>
          <a:ln>
            <a:noFill/>
          </a:ln>
        </p:spPr>
      </p:pic>
      <p:pic>
        <p:nvPicPr>
          <p:cNvPr id="8" name="Picture 7" descr="A logo of a palm tree&#10;&#10;AI-generated content may be incorrect.">
            <a:extLst>
              <a:ext uri="{FF2B5EF4-FFF2-40B4-BE49-F238E27FC236}">
                <a16:creationId xmlns:a16="http://schemas.microsoft.com/office/drawing/2014/main" id="{4A7CE211-140C-BB40-1DB9-8EB371FDDAD4}"/>
              </a:ext>
            </a:extLst>
          </p:cNvPr>
          <p:cNvPicPr>
            <a:picLocks noChangeAspect="1"/>
          </p:cNvPicPr>
          <p:nvPr/>
        </p:nvPicPr>
        <p:blipFill>
          <a:blip r:embed="rId8">
            <a:clrChange>
              <a:clrFrom>
                <a:srgbClr val="FDFEFF"/>
              </a:clrFrom>
              <a:clrTo>
                <a:srgbClr val="FDFEFF">
                  <a:alpha val="0"/>
                </a:srgbClr>
              </a:clrTo>
            </a:clrChange>
            <a:extLst>
              <a:ext uri="{28A0092B-C50C-407E-A947-70E740481C1C}">
                <a14:useLocalDpi xmlns:a14="http://schemas.microsoft.com/office/drawing/2010/main" val="0"/>
              </a:ext>
            </a:extLst>
          </a:blip>
          <a:stretch>
            <a:fillRect/>
          </a:stretch>
        </p:blipFill>
        <p:spPr>
          <a:xfrm>
            <a:off x="4222758" y="155572"/>
            <a:ext cx="667089" cy="667089"/>
          </a:xfrm>
          <a:prstGeom prst="rect">
            <a:avLst/>
          </a:prstGeom>
        </p:spPr>
      </p:pic>
      <p:pic>
        <p:nvPicPr>
          <p:cNvPr id="9" name="Picture 1" descr="A black background with a black square&#10;&#10;AI-generated content may be incorrect.">
            <a:extLst>
              <a:ext uri="{FF2B5EF4-FFF2-40B4-BE49-F238E27FC236}">
                <a16:creationId xmlns:a16="http://schemas.microsoft.com/office/drawing/2014/main" id="{945E4BEB-E96D-70A6-0E10-7CDEF844641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33062" y="309723"/>
            <a:ext cx="1349504" cy="34681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64225487">
            <a:extLst>
              <a:ext uri="{FF2B5EF4-FFF2-40B4-BE49-F238E27FC236}">
                <a16:creationId xmlns:a16="http://schemas.microsoft.com/office/drawing/2014/main" id="{9EAE1453-6A5B-F415-60E8-498FEC2A3C2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96887" y="333083"/>
            <a:ext cx="869721" cy="32345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40483673" descr="A close up of a logo&#10;&#10;AI-generated content may be incorrect.">
            <a:extLst>
              <a:ext uri="{FF2B5EF4-FFF2-40B4-BE49-F238E27FC236}">
                <a16:creationId xmlns:a16="http://schemas.microsoft.com/office/drawing/2014/main" id="{015200F9-FF14-05C9-71FD-F0A9B353F37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4902" y="294938"/>
            <a:ext cx="1142856" cy="283917"/>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CEC44F0B-2AA8-ED03-62A2-97F16637AA93}"/>
              </a:ext>
            </a:extLst>
          </p:cNvPr>
          <p:cNvSpPr txBox="1">
            <a:spLocks/>
          </p:cNvSpPr>
          <p:nvPr/>
        </p:nvSpPr>
        <p:spPr>
          <a:xfrm>
            <a:off x="515938" y="1059760"/>
            <a:ext cx="10063162" cy="27420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Save the Children – Sudan Hard-to-Reach Areas Consortium</a:t>
            </a:r>
            <a:endParaRPr kumimoji="0" lang="en-US" sz="20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endParaRPr>
          </a:p>
        </p:txBody>
      </p:sp>
      <p:sp>
        <p:nvSpPr>
          <p:cNvPr id="15" name="Text Placeholder 1">
            <a:extLst>
              <a:ext uri="{FF2B5EF4-FFF2-40B4-BE49-F238E27FC236}">
                <a16:creationId xmlns:a16="http://schemas.microsoft.com/office/drawing/2014/main" id="{F21E55BC-F712-2161-7B14-99A218D8A12D}"/>
              </a:ext>
            </a:extLst>
          </p:cNvPr>
          <p:cNvSpPr txBox="1">
            <a:spLocks/>
          </p:cNvSpPr>
          <p:nvPr/>
        </p:nvSpPr>
        <p:spPr>
          <a:xfrm>
            <a:off x="1238960" y="6199929"/>
            <a:ext cx="10239659" cy="456588"/>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most powerful quote from my experience, which resonates with the challenges we face, is </a:t>
            </a: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spite what has happened, we must continue.” </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s is more than just a phrase; it's a mindset. It’s a call to action to persevere, innovate and collaborate.</a:t>
            </a:r>
            <a:endPar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12133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3785425E-2176-8F81-D07A-0F79280B2AEF}"/>
              </a:ext>
            </a:extLst>
          </p:cNvPr>
          <p:cNvSpPr>
            <a:spLocks noGrp="1"/>
          </p:cNvSpPr>
          <p:nvPr>
            <p:ph type="pic" sz="quarter" idx="10"/>
          </p:nvPr>
        </p:nvSpPr>
        <p:spPr>
          <a:solidFill>
            <a:schemeClr val="tx2">
              <a:lumMod val="50000"/>
            </a:schemeClr>
          </a:solidFill>
        </p:spPr>
        <p:txBody>
          <a:bodyPr/>
          <a:lstStyle/>
          <a:p>
            <a:endParaRPr lang="en-US"/>
          </a:p>
        </p:txBody>
      </p:sp>
      <p:sp>
        <p:nvSpPr>
          <p:cNvPr id="3" name="Text Placeholder 2">
            <a:extLst>
              <a:ext uri="{FF2B5EF4-FFF2-40B4-BE49-F238E27FC236}">
                <a16:creationId xmlns:a16="http://schemas.microsoft.com/office/drawing/2014/main" id="{68B37196-F32F-6148-3FF9-BE115E408315}"/>
              </a:ext>
            </a:extLst>
          </p:cNvPr>
          <p:cNvSpPr>
            <a:spLocks noGrp="1"/>
          </p:cNvSpPr>
          <p:nvPr>
            <p:ph type="body" sz="quarter" idx="12"/>
          </p:nvPr>
        </p:nvSpPr>
        <p:spPr/>
        <p:txBody>
          <a:bodyPr>
            <a:normAutofit fontScale="92500" lnSpcReduction="10000"/>
          </a:bodyPr>
          <a:lstStyle/>
          <a:p>
            <a:r>
              <a:rPr lang="en-US"/>
              <a:t>CSO Dialogue</a:t>
            </a:r>
          </a:p>
          <a:p>
            <a:endParaRPr lang="en-US"/>
          </a:p>
          <a:p>
            <a:r>
              <a:rPr lang="en-US"/>
              <a:t>Dialogue avec les OSC</a:t>
            </a:r>
          </a:p>
        </p:txBody>
      </p:sp>
    </p:spTree>
    <p:extLst>
      <p:ext uri="{BB962C8B-B14F-4D97-AF65-F5344CB8AC3E}">
        <p14:creationId xmlns:p14="http://schemas.microsoft.com/office/powerpoint/2010/main" val="8762387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01D5C75-CEF0-34D6-A552-CDDC531365A0}"/>
              </a:ext>
            </a:extLst>
          </p:cNvPr>
          <p:cNvSpPr>
            <a:spLocks noGrp="1"/>
          </p:cNvSpPr>
          <p:nvPr>
            <p:ph type="body" idx="13"/>
          </p:nvPr>
        </p:nvSpPr>
        <p:spPr>
          <a:xfrm>
            <a:off x="421934" y="457201"/>
            <a:ext cx="11144930" cy="5829300"/>
          </a:xfrm>
        </p:spPr>
        <p:txBody>
          <a:bodyPr>
            <a:normAutofit fontScale="92500" lnSpcReduction="10000"/>
          </a:bodyPr>
          <a:lstStyle/>
          <a:p>
            <a:pPr algn="ctr"/>
            <a:r>
              <a:rPr lang="en-US" sz="2800" b="1"/>
              <a:t>Go to www.menti.com </a:t>
            </a:r>
          </a:p>
          <a:p>
            <a:pPr algn="ctr"/>
            <a:r>
              <a:rPr lang="en-US" sz="2800" b="1"/>
              <a:t>use code </a:t>
            </a:r>
            <a:r>
              <a:rPr lang="en-US" sz="2800" b="1">
                <a:highlight>
                  <a:srgbClr val="FFFF00"/>
                </a:highlight>
              </a:rPr>
              <a:t>3741 7849</a:t>
            </a:r>
          </a:p>
          <a:p>
            <a:pPr algn="ctr"/>
            <a:r>
              <a:rPr lang="en-US" sz="2800" b="1"/>
              <a:t>or use QR Code</a:t>
            </a:r>
          </a:p>
          <a:p>
            <a:pPr algn="ctr"/>
            <a:endParaRPr lang="en-US" sz="2800" b="1"/>
          </a:p>
          <a:p>
            <a:pPr algn="ctr"/>
            <a:endParaRPr lang="en-US" sz="2800" b="1"/>
          </a:p>
          <a:p>
            <a:pPr algn="ctr"/>
            <a:endParaRPr lang="en-US" sz="2800" b="1"/>
          </a:p>
          <a:p>
            <a:pPr algn="ctr"/>
            <a:endParaRPr lang="fr-FR" sz="2800" b="1">
              <a:solidFill>
                <a:schemeClr val="bg2"/>
              </a:solidFill>
            </a:endParaRPr>
          </a:p>
          <a:p>
            <a:pPr algn="ctr"/>
            <a:r>
              <a:rPr lang="fr-FR" sz="2800" b="1">
                <a:solidFill>
                  <a:schemeClr val="bg2"/>
                </a:solidFill>
              </a:rPr>
              <a:t>Rendez-vous sur www.menti.com et </a:t>
            </a:r>
          </a:p>
          <a:p>
            <a:pPr algn="ctr"/>
            <a:r>
              <a:rPr lang="fr-FR" sz="2800" b="1">
                <a:solidFill>
                  <a:schemeClr val="bg2"/>
                </a:solidFill>
              </a:rPr>
              <a:t>utilisez le code </a:t>
            </a:r>
            <a:r>
              <a:rPr lang="fr-FR" sz="2800" b="1">
                <a:solidFill>
                  <a:schemeClr val="bg2"/>
                </a:solidFill>
                <a:highlight>
                  <a:srgbClr val="FFFF00"/>
                </a:highlight>
              </a:rPr>
              <a:t>3741 7849</a:t>
            </a:r>
          </a:p>
          <a:p>
            <a:pPr algn="ctr"/>
            <a:r>
              <a:rPr lang="fr-FR" sz="2800" b="1">
                <a:solidFill>
                  <a:schemeClr val="bg2"/>
                </a:solidFill>
              </a:rPr>
              <a:t>ou le QR code</a:t>
            </a:r>
            <a:endParaRPr lang="en-US" sz="2800" b="1">
              <a:solidFill>
                <a:schemeClr val="bg2"/>
              </a:solidFill>
            </a:endParaRPr>
          </a:p>
          <a:p>
            <a:endParaRPr lang="en-US"/>
          </a:p>
          <a:p>
            <a:endParaRPr lang="en-US"/>
          </a:p>
          <a:p>
            <a:endParaRPr lang="en-US"/>
          </a:p>
        </p:txBody>
      </p:sp>
      <p:pic>
        <p:nvPicPr>
          <p:cNvPr id="3" name="Picture 2">
            <a:extLst>
              <a:ext uri="{FF2B5EF4-FFF2-40B4-BE49-F238E27FC236}">
                <a16:creationId xmlns:a16="http://schemas.microsoft.com/office/drawing/2014/main" id="{E533E08A-0A0D-7600-D60A-0248F4B91E2C}"/>
              </a:ext>
            </a:extLst>
          </p:cNvPr>
          <p:cNvPicPr>
            <a:picLocks noChangeAspect="1"/>
          </p:cNvPicPr>
          <p:nvPr/>
        </p:nvPicPr>
        <p:blipFill>
          <a:blip r:embed="rId3"/>
          <a:stretch>
            <a:fillRect/>
          </a:stretch>
        </p:blipFill>
        <p:spPr>
          <a:xfrm>
            <a:off x="5118054" y="2349456"/>
            <a:ext cx="1752690" cy="1701887"/>
          </a:xfrm>
          <a:prstGeom prst="rect">
            <a:avLst/>
          </a:prstGeom>
        </p:spPr>
      </p:pic>
    </p:spTree>
    <p:extLst>
      <p:ext uri="{BB962C8B-B14F-4D97-AF65-F5344CB8AC3E}">
        <p14:creationId xmlns:p14="http://schemas.microsoft.com/office/powerpoint/2010/main" val="5570248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Picture Placeholder 1">
            <a:extLst>
              <a:ext uri="{FF2B5EF4-FFF2-40B4-BE49-F238E27FC236}">
                <a16:creationId xmlns:a16="http://schemas.microsoft.com/office/drawing/2014/main" id="{4424D39D-4D4C-A912-AEF8-DEAA490585CD}"/>
              </a:ext>
            </a:extLst>
          </p:cNvPr>
          <p:cNvSpPr>
            <a:spLocks noGrp="1"/>
          </p:cNvSpPr>
          <p:nvPr>
            <p:ph type="pic" sz="quarter" idx="14"/>
          </p:nvPr>
        </p:nvSpPr>
        <p:spPr>
          <a:xfrm>
            <a:off x="0" y="0"/>
            <a:ext cx="6096001" cy="6858000"/>
          </a:xfrm>
          <a:solidFill>
            <a:schemeClr val="tx2">
              <a:lumMod val="50000"/>
            </a:schemeClr>
          </a:solidFill>
        </p:spPr>
        <p:txBody>
          <a:bodyPr/>
          <a:lstStyle/>
          <a:p>
            <a:endParaRPr lang="en-US"/>
          </a:p>
        </p:txBody>
      </p:sp>
      <p:sp>
        <p:nvSpPr>
          <p:cNvPr id="3" name="Text Placeholder 2">
            <a:extLst>
              <a:ext uri="{FF2B5EF4-FFF2-40B4-BE49-F238E27FC236}">
                <a16:creationId xmlns:a16="http://schemas.microsoft.com/office/drawing/2014/main" id="{458AA4ED-01A5-8748-9624-0F64ADE84153}"/>
              </a:ext>
            </a:extLst>
          </p:cNvPr>
          <p:cNvSpPr>
            <a:spLocks noGrp="1"/>
          </p:cNvSpPr>
          <p:nvPr>
            <p:ph type="body" sz="quarter" idx="12"/>
          </p:nvPr>
        </p:nvSpPr>
        <p:spPr>
          <a:xfrm>
            <a:off x="6653214" y="2843359"/>
            <a:ext cx="5012580" cy="2476786"/>
          </a:xfrm>
        </p:spPr>
        <p:txBody>
          <a:bodyPr>
            <a:normAutofit/>
          </a:bodyPr>
          <a:lstStyle/>
          <a:p>
            <a:pPr>
              <a:spcAft>
                <a:spcPts val="600"/>
              </a:spcAft>
            </a:pPr>
            <a:r>
              <a:rPr lang="en-US" sz="4700" b="1">
                <a:effectLst/>
              </a:rPr>
              <a:t>Gavi 6.0 Fragile &amp; Humanitarian Settings</a:t>
            </a:r>
            <a:endParaRPr lang="en-US" sz="4700"/>
          </a:p>
        </p:txBody>
      </p:sp>
    </p:spTree>
    <p:extLst>
      <p:ext uri="{BB962C8B-B14F-4D97-AF65-F5344CB8AC3E}">
        <p14:creationId xmlns:p14="http://schemas.microsoft.com/office/powerpoint/2010/main" val="780702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DE205-7D3F-A74A-1B1A-E8459EE850D0}"/>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9830F6DD-73DC-56FA-61D0-49E40B426995}"/>
              </a:ext>
            </a:extLst>
          </p:cNvPr>
          <p:cNvSpPr/>
          <p:nvPr/>
        </p:nvSpPr>
        <p:spPr>
          <a:xfrm>
            <a:off x="224263" y="5975901"/>
            <a:ext cx="11552768" cy="5137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9" name="think-cell data - do not delete" hidden="1">
            <a:extLst>
              <a:ext uri="{FF2B5EF4-FFF2-40B4-BE49-F238E27FC236}">
                <a16:creationId xmlns:a16="http://schemas.microsoft.com/office/drawing/2014/main" id="{EC34A82D-7C38-B2B9-FEB7-B47F751BCE1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4" name="think-cell Slide" r:id="rId5" imgW="306" imgH="305" progId="TCLayout.ActiveDocument.1">
                  <p:embed/>
                </p:oleObj>
              </mc:Choice>
              <mc:Fallback>
                <p:oleObj name="think-cell Slide" r:id="rId5" imgW="306" imgH="305" progId="TCLayout.ActiveDocument.1">
                  <p:embed/>
                  <p:pic>
                    <p:nvPicPr>
                      <p:cNvPr id="29" name="think-cell data - do not delete" hidden="1">
                        <a:extLst>
                          <a:ext uri="{FF2B5EF4-FFF2-40B4-BE49-F238E27FC236}">
                            <a16:creationId xmlns:a16="http://schemas.microsoft.com/office/drawing/2014/main" id="{EC34A82D-7C38-B2B9-FEB7-B47F751BCE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EF558C4A-3032-EF3A-789E-A7623696A4D1}"/>
              </a:ext>
            </a:extLst>
          </p:cNvPr>
          <p:cNvSpPr/>
          <p:nvPr/>
        </p:nvSpPr>
        <p:spPr>
          <a:xfrm>
            <a:off x="224263" y="1447752"/>
            <a:ext cx="4668104" cy="5041916"/>
          </a:xfrm>
          <a:prstGeom prst="roundRect">
            <a:avLst>
              <a:gd name="adj" fmla="val 5935"/>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7133BAAD-98D0-9A45-AA95-999B2EBF36C5}"/>
              </a:ext>
            </a:extLst>
          </p:cNvPr>
          <p:cNvSpPr>
            <a:spLocks noGrp="1"/>
          </p:cNvSpPr>
          <p:nvPr>
            <p:ph type="title"/>
          </p:nvPr>
        </p:nvSpPr>
        <p:spPr>
          <a:xfrm>
            <a:off x="521719" y="368300"/>
            <a:ext cx="11154344" cy="950506"/>
          </a:xfrm>
        </p:spPr>
        <p:txBody>
          <a:bodyPr vert="horz">
            <a:noAutofit/>
          </a:bodyPr>
          <a:lstStyle/>
          <a:p>
            <a:r>
              <a:rPr lang="en-US"/>
              <a:t>Gavi’s FH Approach addresses 4 problems</a:t>
            </a:r>
            <a:endParaRPr lang="en-GB"/>
          </a:p>
        </p:txBody>
      </p:sp>
      <p:sp>
        <p:nvSpPr>
          <p:cNvPr id="6" name="Slide Number Placeholder 3">
            <a:extLst>
              <a:ext uri="{FF2B5EF4-FFF2-40B4-BE49-F238E27FC236}">
                <a16:creationId xmlns:a16="http://schemas.microsoft.com/office/drawing/2014/main" id="{ADE16541-C473-5A17-1C45-E071EE5291D8}"/>
              </a:ext>
            </a:extLst>
          </p:cNvPr>
          <p:cNvSpPr txBox="1">
            <a:spLocks/>
          </p:cNvSpPr>
          <p:nvPr/>
        </p:nvSpPr>
        <p:spPr>
          <a:xfrm>
            <a:off x="515937" y="6657775"/>
            <a:ext cx="261630" cy="136526"/>
          </a:xfrm>
          <a:prstGeom prst="rect">
            <a:avLst/>
          </a:prstGeom>
        </p:spPr>
        <p:txBody>
          <a:bodyPr vert="horz" lIns="0" tIns="0" rIns="0" bIns="0" rtlCol="0" anchor="b"/>
          <a:lstStyle>
            <a:defPPr>
              <a:defRPr lang="en-US"/>
            </a:defPPr>
            <a:lvl1pPr marL="0" algn="l" defTabSz="914400" rtl="0" eaLnBrk="1" latinLnBrk="0" hangingPunct="1">
              <a:defRPr sz="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8" name="Oval 7">
            <a:extLst>
              <a:ext uri="{FF2B5EF4-FFF2-40B4-BE49-F238E27FC236}">
                <a16:creationId xmlns:a16="http://schemas.microsoft.com/office/drawing/2014/main" id="{FC071980-AA48-E458-B829-AD9A85B772D6}"/>
              </a:ext>
            </a:extLst>
          </p:cNvPr>
          <p:cNvSpPr/>
          <p:nvPr/>
        </p:nvSpPr>
        <p:spPr>
          <a:xfrm>
            <a:off x="330105" y="1675514"/>
            <a:ext cx="4289396" cy="4267830"/>
          </a:xfrm>
          <a:prstGeom prst="ellipse">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8A623"/>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077C0D36-61F4-F8CF-DFCC-319AC3E98F79}"/>
              </a:ext>
            </a:extLst>
          </p:cNvPr>
          <p:cNvSpPr/>
          <p:nvPr/>
        </p:nvSpPr>
        <p:spPr>
          <a:xfrm>
            <a:off x="795245" y="1645609"/>
            <a:ext cx="3359117" cy="3342228"/>
          </a:xfrm>
          <a:prstGeom prst="ellipse">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8A623"/>
              </a:solidFill>
              <a:effectLst/>
              <a:uLnTx/>
              <a:uFillTx/>
              <a:latin typeface="Arial" panose="020B0604020202020204" pitchFamily="34" charset="0"/>
              <a:ea typeface="+mn-ea"/>
              <a:cs typeface="Arial" panose="020B0604020202020204" pitchFamily="34" charset="0"/>
            </a:endParaRPr>
          </a:p>
        </p:txBody>
      </p:sp>
      <p:sp>
        <p:nvSpPr>
          <p:cNvPr id="10" name="Oval 9">
            <a:extLst>
              <a:ext uri="{FF2B5EF4-FFF2-40B4-BE49-F238E27FC236}">
                <a16:creationId xmlns:a16="http://schemas.microsoft.com/office/drawing/2014/main" id="{7D8EBC3D-7EBB-C3B5-C760-8045283677EA}"/>
              </a:ext>
            </a:extLst>
          </p:cNvPr>
          <p:cNvSpPr/>
          <p:nvPr/>
        </p:nvSpPr>
        <p:spPr>
          <a:xfrm>
            <a:off x="1305910" y="1645609"/>
            <a:ext cx="2337786" cy="2400278"/>
          </a:xfrm>
          <a:prstGeom prst="ellipse">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8A623"/>
              </a:solidFill>
              <a:effectLst/>
              <a:uLnTx/>
              <a:uFillTx/>
              <a:latin typeface="Arial" panose="020B0604020202020204" pitchFamily="34" charset="0"/>
              <a:ea typeface="+mn-ea"/>
              <a:cs typeface="Arial" panose="020B0604020202020204" pitchFamily="34" charset="0"/>
            </a:endParaRPr>
          </a:p>
        </p:txBody>
      </p:sp>
      <p:sp>
        <p:nvSpPr>
          <p:cNvPr id="11" name="Oval 10">
            <a:extLst>
              <a:ext uri="{FF2B5EF4-FFF2-40B4-BE49-F238E27FC236}">
                <a16:creationId xmlns:a16="http://schemas.microsoft.com/office/drawing/2014/main" id="{E60C07F7-1E25-DD40-7194-A9E11C1CF8C6}"/>
              </a:ext>
            </a:extLst>
          </p:cNvPr>
          <p:cNvSpPr/>
          <p:nvPr/>
        </p:nvSpPr>
        <p:spPr>
          <a:xfrm>
            <a:off x="1862017" y="1645608"/>
            <a:ext cx="1225573" cy="1260692"/>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3E9B6E"/>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3E9B6E"/>
                </a:solidFill>
                <a:effectLst/>
                <a:uLnTx/>
                <a:uFillTx/>
                <a:latin typeface="Arial" panose="020B0604020202020204" pitchFamily="34" charset="0"/>
                <a:ea typeface="+mn-ea"/>
                <a:cs typeface="Arial" panose="020B0604020202020204" pitchFamily="34" charset="0"/>
              </a:rPr>
              <a:t>6.0 Goals &amp; objectives</a:t>
            </a:r>
          </a:p>
        </p:txBody>
      </p:sp>
      <p:sp>
        <p:nvSpPr>
          <p:cNvPr id="12" name="Rectangle 11">
            <a:extLst>
              <a:ext uri="{FF2B5EF4-FFF2-40B4-BE49-F238E27FC236}">
                <a16:creationId xmlns:a16="http://schemas.microsoft.com/office/drawing/2014/main" id="{8E3C170D-3016-5F43-BFE8-BDFE1C99AFB6}"/>
              </a:ext>
            </a:extLst>
          </p:cNvPr>
          <p:cNvSpPr/>
          <p:nvPr/>
        </p:nvSpPr>
        <p:spPr>
          <a:xfrm>
            <a:off x="1462662" y="3381121"/>
            <a:ext cx="2024282" cy="285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A1DF">
                    <a:lumMod val="20000"/>
                    <a:lumOff val="80000"/>
                  </a:srgbClr>
                </a:solidFill>
                <a:effectLst/>
                <a:uLnTx/>
                <a:uFillTx/>
                <a:latin typeface="Arial" panose="020B0604020202020204" pitchFamily="34" charset="0"/>
                <a:ea typeface="+mn-ea"/>
                <a:cs typeface="Arial" panose="020B0604020202020204" pitchFamily="34" charset="0"/>
              </a:rPr>
              <a:t>6.0 Policies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A1DF">
                    <a:lumMod val="20000"/>
                    <a:lumOff val="80000"/>
                  </a:srgbClr>
                </a:solidFill>
                <a:effectLst/>
                <a:uLnTx/>
                <a:uFillTx/>
                <a:latin typeface="Arial" panose="020B0604020202020204" pitchFamily="34" charset="0"/>
                <a:ea typeface="+mn-ea"/>
                <a:cs typeface="Arial" panose="020B0604020202020204" pitchFamily="34" charset="0"/>
              </a:rPr>
              <a:t>Programmes</a:t>
            </a:r>
          </a:p>
        </p:txBody>
      </p:sp>
      <p:sp>
        <p:nvSpPr>
          <p:cNvPr id="13" name="Flowchart: Connector 12">
            <a:extLst>
              <a:ext uri="{FF2B5EF4-FFF2-40B4-BE49-F238E27FC236}">
                <a16:creationId xmlns:a16="http://schemas.microsoft.com/office/drawing/2014/main" id="{309CCE96-447A-E958-DB96-E964B2837E5A}"/>
              </a:ext>
            </a:extLst>
          </p:cNvPr>
          <p:cNvSpPr/>
          <p:nvPr/>
        </p:nvSpPr>
        <p:spPr>
          <a:xfrm>
            <a:off x="2307316" y="1702874"/>
            <a:ext cx="334974" cy="368959"/>
          </a:xfrm>
          <a:prstGeom prst="flowChartConnector">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E9B6E"/>
                </a:solidFill>
                <a:effectLst/>
                <a:uLnTx/>
                <a:uFillTx/>
                <a:latin typeface="Arial" panose="020B0604020202020204" pitchFamily="34" charset="0"/>
                <a:ea typeface="+mn-ea"/>
                <a:cs typeface="Arial" panose="020B0604020202020204" pitchFamily="34" charset="0"/>
              </a:rPr>
              <a:t>1</a:t>
            </a:r>
          </a:p>
        </p:txBody>
      </p:sp>
      <p:sp>
        <p:nvSpPr>
          <p:cNvPr id="14" name="Flowchart: Connector 13">
            <a:extLst>
              <a:ext uri="{FF2B5EF4-FFF2-40B4-BE49-F238E27FC236}">
                <a16:creationId xmlns:a16="http://schemas.microsoft.com/office/drawing/2014/main" id="{94EF0557-F744-D500-AC4C-C5FF6261BFBC}"/>
              </a:ext>
            </a:extLst>
          </p:cNvPr>
          <p:cNvSpPr/>
          <p:nvPr/>
        </p:nvSpPr>
        <p:spPr>
          <a:xfrm>
            <a:off x="2307316" y="2937798"/>
            <a:ext cx="334974" cy="368959"/>
          </a:xfrm>
          <a:prstGeom prst="flowChartConnector">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rPr>
              <a:t>2</a:t>
            </a:r>
          </a:p>
        </p:txBody>
      </p:sp>
      <p:sp>
        <p:nvSpPr>
          <p:cNvPr id="15" name="Flowchart: Connector 14">
            <a:extLst>
              <a:ext uri="{FF2B5EF4-FFF2-40B4-BE49-F238E27FC236}">
                <a16:creationId xmlns:a16="http://schemas.microsoft.com/office/drawing/2014/main" id="{924A8639-17A0-2807-477D-188097615D3C}"/>
              </a:ext>
            </a:extLst>
          </p:cNvPr>
          <p:cNvSpPr/>
          <p:nvPr/>
        </p:nvSpPr>
        <p:spPr>
          <a:xfrm>
            <a:off x="2307316" y="4074468"/>
            <a:ext cx="334974" cy="368959"/>
          </a:xfrm>
          <a:prstGeom prst="flowChartConnector">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79A7"/>
                </a:solidFill>
                <a:effectLst/>
                <a:uLnTx/>
                <a:uFillTx/>
                <a:latin typeface="Arial" panose="020B0604020202020204" pitchFamily="34" charset="0"/>
                <a:ea typeface="+mn-ea"/>
                <a:cs typeface="Arial" panose="020B0604020202020204" pitchFamily="34" charset="0"/>
              </a:rPr>
              <a:t>3</a:t>
            </a:r>
          </a:p>
        </p:txBody>
      </p:sp>
      <p:sp>
        <p:nvSpPr>
          <p:cNvPr id="16" name="Flowchart: Connector 15">
            <a:extLst>
              <a:ext uri="{FF2B5EF4-FFF2-40B4-BE49-F238E27FC236}">
                <a16:creationId xmlns:a16="http://schemas.microsoft.com/office/drawing/2014/main" id="{65796DF6-CF5B-A151-53F2-E50EA0524146}"/>
              </a:ext>
            </a:extLst>
          </p:cNvPr>
          <p:cNvSpPr/>
          <p:nvPr/>
        </p:nvSpPr>
        <p:spPr>
          <a:xfrm>
            <a:off x="2307316" y="5041289"/>
            <a:ext cx="334974" cy="368959"/>
          </a:xfrm>
          <a:prstGeom prst="flowChartConnector">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516F"/>
                </a:solidFill>
                <a:effectLst/>
                <a:uLnTx/>
                <a:uFillTx/>
                <a:latin typeface="Arial" panose="020B0604020202020204" pitchFamily="34" charset="0"/>
                <a:ea typeface="+mn-ea"/>
                <a:cs typeface="Arial" panose="020B0604020202020204" pitchFamily="34" charset="0"/>
              </a:rPr>
              <a:t>4</a:t>
            </a:r>
          </a:p>
        </p:txBody>
      </p:sp>
      <p:sp>
        <p:nvSpPr>
          <p:cNvPr id="17" name="Rectangle 16">
            <a:extLst>
              <a:ext uri="{FF2B5EF4-FFF2-40B4-BE49-F238E27FC236}">
                <a16:creationId xmlns:a16="http://schemas.microsoft.com/office/drawing/2014/main" id="{40C4C92F-A50F-0518-6E61-0FBAB68A6F24}"/>
              </a:ext>
            </a:extLst>
          </p:cNvPr>
          <p:cNvSpPr/>
          <p:nvPr/>
        </p:nvSpPr>
        <p:spPr>
          <a:xfrm>
            <a:off x="1462662" y="4508477"/>
            <a:ext cx="2024282" cy="285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6.0 Secretariat operating model</a:t>
            </a:r>
          </a:p>
        </p:txBody>
      </p:sp>
      <p:sp>
        <p:nvSpPr>
          <p:cNvPr id="18" name="Rectangle 17">
            <a:extLst>
              <a:ext uri="{FF2B5EF4-FFF2-40B4-BE49-F238E27FC236}">
                <a16:creationId xmlns:a16="http://schemas.microsoft.com/office/drawing/2014/main" id="{BDCD4175-169F-3CCA-BF4F-31C2709553E0}"/>
              </a:ext>
            </a:extLst>
          </p:cNvPr>
          <p:cNvSpPr/>
          <p:nvPr/>
        </p:nvSpPr>
        <p:spPr>
          <a:xfrm>
            <a:off x="1462662" y="5495618"/>
            <a:ext cx="2024282" cy="285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6.0 Partnershi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del</a:t>
            </a:r>
          </a:p>
        </p:txBody>
      </p:sp>
      <p:cxnSp>
        <p:nvCxnSpPr>
          <p:cNvPr id="19" name="Straight Connector 18">
            <a:extLst>
              <a:ext uri="{FF2B5EF4-FFF2-40B4-BE49-F238E27FC236}">
                <a16:creationId xmlns:a16="http://schemas.microsoft.com/office/drawing/2014/main" id="{0137E253-F966-D65F-EA93-FB40F9227845}"/>
              </a:ext>
            </a:extLst>
          </p:cNvPr>
          <p:cNvCxnSpPr>
            <a:cxnSpLocks/>
            <a:stCxn id="13" idx="6"/>
          </p:cNvCxnSpPr>
          <p:nvPr/>
        </p:nvCxnSpPr>
        <p:spPr>
          <a:xfrm>
            <a:off x="2642290" y="1887354"/>
            <a:ext cx="242847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EB6893-E9B0-264C-A02F-85EF22B75251}"/>
              </a:ext>
            </a:extLst>
          </p:cNvPr>
          <p:cNvSpPr/>
          <p:nvPr/>
        </p:nvSpPr>
        <p:spPr>
          <a:xfrm>
            <a:off x="5070764" y="1635124"/>
            <a:ext cx="6599517" cy="844848"/>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3E9B6E"/>
                </a:solidFill>
                <a:effectLst/>
                <a:uLnTx/>
                <a:uFillTx/>
                <a:latin typeface="Arial" panose="020B0604020202020204" pitchFamily="34" charset="0"/>
                <a:ea typeface="+mn-ea"/>
                <a:cs typeface="Arial" panose="020B0604020202020204" pitchFamily="34" charset="0"/>
              </a:rPr>
              <a:t>Lack tailored application to achieve Gavi’s goals and objectives for Fragile &amp; Humanitarian settings</a:t>
            </a:r>
          </a:p>
        </p:txBody>
      </p:sp>
      <p:cxnSp>
        <p:nvCxnSpPr>
          <p:cNvPr id="21" name="Straight Connector 20">
            <a:extLst>
              <a:ext uri="{FF2B5EF4-FFF2-40B4-BE49-F238E27FC236}">
                <a16:creationId xmlns:a16="http://schemas.microsoft.com/office/drawing/2014/main" id="{A37C5676-F54D-6FBC-CCCB-A9E2105228E0}"/>
              </a:ext>
            </a:extLst>
          </p:cNvPr>
          <p:cNvCxnSpPr>
            <a:cxnSpLocks/>
          </p:cNvCxnSpPr>
          <p:nvPr/>
        </p:nvCxnSpPr>
        <p:spPr>
          <a:xfrm>
            <a:off x="2642290" y="3136489"/>
            <a:ext cx="242847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E228F927-8020-EFE4-7FE5-7A67D84B4469}"/>
              </a:ext>
            </a:extLst>
          </p:cNvPr>
          <p:cNvSpPr/>
          <p:nvPr/>
        </p:nvSpPr>
        <p:spPr>
          <a:xfrm>
            <a:off x="5070764" y="2617205"/>
            <a:ext cx="6599517" cy="900823"/>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rPr>
              <a:t>Gavi’s policies and programmes not well-suited for complex fragile &amp; humanitarian settings</a:t>
            </a:r>
            <a:endParaRPr kumimoji="0" lang="en-US" sz="1600" b="0"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66E9B286-0785-9602-E95C-F248C5D1965D}"/>
              </a:ext>
            </a:extLst>
          </p:cNvPr>
          <p:cNvCxnSpPr>
            <a:cxnSpLocks/>
          </p:cNvCxnSpPr>
          <p:nvPr/>
        </p:nvCxnSpPr>
        <p:spPr>
          <a:xfrm>
            <a:off x="2642290" y="4242106"/>
            <a:ext cx="2428474" cy="4068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F8F3A2F2-90A3-D37D-7637-936B8A2958EA}"/>
              </a:ext>
            </a:extLst>
          </p:cNvPr>
          <p:cNvSpPr/>
          <p:nvPr/>
        </p:nvSpPr>
        <p:spPr>
          <a:xfrm>
            <a:off x="5070764" y="3668444"/>
            <a:ext cx="6599517" cy="941150"/>
          </a:xfrm>
          <a:prstGeom prst="rect">
            <a:avLst/>
          </a:prstGeom>
          <a:solidFill>
            <a:srgbClr val="0079A7">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A1DF">
                    <a:lumMod val="75000"/>
                  </a:srgbClr>
                </a:solidFill>
                <a:effectLst/>
                <a:uLnTx/>
                <a:uFillTx/>
                <a:latin typeface="Arial" panose="020B0604020202020204" pitchFamily="34" charset="0"/>
                <a:ea typeface="+mn-ea"/>
                <a:cs typeface="Arial" panose="020B0604020202020204" pitchFamily="34" charset="0"/>
              </a:rPr>
              <a:t>Secretariat grant management not geared towards specificities of F&amp;H settings</a:t>
            </a:r>
          </a:p>
        </p:txBody>
      </p:sp>
      <p:cxnSp>
        <p:nvCxnSpPr>
          <p:cNvPr id="25" name="Straight Connector 24">
            <a:extLst>
              <a:ext uri="{FF2B5EF4-FFF2-40B4-BE49-F238E27FC236}">
                <a16:creationId xmlns:a16="http://schemas.microsoft.com/office/drawing/2014/main" id="{1B45E7F1-4A28-A137-FD6B-6C153E6CA022}"/>
              </a:ext>
            </a:extLst>
          </p:cNvPr>
          <p:cNvCxnSpPr>
            <a:cxnSpLocks/>
          </p:cNvCxnSpPr>
          <p:nvPr/>
        </p:nvCxnSpPr>
        <p:spPr>
          <a:xfrm>
            <a:off x="2642290" y="5215716"/>
            <a:ext cx="2428474" cy="4068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3F724E29-7FDA-060D-F5ED-AD41EA793457}"/>
              </a:ext>
            </a:extLst>
          </p:cNvPr>
          <p:cNvSpPr/>
          <p:nvPr/>
        </p:nvSpPr>
        <p:spPr>
          <a:xfrm>
            <a:off x="5070764" y="4752298"/>
            <a:ext cx="6599517" cy="1191046"/>
          </a:xfrm>
          <a:prstGeom prst="rect">
            <a:avLst/>
          </a:prstGeom>
          <a:solidFill>
            <a:srgbClr val="00516F">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16F"/>
                </a:solidFill>
                <a:effectLst/>
                <a:uLnTx/>
                <a:uFillTx/>
                <a:latin typeface="Arial" panose="020B0604020202020204" pitchFamily="34" charset="0"/>
                <a:ea typeface="+mn-ea"/>
                <a:cs typeface="Arial" panose="020B0604020202020204" pitchFamily="34" charset="0"/>
              </a:rPr>
              <a:t>Limited collaboration and coordination at global and country levels, including with the humanitarian response, humanitarian partners (e.g., GPEI) in F&amp;H settings</a:t>
            </a:r>
            <a:endParaRPr kumimoji="0" lang="en-GB" sz="1600" b="1" i="0" u="none" strike="noStrike" kern="1200" cap="none" spc="0" normalizeH="0" baseline="0" noProof="0">
              <a:ln>
                <a:noFill/>
              </a:ln>
              <a:solidFill>
                <a:srgbClr val="00516F"/>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999DD0A7-7D86-BD0B-034C-91759E544031}"/>
              </a:ext>
            </a:extLst>
          </p:cNvPr>
          <p:cNvSpPr/>
          <p:nvPr/>
        </p:nvSpPr>
        <p:spPr>
          <a:xfrm>
            <a:off x="130297" y="6035653"/>
            <a:ext cx="4836986" cy="2781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8A623">
                    <a:lumMod val="75000"/>
                  </a:srgbClr>
                </a:solidFill>
                <a:effectLst/>
                <a:uLnTx/>
                <a:uFillTx/>
                <a:latin typeface="Arial" panose="020B0604020202020204"/>
                <a:ea typeface="+mn-ea"/>
                <a:cs typeface="+mn-cs"/>
              </a:rPr>
              <a:t>Global ecosystem: Gavi operates in a global ecosystem which this approach must align and contribute to, and from which contributions are needed</a:t>
            </a:r>
          </a:p>
        </p:txBody>
      </p:sp>
    </p:spTree>
    <p:extLst>
      <p:ext uri="{BB962C8B-B14F-4D97-AF65-F5344CB8AC3E}">
        <p14:creationId xmlns:p14="http://schemas.microsoft.com/office/powerpoint/2010/main" val="2966724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4C239CE-B471-9D12-1E8B-41E657078D66}"/>
              </a:ext>
            </a:extLst>
          </p:cNvPr>
          <p:cNvSpPr>
            <a:spLocks noGrp="1"/>
          </p:cNvSpPr>
          <p:nvPr>
            <p:ph type="ftr" sz="quarter" idx="1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tint val="75000"/>
                  </a:srgbClr>
                </a:solidFill>
                <a:effectLst/>
                <a:uLnTx/>
                <a:uFillTx/>
                <a:latin typeface="Arial" panose="020B0604020202020204" pitchFamily="34" charset="0"/>
                <a:cs typeface="Arial" panose="020B0604020202020204" pitchFamily="34" charset="0"/>
              </a:rPr>
              <a:t>450,000 1-2 y/o;1.4M ZDC 2-5 y/o</a:t>
            </a:r>
          </a:p>
        </p:txBody>
      </p:sp>
      <p:grpSp>
        <p:nvGrpSpPr>
          <p:cNvPr id="5" name="Group 4">
            <a:extLst>
              <a:ext uri="{FF2B5EF4-FFF2-40B4-BE49-F238E27FC236}">
                <a16:creationId xmlns:a16="http://schemas.microsoft.com/office/drawing/2014/main" id="{892681B1-F4A3-8AB6-AAC9-BE845A3BA306}"/>
              </a:ext>
            </a:extLst>
          </p:cNvPr>
          <p:cNvGrpSpPr/>
          <p:nvPr/>
        </p:nvGrpSpPr>
        <p:grpSpPr>
          <a:xfrm>
            <a:off x="7783267" y="3031567"/>
            <a:ext cx="2110935" cy="3597833"/>
            <a:chOff x="8165592" y="2706794"/>
            <a:chExt cx="1866079" cy="3597833"/>
          </a:xfrm>
          <a:noFill/>
        </p:grpSpPr>
        <p:sp>
          <p:nvSpPr>
            <p:cNvPr id="6" name="Rectangle 5">
              <a:extLst>
                <a:ext uri="{FF2B5EF4-FFF2-40B4-BE49-F238E27FC236}">
                  <a16:creationId xmlns:a16="http://schemas.microsoft.com/office/drawing/2014/main" id="{620EA9A6-3DBB-EA92-0127-C5EE075520D1}"/>
                </a:ext>
              </a:extLst>
            </p:cNvPr>
            <p:cNvSpPr/>
            <p:nvPr/>
          </p:nvSpPr>
          <p:spPr>
            <a:xfrm>
              <a:off x="8165592" y="2706794"/>
              <a:ext cx="1866079" cy="359783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pic>
          <p:nvPicPr>
            <p:cNvPr id="7" name="Picture 6" descr="A yellow and black rectangle with black text&#10;&#10;Description automatically generated">
              <a:extLst>
                <a:ext uri="{FF2B5EF4-FFF2-40B4-BE49-F238E27FC236}">
                  <a16:creationId xmlns:a16="http://schemas.microsoft.com/office/drawing/2014/main" id="{91557626-1890-AD92-BDB4-EB8EA9FD112B}"/>
                </a:ext>
              </a:extLst>
            </p:cNvPr>
            <p:cNvPicPr>
              <a:picLocks noChangeAspect="1"/>
            </p:cNvPicPr>
            <p:nvPr/>
          </p:nvPicPr>
          <p:blipFill>
            <a:blip r:embed="rId2"/>
            <a:srcRect t="19105" b="24777"/>
            <a:stretch/>
          </p:blipFill>
          <p:spPr>
            <a:xfrm>
              <a:off x="8293742" y="2985202"/>
              <a:ext cx="1582026" cy="634131"/>
            </a:xfrm>
            <a:prstGeom prst="rect">
              <a:avLst/>
            </a:prstGeom>
            <a:grpFill/>
            <a:ln>
              <a:noFill/>
            </a:ln>
          </p:spPr>
        </p:pic>
        <p:sp>
          <p:nvSpPr>
            <p:cNvPr id="8" name="TextBox 7">
              <a:extLst>
                <a:ext uri="{FF2B5EF4-FFF2-40B4-BE49-F238E27FC236}">
                  <a16:creationId xmlns:a16="http://schemas.microsoft.com/office/drawing/2014/main" id="{5D963286-6FCD-F260-5472-77EEA564B143}"/>
                </a:ext>
              </a:extLst>
            </p:cNvPr>
            <p:cNvSpPr txBox="1"/>
            <p:nvPr/>
          </p:nvSpPr>
          <p:spPr>
            <a:xfrm>
              <a:off x="8305250" y="3721498"/>
              <a:ext cx="1589937" cy="2215991"/>
            </a:xfrm>
            <a:prstGeom prst="rect">
              <a:avLst/>
            </a:prstGeom>
            <a:grpFill/>
            <a:ln>
              <a:noFill/>
            </a:ln>
          </p:spPr>
          <p:txBody>
            <a:bodyPr wrap="square" lIns="91440" tIns="45720" rIns="91440" bIns="45720" rtlCol="0" anchor="t">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2022-2025</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Chad *</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Ethiopia</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Nigeria *</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Somalia</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South Sudan</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Sudan</a:t>
              </a:r>
            </a:p>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ptos" panose="020B0004020202020204" pitchFamily="34" charset="0"/>
                  <a:ea typeface="+mn-ea"/>
                  <a:cs typeface="+mn-cs"/>
                </a:rPr>
                <a:t>* Added in 2025</a:t>
              </a:r>
            </a:p>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grpSp>
      <p:grpSp>
        <p:nvGrpSpPr>
          <p:cNvPr id="9" name="Group 8">
            <a:extLst>
              <a:ext uri="{FF2B5EF4-FFF2-40B4-BE49-F238E27FC236}">
                <a16:creationId xmlns:a16="http://schemas.microsoft.com/office/drawing/2014/main" id="{C87902AD-60C9-2B9D-B6C2-BA6C37539FF5}"/>
              </a:ext>
            </a:extLst>
          </p:cNvPr>
          <p:cNvGrpSpPr/>
          <p:nvPr/>
        </p:nvGrpSpPr>
        <p:grpSpPr>
          <a:xfrm>
            <a:off x="10189675" y="3083913"/>
            <a:ext cx="1598882" cy="1752262"/>
            <a:chOff x="1643379" y="1900707"/>
            <a:chExt cx="1598882" cy="1752262"/>
          </a:xfrm>
          <a:noFill/>
        </p:grpSpPr>
        <p:sp>
          <p:nvSpPr>
            <p:cNvPr id="10" name="Rectangle 9">
              <a:extLst>
                <a:ext uri="{FF2B5EF4-FFF2-40B4-BE49-F238E27FC236}">
                  <a16:creationId xmlns:a16="http://schemas.microsoft.com/office/drawing/2014/main" id="{84BCC19C-8C35-E7C2-787B-6BB84F75B851}"/>
                </a:ext>
              </a:extLst>
            </p:cNvPr>
            <p:cNvSpPr/>
            <p:nvPr/>
          </p:nvSpPr>
          <p:spPr>
            <a:xfrm>
              <a:off x="1643379" y="1900707"/>
              <a:ext cx="1598882" cy="175226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1" name="TextBox 10">
              <a:extLst>
                <a:ext uri="{FF2B5EF4-FFF2-40B4-BE49-F238E27FC236}">
                  <a16:creationId xmlns:a16="http://schemas.microsoft.com/office/drawing/2014/main" id="{17D40C7F-99D0-7B04-1DA4-4E7351598C72}"/>
                </a:ext>
              </a:extLst>
            </p:cNvPr>
            <p:cNvSpPr txBox="1"/>
            <p:nvPr/>
          </p:nvSpPr>
          <p:spPr>
            <a:xfrm>
              <a:off x="1766069" y="2943723"/>
              <a:ext cx="1380700" cy="523220"/>
            </a:xfrm>
            <a:prstGeom prst="rect">
              <a:avLst/>
            </a:prstGeom>
            <a:grpFill/>
            <a:ln>
              <a:noFill/>
            </a:ln>
          </p:spPr>
          <p:txBody>
            <a:bodyPr wrap="square" lIns="91440" tIns="45720" rIns="91440" bIns="45720" rtlCol="0" anchor="t">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2025</a:t>
              </a:r>
              <a:r>
                <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Cameroon</a:t>
              </a:r>
            </a:p>
          </p:txBody>
        </p:sp>
        <p:pic>
          <p:nvPicPr>
            <p:cNvPr id="12" name="Picture 6" descr="Cameroon Baptist Convention Health ...">
              <a:extLst>
                <a:ext uri="{FF2B5EF4-FFF2-40B4-BE49-F238E27FC236}">
                  <a16:creationId xmlns:a16="http://schemas.microsoft.com/office/drawing/2014/main" id="{358F50D2-8C5F-9470-8F9C-2FD3384908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6026" y="2036182"/>
              <a:ext cx="899481" cy="887540"/>
            </a:xfrm>
            <a:prstGeom prst="rect">
              <a:avLst/>
            </a:prstGeom>
            <a:grpFill/>
            <a:ln>
              <a:noFill/>
            </a:ln>
          </p:spPr>
        </p:pic>
      </p:grpSp>
      <p:grpSp>
        <p:nvGrpSpPr>
          <p:cNvPr id="13" name="Group 12">
            <a:extLst>
              <a:ext uri="{FF2B5EF4-FFF2-40B4-BE49-F238E27FC236}">
                <a16:creationId xmlns:a16="http://schemas.microsoft.com/office/drawing/2014/main" id="{3BC42753-3F97-5E11-8487-EB79C87F7D3F}"/>
              </a:ext>
            </a:extLst>
          </p:cNvPr>
          <p:cNvGrpSpPr/>
          <p:nvPr/>
        </p:nvGrpSpPr>
        <p:grpSpPr>
          <a:xfrm>
            <a:off x="718612" y="3520613"/>
            <a:ext cx="1838920" cy="2279746"/>
            <a:chOff x="631867" y="3556347"/>
            <a:chExt cx="1665209" cy="2279746"/>
          </a:xfrm>
        </p:grpSpPr>
        <p:pic>
          <p:nvPicPr>
            <p:cNvPr id="14" name="Picture 13" descr="A black and grey logo&#10;&#10;Description automatically generated">
              <a:extLst>
                <a:ext uri="{FF2B5EF4-FFF2-40B4-BE49-F238E27FC236}">
                  <a16:creationId xmlns:a16="http://schemas.microsoft.com/office/drawing/2014/main" id="{30D3BBCD-64F8-47E8-540A-8F9C0C6D4347}"/>
                </a:ext>
              </a:extLst>
            </p:cNvPr>
            <p:cNvPicPr>
              <a:picLocks noChangeAspect="1"/>
            </p:cNvPicPr>
            <p:nvPr/>
          </p:nvPicPr>
          <p:blipFill>
            <a:blip r:embed="rId4"/>
            <a:srcRect l="1719" t="15221" r="6781" b="11062"/>
            <a:stretch/>
          </p:blipFill>
          <p:spPr>
            <a:xfrm>
              <a:off x="631867" y="3556347"/>
              <a:ext cx="1665209" cy="391566"/>
            </a:xfrm>
            <a:prstGeom prst="rect">
              <a:avLst/>
            </a:prstGeom>
            <a:solidFill>
              <a:schemeClr val="bg1"/>
            </a:solidFill>
            <a:ln>
              <a:solidFill>
                <a:schemeClr val="bg1"/>
              </a:solidFill>
            </a:ln>
          </p:spPr>
        </p:pic>
        <p:sp>
          <p:nvSpPr>
            <p:cNvPr id="15" name="TextBox 11">
              <a:extLst>
                <a:ext uri="{FF2B5EF4-FFF2-40B4-BE49-F238E27FC236}">
                  <a16:creationId xmlns:a16="http://schemas.microsoft.com/office/drawing/2014/main" id="{377A8C4E-09F6-6143-A5FD-A3DEEDAEB70D}"/>
                </a:ext>
              </a:extLst>
            </p:cNvPr>
            <p:cNvSpPr txBox="1"/>
            <p:nvPr/>
          </p:nvSpPr>
          <p:spPr>
            <a:xfrm>
              <a:off x="633779" y="4020211"/>
              <a:ext cx="1526082" cy="1815882"/>
            </a:xfrm>
            <a:prstGeom prst="rect">
              <a:avLst/>
            </a:prstGeom>
            <a:solidFill>
              <a:schemeClr val="bg1"/>
            </a:solidFill>
            <a:ln>
              <a:solidFill>
                <a:schemeClr val="bg1"/>
              </a:solid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2022-2024</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Burkina Faso</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Cameroon</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CAR</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Chad</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ali</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Niger</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Nigeria</a:t>
              </a:r>
            </a:p>
          </p:txBody>
        </p:sp>
      </p:grpSp>
      <p:sp>
        <p:nvSpPr>
          <p:cNvPr id="16" name="TextBox 15">
            <a:extLst>
              <a:ext uri="{FF2B5EF4-FFF2-40B4-BE49-F238E27FC236}">
                <a16:creationId xmlns:a16="http://schemas.microsoft.com/office/drawing/2014/main" id="{2CA13713-B055-E2F0-08EF-46C0428C3B7B}"/>
              </a:ext>
            </a:extLst>
          </p:cNvPr>
          <p:cNvSpPr txBox="1"/>
          <p:nvPr/>
        </p:nvSpPr>
        <p:spPr>
          <a:xfrm>
            <a:off x="637685" y="2687373"/>
            <a:ext cx="2447609" cy="330928"/>
          </a:xfrm>
          <a:prstGeom prst="rect">
            <a:avLst/>
          </a:prstGeom>
          <a:noFill/>
        </p:spPr>
        <p:txBody>
          <a:bodyPr wrap="square" tIns="91440" bIns="91440" rtlCol="0">
            <a:no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5CB9"/>
                </a:solidFill>
                <a:effectLst/>
                <a:uLnTx/>
                <a:uFillTx/>
                <a:latin typeface="Aptos" panose="020B0004020202020204" pitchFamily="34" charset="0"/>
                <a:ea typeface="+mn-ea"/>
                <a:cs typeface="+mn-cs"/>
              </a:rPr>
              <a:t>Historical Partners</a:t>
            </a: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83BD00"/>
                </a:solidFill>
                <a:effectLst/>
                <a:uLnTx/>
                <a:uFillTx/>
                <a:latin typeface="Aptos" panose="020B0004020202020204" pitchFamily="34" charset="0"/>
                <a:ea typeface="+mn-ea"/>
                <a:cs typeface="+mn-cs"/>
              </a:rPr>
              <a:t>2022-2024</a:t>
            </a:r>
          </a:p>
        </p:txBody>
      </p:sp>
      <p:sp>
        <p:nvSpPr>
          <p:cNvPr id="17" name="TextBox 16">
            <a:extLst>
              <a:ext uri="{FF2B5EF4-FFF2-40B4-BE49-F238E27FC236}">
                <a16:creationId xmlns:a16="http://schemas.microsoft.com/office/drawing/2014/main" id="{6DE03BE1-CFB5-9A00-C877-E46B7C9BDE38}"/>
              </a:ext>
            </a:extLst>
          </p:cNvPr>
          <p:cNvSpPr txBox="1"/>
          <p:nvPr/>
        </p:nvSpPr>
        <p:spPr>
          <a:xfrm>
            <a:off x="7768545" y="2461866"/>
            <a:ext cx="4423455" cy="857583"/>
          </a:xfrm>
          <a:prstGeom prst="rect">
            <a:avLst/>
          </a:prstGeom>
          <a:noFill/>
        </p:spPr>
        <p:txBody>
          <a:bodyPr wrap="square" tIns="91440" bIns="91440" rtlCol="0">
            <a:no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5CB9"/>
                </a:solidFill>
                <a:effectLst/>
                <a:uLnTx/>
                <a:uFillTx/>
                <a:latin typeface="Aptos" panose="020B0004020202020204" pitchFamily="34" charset="0"/>
                <a:ea typeface="+mn-ea"/>
                <a:cs typeface="+mn-cs"/>
              </a:rPr>
              <a:t>Current Partners</a:t>
            </a: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AC10E"/>
                </a:solidFill>
                <a:effectLst/>
                <a:uLnTx/>
                <a:uFillTx/>
                <a:latin typeface="Aptos" panose="020B0004020202020204" pitchFamily="34" charset="0"/>
                <a:ea typeface="+mn-ea"/>
                <a:cs typeface="+mn-cs"/>
              </a:rPr>
              <a:t>2022–2025 </a:t>
            </a:r>
            <a:endParaRPr kumimoji="0" lang="en-US" sz="20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EEECE1"/>
              </a:solidFill>
              <a:effectLst/>
              <a:uLnTx/>
              <a:uFillTx/>
              <a:latin typeface="Aptos" panose="020B0004020202020204" pitchFamily="34" charset="0"/>
              <a:ea typeface="+mn-ea"/>
              <a:cs typeface="+mn-cs"/>
            </a:endParaRPr>
          </a:p>
        </p:txBody>
      </p:sp>
      <p:sp>
        <p:nvSpPr>
          <p:cNvPr id="18" name="TextBox 2">
            <a:extLst>
              <a:ext uri="{FF2B5EF4-FFF2-40B4-BE49-F238E27FC236}">
                <a16:creationId xmlns:a16="http://schemas.microsoft.com/office/drawing/2014/main" id="{AFF8FB0C-FBE8-824B-F9F7-5EF28702F2E0}"/>
              </a:ext>
            </a:extLst>
          </p:cNvPr>
          <p:cNvSpPr txBox="1"/>
          <p:nvPr/>
        </p:nvSpPr>
        <p:spPr>
          <a:xfrm>
            <a:off x="635000" y="534671"/>
            <a:ext cx="10254928" cy="449867"/>
          </a:xfrm>
          <a:prstGeom prst="rect">
            <a:avLst/>
          </a:prstGeom>
        </p:spPr>
        <p:txBody>
          <a:bodyPr lIns="0" tIns="0" rIns="0" bIns="0" rtlCol="0" anchor="t">
            <a:spAutoFit/>
          </a:bodyPr>
          <a:lstStyle/>
          <a:p>
            <a:pPr marL="0" marR="0" lvl="0" indent="0" algn="l" defTabSz="609630" rtl="0" eaLnBrk="1" fontAlgn="auto" latinLnBrk="0" hangingPunct="1">
              <a:lnSpc>
                <a:spcPts val="3240"/>
              </a:lnSpc>
              <a:spcBef>
                <a:spcPts val="0"/>
              </a:spcBef>
              <a:spcAft>
                <a:spcPts val="0"/>
              </a:spcAft>
              <a:buClrTx/>
              <a:buSzTx/>
              <a:buFontTx/>
              <a:buNone/>
              <a:tabLst/>
              <a:defRPr/>
            </a:pPr>
            <a:r>
              <a:rPr kumimoji="0" lang="en-US" sz="4000" b="1" i="0" u="none" strike="noStrike" kern="1200" cap="none" spc="0" normalizeH="0" baseline="0" noProof="0">
                <a:ln>
                  <a:noFill/>
                </a:ln>
                <a:solidFill>
                  <a:srgbClr val="005CB9"/>
                </a:solidFill>
                <a:effectLst/>
                <a:uLnTx/>
                <a:uFillTx/>
                <a:latin typeface="Aptos" panose="020B0004020202020204" pitchFamily="34" charset="0"/>
                <a:ea typeface="Aptos Bold"/>
                <a:cs typeface="Aptos Bold"/>
                <a:sym typeface="Aptos Bold"/>
              </a:rPr>
              <a:t>ZIP, Gavi’s 5.0 Humanitarian Partnerships</a:t>
            </a:r>
          </a:p>
        </p:txBody>
      </p:sp>
      <p:sp>
        <p:nvSpPr>
          <p:cNvPr id="19" name="TextBox 3">
            <a:extLst>
              <a:ext uri="{FF2B5EF4-FFF2-40B4-BE49-F238E27FC236}">
                <a16:creationId xmlns:a16="http://schemas.microsoft.com/office/drawing/2014/main" id="{9B8371C1-A2C6-AB54-6EDA-E8ACB40ABDE1}"/>
              </a:ext>
            </a:extLst>
          </p:cNvPr>
          <p:cNvSpPr txBox="1"/>
          <p:nvPr/>
        </p:nvSpPr>
        <p:spPr>
          <a:xfrm>
            <a:off x="635000" y="979319"/>
            <a:ext cx="10458513" cy="975139"/>
          </a:xfrm>
          <a:prstGeom prst="rect">
            <a:avLst/>
          </a:prstGeom>
        </p:spPr>
        <p:txBody>
          <a:bodyPr lIns="0" tIns="0" rIns="0" bIns="0" rtlCol="0" anchor="t">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83BD00"/>
                </a:solidFill>
                <a:effectLst/>
                <a:uLnTx/>
                <a:uFillTx/>
                <a:latin typeface="Aptos Bold"/>
                <a:ea typeface="Aptos Bold"/>
                <a:cs typeface="Aptos Bold"/>
                <a:sym typeface="Aptos Bold"/>
              </a:rPr>
              <a:t>FULL VACCINATION FOR CHILDREN 0-5 IN CONFLICT AND CRISIS SETT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8AC10E"/>
                </a:solidFill>
                <a:effectLst/>
                <a:uLnTx/>
                <a:uFillTx/>
                <a:latin typeface="Aptos" panose="020B0004020202020204" pitchFamily="34" charset="0"/>
              </a:rPr>
              <a:t>19.5M VACCINE DOSES ADMINISTERED FROM DECEMBER 2022 TO JULY 2025</a:t>
            </a:r>
          </a:p>
          <a:p>
            <a:pPr marL="0" marR="0" lvl="0" indent="0" algn="l" defTabSz="914400" eaLnBrk="1" fontAlgn="auto" latinLnBrk="0" hangingPunct="1">
              <a:lnSpc>
                <a:spcPts val="3023"/>
              </a:lnSpc>
              <a:spcBef>
                <a:spcPts val="0"/>
              </a:spcBef>
              <a:spcAft>
                <a:spcPts val="0"/>
              </a:spcAft>
              <a:buClrTx/>
              <a:buSzTx/>
              <a:buFontTx/>
              <a:buNone/>
              <a:tabLst/>
              <a:defRPr/>
            </a:pPr>
            <a:endParaRPr kumimoji="0" lang="en-US" sz="2000" b="1" i="0" u="none" strike="noStrike" kern="0" cap="none" spc="0" normalizeH="0" baseline="0" noProof="0">
              <a:ln>
                <a:noFill/>
              </a:ln>
              <a:solidFill>
                <a:srgbClr val="83BD00"/>
              </a:solidFill>
              <a:effectLst/>
              <a:uLnTx/>
              <a:uFillTx/>
              <a:latin typeface="Aptos Bold"/>
              <a:ea typeface="Aptos Bold"/>
              <a:cs typeface="Aptos Bold"/>
              <a:sym typeface="Aptos Bold"/>
            </a:endParaRPr>
          </a:p>
        </p:txBody>
      </p:sp>
      <p:grpSp>
        <p:nvGrpSpPr>
          <p:cNvPr id="20" name="Group 19">
            <a:extLst>
              <a:ext uri="{FF2B5EF4-FFF2-40B4-BE49-F238E27FC236}">
                <a16:creationId xmlns:a16="http://schemas.microsoft.com/office/drawing/2014/main" id="{1CA88CDD-B9F7-7864-7956-A0ED9B3DCF83}"/>
              </a:ext>
            </a:extLst>
          </p:cNvPr>
          <p:cNvGrpSpPr/>
          <p:nvPr/>
        </p:nvGrpSpPr>
        <p:grpSpPr>
          <a:xfrm>
            <a:off x="2976501" y="1845133"/>
            <a:ext cx="4685790" cy="5086812"/>
            <a:chOff x="3182202" y="-541513"/>
            <a:chExt cx="5793033" cy="6666266"/>
          </a:xfrm>
        </p:grpSpPr>
        <p:sp>
          <p:nvSpPr>
            <p:cNvPr id="21" name="Freeform: Shape 20">
              <a:extLst>
                <a:ext uri="{FF2B5EF4-FFF2-40B4-BE49-F238E27FC236}">
                  <a16:creationId xmlns:a16="http://schemas.microsoft.com/office/drawing/2014/main" id="{C93DCA7C-D11B-3FCC-707B-F39C087E8240}"/>
                </a:ext>
              </a:extLst>
            </p:cNvPr>
            <p:cNvSpPr/>
            <p:nvPr/>
          </p:nvSpPr>
          <p:spPr>
            <a:xfrm>
              <a:off x="5774548" y="3757404"/>
              <a:ext cx="943923" cy="950447"/>
            </a:xfrm>
            <a:custGeom>
              <a:avLst/>
              <a:gdLst>
                <a:gd name="connsiteX0" fmla="*/ 169374 w 331203"/>
                <a:gd name="connsiteY0" fmla="*/ 333166 h 333260"/>
                <a:gd name="connsiteX1" fmla="*/ 173279 w 331203"/>
                <a:gd name="connsiteY1" fmla="*/ 326852 h 333260"/>
                <a:gd name="connsiteX2" fmla="*/ 179090 w 331203"/>
                <a:gd name="connsiteY2" fmla="*/ 322918 h 333260"/>
                <a:gd name="connsiteX3" fmla="*/ 184929 w 331203"/>
                <a:gd name="connsiteY3" fmla="*/ 319746 h 333260"/>
                <a:gd name="connsiteX4" fmla="*/ 191168 w 331203"/>
                <a:gd name="connsiteY4" fmla="*/ 318127 h 333260"/>
                <a:gd name="connsiteX5" fmla="*/ 191558 w 331203"/>
                <a:gd name="connsiteY5" fmla="*/ 309725 h 333260"/>
                <a:gd name="connsiteX6" fmla="*/ 197882 w 331203"/>
                <a:gd name="connsiteY6" fmla="*/ 153592 h 333260"/>
                <a:gd name="connsiteX7" fmla="*/ 198340 w 331203"/>
                <a:gd name="connsiteY7" fmla="*/ 139704 h 333260"/>
                <a:gd name="connsiteX8" fmla="*/ 222676 w 331203"/>
                <a:gd name="connsiteY8" fmla="*/ 139724 h 333260"/>
                <a:gd name="connsiteX9" fmla="*/ 225981 w 331203"/>
                <a:gd name="connsiteY9" fmla="*/ 37491 h 333260"/>
                <a:gd name="connsiteX10" fmla="*/ 237107 w 331203"/>
                <a:gd name="connsiteY10" fmla="*/ 37491 h 333260"/>
                <a:gd name="connsiteX11" fmla="*/ 252090 w 331203"/>
                <a:gd name="connsiteY11" fmla="*/ 34301 h 333260"/>
                <a:gd name="connsiteX12" fmla="*/ 262929 w 331203"/>
                <a:gd name="connsiteY12" fmla="*/ 31948 h 333260"/>
                <a:gd name="connsiteX13" fmla="*/ 277702 w 331203"/>
                <a:gd name="connsiteY13" fmla="*/ 28700 h 333260"/>
                <a:gd name="connsiteX14" fmla="*/ 284484 w 331203"/>
                <a:gd name="connsiteY14" fmla="*/ 32444 h 333260"/>
                <a:gd name="connsiteX15" fmla="*/ 287961 w 331203"/>
                <a:gd name="connsiteY15" fmla="*/ 37615 h 333260"/>
                <a:gd name="connsiteX16" fmla="*/ 293656 w 331203"/>
                <a:gd name="connsiteY16" fmla="*/ 39787 h 333260"/>
                <a:gd name="connsiteX17" fmla="*/ 297609 w 331203"/>
                <a:gd name="connsiteY17" fmla="*/ 34910 h 333260"/>
                <a:gd name="connsiteX18" fmla="*/ 304496 w 331203"/>
                <a:gd name="connsiteY18" fmla="*/ 29233 h 333260"/>
                <a:gd name="connsiteX19" fmla="*/ 311049 w 331203"/>
                <a:gd name="connsiteY19" fmla="*/ 27662 h 333260"/>
                <a:gd name="connsiteX20" fmla="*/ 318031 w 331203"/>
                <a:gd name="connsiteY20" fmla="*/ 25471 h 333260"/>
                <a:gd name="connsiteX21" fmla="*/ 323832 w 331203"/>
                <a:gd name="connsiteY21" fmla="*/ 23128 h 333260"/>
                <a:gd name="connsiteX22" fmla="*/ 330937 w 331203"/>
                <a:gd name="connsiteY22" fmla="*/ 22861 h 333260"/>
                <a:gd name="connsiteX23" fmla="*/ 326298 w 331203"/>
                <a:gd name="connsiteY23" fmla="*/ 18013 h 333260"/>
                <a:gd name="connsiteX24" fmla="*/ 319717 w 331203"/>
                <a:gd name="connsiteY24" fmla="*/ 15822 h 333260"/>
                <a:gd name="connsiteX25" fmla="*/ 313640 w 331203"/>
                <a:gd name="connsiteY25" fmla="*/ 15060 h 333260"/>
                <a:gd name="connsiteX26" fmla="*/ 306391 w 331203"/>
                <a:gd name="connsiteY26" fmla="*/ 14079 h 333260"/>
                <a:gd name="connsiteX27" fmla="*/ 293618 w 331203"/>
                <a:gd name="connsiteY27" fmla="*/ 16965 h 333260"/>
                <a:gd name="connsiteX28" fmla="*/ 263186 w 331203"/>
                <a:gd name="connsiteY28" fmla="*/ 23709 h 333260"/>
                <a:gd name="connsiteX29" fmla="*/ 236716 w 331203"/>
                <a:gd name="connsiteY29" fmla="*/ 29395 h 333260"/>
                <a:gd name="connsiteX30" fmla="*/ 225734 w 331203"/>
                <a:gd name="connsiteY30" fmla="*/ 27529 h 333260"/>
                <a:gd name="connsiteX31" fmla="*/ 218466 w 331203"/>
                <a:gd name="connsiteY31" fmla="*/ 28681 h 333260"/>
                <a:gd name="connsiteX32" fmla="*/ 212980 w 331203"/>
                <a:gd name="connsiteY32" fmla="*/ 26319 h 333260"/>
                <a:gd name="connsiteX33" fmla="*/ 206074 w 331203"/>
                <a:gd name="connsiteY33" fmla="*/ 25271 h 333260"/>
                <a:gd name="connsiteX34" fmla="*/ 200102 w 331203"/>
                <a:gd name="connsiteY34" fmla="*/ 24881 h 333260"/>
                <a:gd name="connsiteX35" fmla="*/ 194082 w 331203"/>
                <a:gd name="connsiteY35" fmla="*/ 24642 h 333260"/>
                <a:gd name="connsiteX36" fmla="*/ 187367 w 331203"/>
                <a:gd name="connsiteY36" fmla="*/ 25004 h 333260"/>
                <a:gd name="connsiteX37" fmla="*/ 178204 w 331203"/>
                <a:gd name="connsiteY37" fmla="*/ 24109 h 333260"/>
                <a:gd name="connsiteX38" fmla="*/ 171117 w 331203"/>
                <a:gd name="connsiteY38" fmla="*/ 21376 h 333260"/>
                <a:gd name="connsiteX39" fmla="*/ 166821 w 331203"/>
                <a:gd name="connsiteY39" fmla="*/ 17079 h 333260"/>
                <a:gd name="connsiteX40" fmla="*/ 125550 w 331203"/>
                <a:gd name="connsiteY40" fmla="*/ 11745 h 333260"/>
                <a:gd name="connsiteX41" fmla="*/ 60361 w 331203"/>
                <a:gd name="connsiteY41" fmla="*/ 11984 h 333260"/>
                <a:gd name="connsiteX42" fmla="*/ 53893 w 331203"/>
                <a:gd name="connsiteY42" fmla="*/ 12936 h 333260"/>
                <a:gd name="connsiteX43" fmla="*/ 45778 w 331203"/>
                <a:gd name="connsiteY43" fmla="*/ 6488 h 333260"/>
                <a:gd name="connsiteX44" fmla="*/ 41149 w 331203"/>
                <a:gd name="connsiteY44" fmla="*/ 944 h 333260"/>
                <a:gd name="connsiteX45" fmla="*/ 34834 w 331203"/>
                <a:gd name="connsiteY45" fmla="*/ -94 h 333260"/>
                <a:gd name="connsiteX46" fmla="*/ 23537 w 331203"/>
                <a:gd name="connsiteY46" fmla="*/ 5688 h 333260"/>
                <a:gd name="connsiteX47" fmla="*/ 16936 w 331203"/>
                <a:gd name="connsiteY47" fmla="*/ 8250 h 333260"/>
                <a:gd name="connsiteX48" fmla="*/ 10821 w 331203"/>
                <a:gd name="connsiteY48" fmla="*/ 6488 h 333260"/>
                <a:gd name="connsiteX49" fmla="*/ 3810 w 331203"/>
                <a:gd name="connsiteY49" fmla="*/ 6469 h 333260"/>
                <a:gd name="connsiteX50" fmla="*/ -266 w 331203"/>
                <a:gd name="connsiteY50" fmla="*/ 11955 h 333260"/>
                <a:gd name="connsiteX51" fmla="*/ 277 w 331203"/>
                <a:gd name="connsiteY51" fmla="*/ 23099 h 333260"/>
                <a:gd name="connsiteX52" fmla="*/ 1982 w 331203"/>
                <a:gd name="connsiteY52" fmla="*/ 32539 h 333260"/>
                <a:gd name="connsiteX53" fmla="*/ 5535 w 331203"/>
                <a:gd name="connsiteY53" fmla="*/ 39768 h 333260"/>
                <a:gd name="connsiteX54" fmla="*/ 9087 w 331203"/>
                <a:gd name="connsiteY54" fmla="*/ 45254 h 333260"/>
                <a:gd name="connsiteX55" fmla="*/ 14078 w 331203"/>
                <a:gd name="connsiteY55" fmla="*/ 50588 h 333260"/>
                <a:gd name="connsiteX56" fmla="*/ 16907 w 331203"/>
                <a:gd name="connsiteY56" fmla="*/ 56437 h 333260"/>
                <a:gd name="connsiteX57" fmla="*/ 20327 w 331203"/>
                <a:gd name="connsiteY57" fmla="*/ 61990 h 333260"/>
                <a:gd name="connsiteX58" fmla="*/ 25061 w 331203"/>
                <a:gd name="connsiteY58" fmla="*/ 72963 h 333260"/>
                <a:gd name="connsiteX59" fmla="*/ 27699 w 331203"/>
                <a:gd name="connsiteY59" fmla="*/ 78640 h 333260"/>
                <a:gd name="connsiteX60" fmla="*/ 29976 w 331203"/>
                <a:gd name="connsiteY60" fmla="*/ 84174 h 333260"/>
                <a:gd name="connsiteX61" fmla="*/ 33548 w 331203"/>
                <a:gd name="connsiteY61" fmla="*/ 89746 h 333260"/>
                <a:gd name="connsiteX62" fmla="*/ 34967 w 331203"/>
                <a:gd name="connsiteY62" fmla="*/ 96851 h 333260"/>
                <a:gd name="connsiteX63" fmla="*/ 37949 w 331203"/>
                <a:gd name="connsiteY63" fmla="*/ 106395 h 333260"/>
                <a:gd name="connsiteX64" fmla="*/ 41101 w 331203"/>
                <a:gd name="connsiteY64" fmla="*/ 111949 h 333260"/>
                <a:gd name="connsiteX65" fmla="*/ 43978 w 331203"/>
                <a:gd name="connsiteY65" fmla="*/ 117502 h 333260"/>
                <a:gd name="connsiteX66" fmla="*/ 47464 w 331203"/>
                <a:gd name="connsiteY66" fmla="*/ 123045 h 333260"/>
                <a:gd name="connsiteX67" fmla="*/ 49845 w 331203"/>
                <a:gd name="connsiteY67" fmla="*/ 128579 h 333260"/>
                <a:gd name="connsiteX68" fmla="*/ 56560 w 331203"/>
                <a:gd name="connsiteY68" fmla="*/ 139704 h 333260"/>
                <a:gd name="connsiteX69" fmla="*/ 59884 w 331203"/>
                <a:gd name="connsiteY69" fmla="*/ 145258 h 333260"/>
                <a:gd name="connsiteX70" fmla="*/ 62809 w 331203"/>
                <a:gd name="connsiteY70" fmla="*/ 150811 h 333260"/>
                <a:gd name="connsiteX71" fmla="*/ 64961 w 331203"/>
                <a:gd name="connsiteY71" fmla="*/ 161803 h 333260"/>
                <a:gd name="connsiteX72" fmla="*/ 62799 w 331203"/>
                <a:gd name="connsiteY72" fmla="*/ 168117 h 333260"/>
                <a:gd name="connsiteX73" fmla="*/ 63628 w 331203"/>
                <a:gd name="connsiteY73" fmla="*/ 176557 h 333260"/>
                <a:gd name="connsiteX74" fmla="*/ 63475 w 331203"/>
                <a:gd name="connsiteY74" fmla="*/ 184120 h 333260"/>
                <a:gd name="connsiteX75" fmla="*/ 63571 w 331203"/>
                <a:gd name="connsiteY75" fmla="*/ 192625 h 333260"/>
                <a:gd name="connsiteX76" fmla="*/ 62942 w 331203"/>
                <a:gd name="connsiteY76" fmla="*/ 200759 h 333260"/>
                <a:gd name="connsiteX77" fmla="*/ 65504 w 331203"/>
                <a:gd name="connsiteY77" fmla="*/ 207532 h 333260"/>
                <a:gd name="connsiteX78" fmla="*/ 69495 w 331203"/>
                <a:gd name="connsiteY78" fmla="*/ 217390 h 333260"/>
                <a:gd name="connsiteX79" fmla="*/ 71524 w 331203"/>
                <a:gd name="connsiteY79" fmla="*/ 225525 h 333260"/>
                <a:gd name="connsiteX80" fmla="*/ 69905 w 331203"/>
                <a:gd name="connsiteY80" fmla="*/ 234078 h 333260"/>
                <a:gd name="connsiteX81" fmla="*/ 69714 w 331203"/>
                <a:gd name="connsiteY81" fmla="*/ 243632 h 333260"/>
                <a:gd name="connsiteX82" fmla="*/ 72610 w 331203"/>
                <a:gd name="connsiteY82" fmla="*/ 250718 h 333260"/>
                <a:gd name="connsiteX83" fmla="*/ 72105 w 331203"/>
                <a:gd name="connsiteY83" fmla="*/ 259386 h 333260"/>
                <a:gd name="connsiteX84" fmla="*/ 77268 w 331203"/>
                <a:gd name="connsiteY84" fmla="*/ 267387 h 333260"/>
                <a:gd name="connsiteX85" fmla="*/ 76553 w 331203"/>
                <a:gd name="connsiteY85" fmla="*/ 274426 h 333260"/>
                <a:gd name="connsiteX86" fmla="*/ 78744 w 331203"/>
                <a:gd name="connsiteY86" fmla="*/ 284046 h 333260"/>
                <a:gd name="connsiteX87" fmla="*/ 83859 w 331203"/>
                <a:gd name="connsiteY87" fmla="*/ 295153 h 333260"/>
                <a:gd name="connsiteX88" fmla="*/ 88183 w 331203"/>
                <a:gd name="connsiteY88" fmla="*/ 303687 h 333260"/>
                <a:gd name="connsiteX89" fmla="*/ 91927 w 331203"/>
                <a:gd name="connsiteY89" fmla="*/ 309725 h 333260"/>
                <a:gd name="connsiteX90" fmla="*/ 99404 w 331203"/>
                <a:gd name="connsiteY90" fmla="*/ 317260 h 333260"/>
                <a:gd name="connsiteX91" fmla="*/ 104537 w 331203"/>
                <a:gd name="connsiteY91" fmla="*/ 322889 h 333260"/>
                <a:gd name="connsiteX92" fmla="*/ 111329 w 331203"/>
                <a:gd name="connsiteY92" fmla="*/ 319374 h 333260"/>
                <a:gd name="connsiteX93" fmla="*/ 113510 w 331203"/>
                <a:gd name="connsiteY93" fmla="*/ 313831 h 333260"/>
                <a:gd name="connsiteX94" fmla="*/ 117234 w 331203"/>
                <a:gd name="connsiteY94" fmla="*/ 308278 h 333260"/>
                <a:gd name="connsiteX95" fmla="*/ 124235 w 331203"/>
                <a:gd name="connsiteY95" fmla="*/ 309725 h 333260"/>
                <a:gd name="connsiteX96" fmla="*/ 129093 w 331203"/>
                <a:gd name="connsiteY96" fmla="*/ 317336 h 333260"/>
                <a:gd name="connsiteX97" fmla="*/ 129026 w 331203"/>
                <a:gd name="connsiteY97" fmla="*/ 326337 h 333260"/>
                <a:gd name="connsiteX98" fmla="*/ 136856 w 331203"/>
                <a:gd name="connsiteY98" fmla="*/ 326794 h 333260"/>
                <a:gd name="connsiteX99" fmla="*/ 143800 w 331203"/>
                <a:gd name="connsiteY99" fmla="*/ 330528 h 333260"/>
                <a:gd name="connsiteX100" fmla="*/ 152744 w 331203"/>
                <a:gd name="connsiteY100" fmla="*/ 331262 h 333260"/>
                <a:gd name="connsiteX101" fmla="*/ 160230 w 331203"/>
                <a:gd name="connsiteY101" fmla="*/ 329347 h 333260"/>
                <a:gd name="connsiteX102" fmla="*/ 166545 w 331203"/>
                <a:gd name="connsiteY102" fmla="*/ 331014 h 333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31203" h="333260">
                  <a:moveTo>
                    <a:pt x="169374" y="333166"/>
                  </a:moveTo>
                  <a:lnTo>
                    <a:pt x="173279" y="326852"/>
                  </a:lnTo>
                  <a:lnTo>
                    <a:pt x="179090" y="322918"/>
                  </a:lnTo>
                  <a:lnTo>
                    <a:pt x="184929" y="319746"/>
                  </a:lnTo>
                  <a:lnTo>
                    <a:pt x="191168" y="318127"/>
                  </a:lnTo>
                  <a:lnTo>
                    <a:pt x="191558" y="309725"/>
                  </a:lnTo>
                  <a:lnTo>
                    <a:pt x="197882" y="153592"/>
                  </a:lnTo>
                  <a:lnTo>
                    <a:pt x="198340" y="139704"/>
                  </a:lnTo>
                  <a:lnTo>
                    <a:pt x="222676" y="139724"/>
                  </a:lnTo>
                  <a:lnTo>
                    <a:pt x="225981" y="37491"/>
                  </a:lnTo>
                  <a:lnTo>
                    <a:pt x="237107" y="37491"/>
                  </a:lnTo>
                  <a:lnTo>
                    <a:pt x="252090" y="34301"/>
                  </a:lnTo>
                  <a:lnTo>
                    <a:pt x="262929" y="31948"/>
                  </a:lnTo>
                  <a:lnTo>
                    <a:pt x="277702" y="28700"/>
                  </a:lnTo>
                  <a:lnTo>
                    <a:pt x="284484" y="32444"/>
                  </a:lnTo>
                  <a:lnTo>
                    <a:pt x="287961" y="37615"/>
                  </a:lnTo>
                  <a:lnTo>
                    <a:pt x="293656" y="39787"/>
                  </a:lnTo>
                  <a:lnTo>
                    <a:pt x="297609" y="34910"/>
                  </a:lnTo>
                  <a:lnTo>
                    <a:pt x="304496" y="29233"/>
                  </a:lnTo>
                  <a:lnTo>
                    <a:pt x="311049" y="27662"/>
                  </a:lnTo>
                  <a:lnTo>
                    <a:pt x="318031" y="25471"/>
                  </a:lnTo>
                  <a:lnTo>
                    <a:pt x="323832" y="23128"/>
                  </a:lnTo>
                  <a:lnTo>
                    <a:pt x="330937" y="22861"/>
                  </a:lnTo>
                  <a:lnTo>
                    <a:pt x="326298" y="18013"/>
                  </a:lnTo>
                  <a:lnTo>
                    <a:pt x="319717" y="15822"/>
                  </a:lnTo>
                  <a:lnTo>
                    <a:pt x="313640" y="15060"/>
                  </a:lnTo>
                  <a:lnTo>
                    <a:pt x="306391" y="14079"/>
                  </a:lnTo>
                  <a:lnTo>
                    <a:pt x="293618" y="16965"/>
                  </a:lnTo>
                  <a:lnTo>
                    <a:pt x="263186" y="23709"/>
                  </a:lnTo>
                  <a:lnTo>
                    <a:pt x="236716" y="29395"/>
                  </a:lnTo>
                  <a:lnTo>
                    <a:pt x="225734" y="27529"/>
                  </a:lnTo>
                  <a:lnTo>
                    <a:pt x="218466" y="28681"/>
                  </a:lnTo>
                  <a:lnTo>
                    <a:pt x="212980" y="26319"/>
                  </a:lnTo>
                  <a:lnTo>
                    <a:pt x="206074" y="25271"/>
                  </a:lnTo>
                  <a:lnTo>
                    <a:pt x="200102" y="24881"/>
                  </a:lnTo>
                  <a:lnTo>
                    <a:pt x="194082" y="24642"/>
                  </a:lnTo>
                  <a:lnTo>
                    <a:pt x="187367" y="25004"/>
                  </a:lnTo>
                  <a:lnTo>
                    <a:pt x="178204" y="24109"/>
                  </a:lnTo>
                  <a:lnTo>
                    <a:pt x="171117" y="21376"/>
                  </a:lnTo>
                  <a:lnTo>
                    <a:pt x="166821" y="17079"/>
                  </a:lnTo>
                  <a:lnTo>
                    <a:pt x="125550" y="11745"/>
                  </a:lnTo>
                  <a:lnTo>
                    <a:pt x="60361" y="11984"/>
                  </a:lnTo>
                  <a:lnTo>
                    <a:pt x="53893" y="12936"/>
                  </a:lnTo>
                  <a:lnTo>
                    <a:pt x="45778" y="6488"/>
                  </a:lnTo>
                  <a:lnTo>
                    <a:pt x="41149" y="944"/>
                  </a:lnTo>
                  <a:lnTo>
                    <a:pt x="34834" y="-94"/>
                  </a:lnTo>
                  <a:lnTo>
                    <a:pt x="23537" y="5688"/>
                  </a:lnTo>
                  <a:lnTo>
                    <a:pt x="16936" y="8250"/>
                  </a:lnTo>
                  <a:lnTo>
                    <a:pt x="10821" y="6488"/>
                  </a:lnTo>
                  <a:lnTo>
                    <a:pt x="3810" y="6469"/>
                  </a:lnTo>
                  <a:lnTo>
                    <a:pt x="-266" y="11955"/>
                  </a:lnTo>
                  <a:lnTo>
                    <a:pt x="277" y="23099"/>
                  </a:lnTo>
                  <a:lnTo>
                    <a:pt x="1982" y="32539"/>
                  </a:lnTo>
                  <a:lnTo>
                    <a:pt x="5535" y="39768"/>
                  </a:lnTo>
                  <a:lnTo>
                    <a:pt x="9087" y="45254"/>
                  </a:lnTo>
                  <a:lnTo>
                    <a:pt x="14078" y="50588"/>
                  </a:lnTo>
                  <a:lnTo>
                    <a:pt x="16907" y="56437"/>
                  </a:lnTo>
                  <a:lnTo>
                    <a:pt x="20327" y="61990"/>
                  </a:lnTo>
                  <a:lnTo>
                    <a:pt x="25061" y="72963"/>
                  </a:lnTo>
                  <a:lnTo>
                    <a:pt x="27699" y="78640"/>
                  </a:lnTo>
                  <a:lnTo>
                    <a:pt x="29976" y="84174"/>
                  </a:lnTo>
                  <a:lnTo>
                    <a:pt x="33548" y="89746"/>
                  </a:lnTo>
                  <a:lnTo>
                    <a:pt x="34967" y="96851"/>
                  </a:lnTo>
                  <a:lnTo>
                    <a:pt x="37949" y="106395"/>
                  </a:lnTo>
                  <a:lnTo>
                    <a:pt x="41101" y="111949"/>
                  </a:lnTo>
                  <a:lnTo>
                    <a:pt x="43978" y="117502"/>
                  </a:lnTo>
                  <a:lnTo>
                    <a:pt x="47464" y="123045"/>
                  </a:lnTo>
                  <a:lnTo>
                    <a:pt x="49845" y="128579"/>
                  </a:lnTo>
                  <a:lnTo>
                    <a:pt x="56560" y="139704"/>
                  </a:lnTo>
                  <a:lnTo>
                    <a:pt x="59884" y="145258"/>
                  </a:lnTo>
                  <a:lnTo>
                    <a:pt x="62809" y="150811"/>
                  </a:lnTo>
                  <a:lnTo>
                    <a:pt x="64961" y="161803"/>
                  </a:lnTo>
                  <a:lnTo>
                    <a:pt x="62799" y="168117"/>
                  </a:lnTo>
                  <a:lnTo>
                    <a:pt x="63628" y="176557"/>
                  </a:lnTo>
                  <a:lnTo>
                    <a:pt x="63475" y="184120"/>
                  </a:lnTo>
                  <a:lnTo>
                    <a:pt x="63571" y="192625"/>
                  </a:lnTo>
                  <a:lnTo>
                    <a:pt x="62942" y="200759"/>
                  </a:lnTo>
                  <a:lnTo>
                    <a:pt x="65504" y="207532"/>
                  </a:lnTo>
                  <a:lnTo>
                    <a:pt x="69495" y="217390"/>
                  </a:lnTo>
                  <a:lnTo>
                    <a:pt x="71524" y="225525"/>
                  </a:lnTo>
                  <a:lnTo>
                    <a:pt x="69905" y="234078"/>
                  </a:lnTo>
                  <a:lnTo>
                    <a:pt x="69714" y="243632"/>
                  </a:lnTo>
                  <a:lnTo>
                    <a:pt x="72610" y="250718"/>
                  </a:lnTo>
                  <a:lnTo>
                    <a:pt x="72105" y="259386"/>
                  </a:lnTo>
                  <a:lnTo>
                    <a:pt x="77268" y="267387"/>
                  </a:lnTo>
                  <a:lnTo>
                    <a:pt x="76553" y="274426"/>
                  </a:lnTo>
                  <a:lnTo>
                    <a:pt x="78744" y="284046"/>
                  </a:lnTo>
                  <a:lnTo>
                    <a:pt x="83859" y="295153"/>
                  </a:lnTo>
                  <a:lnTo>
                    <a:pt x="88183" y="303687"/>
                  </a:lnTo>
                  <a:lnTo>
                    <a:pt x="91927" y="309725"/>
                  </a:lnTo>
                  <a:lnTo>
                    <a:pt x="99404" y="317260"/>
                  </a:lnTo>
                  <a:lnTo>
                    <a:pt x="104537" y="322889"/>
                  </a:lnTo>
                  <a:lnTo>
                    <a:pt x="111329" y="319374"/>
                  </a:lnTo>
                  <a:lnTo>
                    <a:pt x="113510" y="313831"/>
                  </a:lnTo>
                  <a:lnTo>
                    <a:pt x="117234" y="308278"/>
                  </a:lnTo>
                  <a:lnTo>
                    <a:pt x="124235" y="309725"/>
                  </a:lnTo>
                  <a:lnTo>
                    <a:pt x="129093" y="317336"/>
                  </a:lnTo>
                  <a:lnTo>
                    <a:pt x="129026" y="326337"/>
                  </a:lnTo>
                  <a:lnTo>
                    <a:pt x="136856" y="326794"/>
                  </a:lnTo>
                  <a:lnTo>
                    <a:pt x="143800" y="330528"/>
                  </a:lnTo>
                  <a:lnTo>
                    <a:pt x="152744" y="331262"/>
                  </a:lnTo>
                  <a:lnTo>
                    <a:pt x="160230" y="329347"/>
                  </a:lnTo>
                  <a:lnTo>
                    <a:pt x="166545" y="331014"/>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2" name="Freeform: Shape 21">
              <a:extLst>
                <a:ext uri="{FF2B5EF4-FFF2-40B4-BE49-F238E27FC236}">
                  <a16:creationId xmlns:a16="http://schemas.microsoft.com/office/drawing/2014/main" id="{4D91D149-5848-623D-5782-32EDCD710145}"/>
                </a:ext>
              </a:extLst>
            </p:cNvPr>
            <p:cNvSpPr/>
            <p:nvPr/>
          </p:nvSpPr>
          <p:spPr>
            <a:xfrm>
              <a:off x="3901384" y="1411162"/>
              <a:ext cx="508554" cy="434095"/>
            </a:xfrm>
            <a:custGeom>
              <a:avLst/>
              <a:gdLst>
                <a:gd name="connsiteX0" fmla="*/ 142790 w 178441"/>
                <a:gd name="connsiteY0" fmla="*/ 152115 h 152209"/>
                <a:gd name="connsiteX1" fmla="*/ 148667 w 178441"/>
                <a:gd name="connsiteY1" fmla="*/ 150296 h 152209"/>
                <a:gd name="connsiteX2" fmla="*/ 151305 w 178441"/>
                <a:gd name="connsiteY2" fmla="*/ 144610 h 152209"/>
                <a:gd name="connsiteX3" fmla="*/ 153486 w 178441"/>
                <a:gd name="connsiteY3" fmla="*/ 138723 h 152209"/>
                <a:gd name="connsiteX4" fmla="*/ 158649 w 178441"/>
                <a:gd name="connsiteY4" fmla="*/ 141933 h 152209"/>
                <a:gd name="connsiteX5" fmla="*/ 165116 w 178441"/>
                <a:gd name="connsiteY5" fmla="*/ 142505 h 152209"/>
                <a:gd name="connsiteX6" fmla="*/ 167850 w 178441"/>
                <a:gd name="connsiteY6" fmla="*/ 136113 h 152209"/>
                <a:gd name="connsiteX7" fmla="*/ 168441 w 178441"/>
                <a:gd name="connsiteY7" fmla="*/ 129655 h 152209"/>
                <a:gd name="connsiteX8" fmla="*/ 165916 w 178441"/>
                <a:gd name="connsiteY8" fmla="*/ 124102 h 152209"/>
                <a:gd name="connsiteX9" fmla="*/ 164536 w 178441"/>
                <a:gd name="connsiteY9" fmla="*/ 118111 h 152209"/>
                <a:gd name="connsiteX10" fmla="*/ 170003 w 178441"/>
                <a:gd name="connsiteY10" fmla="*/ 115739 h 152209"/>
                <a:gd name="connsiteX11" fmla="*/ 176175 w 178441"/>
                <a:gd name="connsiteY11" fmla="*/ 117502 h 152209"/>
                <a:gd name="connsiteX12" fmla="*/ 178175 w 178441"/>
                <a:gd name="connsiteY12" fmla="*/ 111682 h 152209"/>
                <a:gd name="connsiteX13" fmla="*/ 173527 w 178441"/>
                <a:gd name="connsiteY13" fmla="*/ 107681 h 152209"/>
                <a:gd name="connsiteX14" fmla="*/ 173022 w 178441"/>
                <a:gd name="connsiteY14" fmla="*/ 101557 h 152209"/>
                <a:gd name="connsiteX15" fmla="*/ 173432 w 178441"/>
                <a:gd name="connsiteY15" fmla="*/ 94060 h 152209"/>
                <a:gd name="connsiteX16" fmla="*/ 168441 w 178441"/>
                <a:gd name="connsiteY16" fmla="*/ 89631 h 152209"/>
                <a:gd name="connsiteX17" fmla="*/ 167450 w 178441"/>
                <a:gd name="connsiteY17" fmla="*/ 83431 h 152209"/>
                <a:gd name="connsiteX18" fmla="*/ 167164 w 178441"/>
                <a:gd name="connsiteY18" fmla="*/ 77316 h 152209"/>
                <a:gd name="connsiteX19" fmla="*/ 169812 w 178441"/>
                <a:gd name="connsiteY19" fmla="*/ 71820 h 152209"/>
                <a:gd name="connsiteX20" fmla="*/ 171079 w 178441"/>
                <a:gd name="connsiteY20" fmla="*/ 64600 h 152209"/>
                <a:gd name="connsiteX21" fmla="*/ 165336 w 178441"/>
                <a:gd name="connsiteY21" fmla="*/ 62352 h 152209"/>
                <a:gd name="connsiteX22" fmla="*/ 162802 w 178441"/>
                <a:gd name="connsiteY22" fmla="*/ 55503 h 152209"/>
                <a:gd name="connsiteX23" fmla="*/ 164459 w 178441"/>
                <a:gd name="connsiteY23" fmla="*/ 49322 h 152209"/>
                <a:gd name="connsiteX24" fmla="*/ 160049 w 178441"/>
                <a:gd name="connsiteY24" fmla="*/ 44445 h 152209"/>
                <a:gd name="connsiteX25" fmla="*/ 154582 w 178441"/>
                <a:gd name="connsiteY25" fmla="*/ 47721 h 152209"/>
                <a:gd name="connsiteX26" fmla="*/ 157306 w 178441"/>
                <a:gd name="connsiteY26" fmla="*/ 41816 h 152209"/>
                <a:gd name="connsiteX27" fmla="*/ 162154 w 178441"/>
                <a:gd name="connsiteY27" fmla="*/ 37320 h 152209"/>
                <a:gd name="connsiteX28" fmla="*/ 157877 w 178441"/>
                <a:gd name="connsiteY28" fmla="*/ 32672 h 152209"/>
                <a:gd name="connsiteX29" fmla="*/ 153658 w 178441"/>
                <a:gd name="connsiteY29" fmla="*/ 28462 h 152209"/>
                <a:gd name="connsiteX30" fmla="*/ 151543 w 178441"/>
                <a:gd name="connsiteY30" fmla="*/ 22376 h 152209"/>
                <a:gd name="connsiteX31" fmla="*/ 148552 w 178441"/>
                <a:gd name="connsiteY31" fmla="*/ 16013 h 152209"/>
                <a:gd name="connsiteX32" fmla="*/ 148086 w 178441"/>
                <a:gd name="connsiteY32" fmla="*/ 9603 h 152209"/>
                <a:gd name="connsiteX33" fmla="*/ 142590 w 178441"/>
                <a:gd name="connsiteY33" fmla="*/ 5021 h 152209"/>
                <a:gd name="connsiteX34" fmla="*/ 136504 w 178441"/>
                <a:gd name="connsiteY34" fmla="*/ 5640 h 152209"/>
                <a:gd name="connsiteX35" fmla="*/ 137818 w 178441"/>
                <a:gd name="connsiteY35" fmla="*/ 11469 h 152209"/>
                <a:gd name="connsiteX36" fmla="*/ 130369 w 178441"/>
                <a:gd name="connsiteY36" fmla="*/ 13984 h 152209"/>
                <a:gd name="connsiteX37" fmla="*/ 124835 w 178441"/>
                <a:gd name="connsiteY37" fmla="*/ 17022 h 152209"/>
                <a:gd name="connsiteX38" fmla="*/ 119387 w 178441"/>
                <a:gd name="connsiteY38" fmla="*/ 14432 h 152209"/>
                <a:gd name="connsiteX39" fmla="*/ 113806 w 178441"/>
                <a:gd name="connsiteY39" fmla="*/ 12308 h 152209"/>
                <a:gd name="connsiteX40" fmla="*/ 108900 w 178441"/>
                <a:gd name="connsiteY40" fmla="*/ 15784 h 152209"/>
                <a:gd name="connsiteX41" fmla="*/ 105976 w 178441"/>
                <a:gd name="connsiteY41" fmla="*/ 21194 h 152209"/>
                <a:gd name="connsiteX42" fmla="*/ 102109 w 178441"/>
                <a:gd name="connsiteY42" fmla="*/ 15403 h 152209"/>
                <a:gd name="connsiteX43" fmla="*/ 96241 w 178441"/>
                <a:gd name="connsiteY43" fmla="*/ 12736 h 152209"/>
                <a:gd name="connsiteX44" fmla="*/ 92279 w 178441"/>
                <a:gd name="connsiteY44" fmla="*/ 18203 h 152209"/>
                <a:gd name="connsiteX45" fmla="*/ 86983 w 178441"/>
                <a:gd name="connsiteY45" fmla="*/ 15479 h 152209"/>
                <a:gd name="connsiteX46" fmla="*/ 86392 w 178441"/>
                <a:gd name="connsiteY46" fmla="*/ 9336 h 152209"/>
                <a:gd name="connsiteX47" fmla="*/ 80249 w 178441"/>
                <a:gd name="connsiteY47" fmla="*/ 6983 h 152209"/>
                <a:gd name="connsiteX48" fmla="*/ 73143 w 178441"/>
                <a:gd name="connsiteY48" fmla="*/ 7354 h 152209"/>
                <a:gd name="connsiteX49" fmla="*/ 66771 w 178441"/>
                <a:gd name="connsiteY49" fmla="*/ 8698 h 152209"/>
                <a:gd name="connsiteX50" fmla="*/ 60237 w 178441"/>
                <a:gd name="connsiteY50" fmla="*/ 7231 h 152209"/>
                <a:gd name="connsiteX51" fmla="*/ 53464 w 178441"/>
                <a:gd name="connsiteY51" fmla="*/ 6583 h 152209"/>
                <a:gd name="connsiteX52" fmla="*/ 46264 w 178441"/>
                <a:gd name="connsiteY52" fmla="*/ 5183 h 152209"/>
                <a:gd name="connsiteX53" fmla="*/ 42616 w 178441"/>
                <a:gd name="connsiteY53" fmla="*/ 458 h 152209"/>
                <a:gd name="connsiteX54" fmla="*/ 35814 w 178441"/>
                <a:gd name="connsiteY54" fmla="*/ -94 h 152209"/>
                <a:gd name="connsiteX55" fmla="*/ 31119 w 178441"/>
                <a:gd name="connsiteY55" fmla="*/ 4173 h 152209"/>
                <a:gd name="connsiteX56" fmla="*/ 29871 w 178441"/>
                <a:gd name="connsiteY56" fmla="*/ 11698 h 152209"/>
                <a:gd name="connsiteX57" fmla="*/ 23946 w 178441"/>
                <a:gd name="connsiteY57" fmla="*/ 13060 h 152209"/>
                <a:gd name="connsiteX58" fmla="*/ 28633 w 178441"/>
                <a:gd name="connsiteY58" fmla="*/ 17756 h 152209"/>
                <a:gd name="connsiteX59" fmla="*/ 29976 w 178441"/>
                <a:gd name="connsiteY59" fmla="*/ 24157 h 152209"/>
                <a:gd name="connsiteX60" fmla="*/ 25299 w 178441"/>
                <a:gd name="connsiteY60" fmla="*/ 27919 h 152209"/>
                <a:gd name="connsiteX61" fmla="*/ 18241 w 178441"/>
                <a:gd name="connsiteY61" fmla="*/ 28148 h 152209"/>
                <a:gd name="connsiteX62" fmla="*/ 11497 w 178441"/>
                <a:gd name="connsiteY62" fmla="*/ 31472 h 152209"/>
                <a:gd name="connsiteX63" fmla="*/ 5268 w 178441"/>
                <a:gd name="connsiteY63" fmla="*/ 33272 h 152209"/>
                <a:gd name="connsiteX64" fmla="*/ 2248 w 178441"/>
                <a:gd name="connsiteY64" fmla="*/ 39435 h 152209"/>
                <a:gd name="connsiteX65" fmla="*/ -266 w 178441"/>
                <a:gd name="connsiteY65" fmla="*/ 44835 h 152209"/>
                <a:gd name="connsiteX66" fmla="*/ 5525 w 178441"/>
                <a:gd name="connsiteY66" fmla="*/ 43416 h 152209"/>
                <a:gd name="connsiteX67" fmla="*/ 2220 w 178441"/>
                <a:gd name="connsiteY67" fmla="*/ 48512 h 152209"/>
                <a:gd name="connsiteX68" fmla="*/ 3382 w 178441"/>
                <a:gd name="connsiteY68" fmla="*/ 54379 h 152209"/>
                <a:gd name="connsiteX69" fmla="*/ 7249 w 178441"/>
                <a:gd name="connsiteY69" fmla="*/ 49683 h 152209"/>
                <a:gd name="connsiteX70" fmla="*/ 7182 w 178441"/>
                <a:gd name="connsiteY70" fmla="*/ 55818 h 152209"/>
                <a:gd name="connsiteX71" fmla="*/ 8440 w 178441"/>
                <a:gd name="connsiteY71" fmla="*/ 61990 h 152209"/>
                <a:gd name="connsiteX72" fmla="*/ 10687 w 178441"/>
                <a:gd name="connsiteY72" fmla="*/ 67581 h 152209"/>
                <a:gd name="connsiteX73" fmla="*/ 16564 w 178441"/>
                <a:gd name="connsiteY73" fmla="*/ 68762 h 152209"/>
                <a:gd name="connsiteX74" fmla="*/ 20775 w 178441"/>
                <a:gd name="connsiteY74" fmla="*/ 73477 h 152209"/>
                <a:gd name="connsiteX75" fmla="*/ 25737 w 178441"/>
                <a:gd name="connsiteY75" fmla="*/ 77249 h 152209"/>
                <a:gd name="connsiteX76" fmla="*/ 31347 w 178441"/>
                <a:gd name="connsiteY76" fmla="*/ 79583 h 152209"/>
                <a:gd name="connsiteX77" fmla="*/ 30223 w 178441"/>
                <a:gd name="connsiteY77" fmla="*/ 86317 h 152209"/>
                <a:gd name="connsiteX78" fmla="*/ 34795 w 178441"/>
                <a:gd name="connsiteY78" fmla="*/ 90308 h 152209"/>
                <a:gd name="connsiteX79" fmla="*/ 39044 w 178441"/>
                <a:gd name="connsiteY79" fmla="*/ 95223 h 152209"/>
                <a:gd name="connsiteX80" fmla="*/ 43082 w 178441"/>
                <a:gd name="connsiteY80" fmla="*/ 100290 h 152209"/>
                <a:gd name="connsiteX81" fmla="*/ 47683 w 178441"/>
                <a:gd name="connsiteY81" fmla="*/ 96347 h 152209"/>
                <a:gd name="connsiteX82" fmla="*/ 52274 w 178441"/>
                <a:gd name="connsiteY82" fmla="*/ 92308 h 152209"/>
                <a:gd name="connsiteX83" fmla="*/ 55284 w 178441"/>
                <a:gd name="connsiteY83" fmla="*/ 86936 h 152209"/>
                <a:gd name="connsiteX84" fmla="*/ 58503 w 178441"/>
                <a:gd name="connsiteY84" fmla="*/ 81430 h 152209"/>
                <a:gd name="connsiteX85" fmla="*/ 63009 w 178441"/>
                <a:gd name="connsiteY85" fmla="*/ 77087 h 152209"/>
                <a:gd name="connsiteX86" fmla="*/ 73877 w 178441"/>
                <a:gd name="connsiteY86" fmla="*/ 75791 h 152209"/>
                <a:gd name="connsiteX87" fmla="*/ 90155 w 178441"/>
                <a:gd name="connsiteY87" fmla="*/ 74134 h 152209"/>
                <a:gd name="connsiteX88" fmla="*/ 94326 w 178441"/>
                <a:gd name="connsiteY88" fmla="*/ 78468 h 152209"/>
                <a:gd name="connsiteX89" fmla="*/ 97355 w 178441"/>
                <a:gd name="connsiteY89" fmla="*/ 83697 h 152209"/>
                <a:gd name="connsiteX90" fmla="*/ 100270 w 178441"/>
                <a:gd name="connsiteY90" fmla="*/ 88936 h 152209"/>
                <a:gd name="connsiteX91" fmla="*/ 104547 w 178441"/>
                <a:gd name="connsiteY91" fmla="*/ 93232 h 152209"/>
                <a:gd name="connsiteX92" fmla="*/ 102861 w 178441"/>
                <a:gd name="connsiteY92" fmla="*/ 99633 h 152209"/>
                <a:gd name="connsiteX93" fmla="*/ 106652 w 178441"/>
                <a:gd name="connsiteY93" fmla="*/ 104881 h 152209"/>
                <a:gd name="connsiteX94" fmla="*/ 109167 w 178441"/>
                <a:gd name="connsiteY94" fmla="*/ 110339 h 152209"/>
                <a:gd name="connsiteX95" fmla="*/ 105318 w 178441"/>
                <a:gd name="connsiteY95" fmla="*/ 115644 h 152209"/>
                <a:gd name="connsiteX96" fmla="*/ 103471 w 178441"/>
                <a:gd name="connsiteY96" fmla="*/ 121874 h 152209"/>
                <a:gd name="connsiteX97" fmla="*/ 108995 w 178441"/>
                <a:gd name="connsiteY97" fmla="*/ 119187 h 152209"/>
                <a:gd name="connsiteX98" fmla="*/ 114167 w 178441"/>
                <a:gd name="connsiteY98" fmla="*/ 115987 h 152209"/>
                <a:gd name="connsiteX99" fmla="*/ 120454 w 178441"/>
                <a:gd name="connsiteY99" fmla="*/ 117502 h 152209"/>
                <a:gd name="connsiteX100" fmla="*/ 126093 w 178441"/>
                <a:gd name="connsiteY100" fmla="*/ 115330 h 152209"/>
                <a:gd name="connsiteX101" fmla="*/ 131570 w 178441"/>
                <a:gd name="connsiteY101" fmla="*/ 118330 h 152209"/>
                <a:gd name="connsiteX102" fmla="*/ 132836 w 178441"/>
                <a:gd name="connsiteY102" fmla="*/ 124407 h 152209"/>
                <a:gd name="connsiteX103" fmla="*/ 134618 w 178441"/>
                <a:gd name="connsiteY103" fmla="*/ 130274 h 152209"/>
                <a:gd name="connsiteX104" fmla="*/ 136894 w 178441"/>
                <a:gd name="connsiteY104" fmla="*/ 136685 h 152209"/>
                <a:gd name="connsiteX105" fmla="*/ 134951 w 178441"/>
                <a:gd name="connsiteY105" fmla="*/ 144305 h 152209"/>
                <a:gd name="connsiteX106" fmla="*/ 140485 w 178441"/>
                <a:gd name="connsiteY106" fmla="*/ 146696 h 15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8441" h="152209">
                  <a:moveTo>
                    <a:pt x="142790" y="152115"/>
                  </a:moveTo>
                  <a:lnTo>
                    <a:pt x="148667" y="150296"/>
                  </a:lnTo>
                  <a:lnTo>
                    <a:pt x="151305" y="144610"/>
                  </a:lnTo>
                  <a:lnTo>
                    <a:pt x="153486" y="138723"/>
                  </a:lnTo>
                  <a:lnTo>
                    <a:pt x="158649" y="141933"/>
                  </a:lnTo>
                  <a:lnTo>
                    <a:pt x="165116" y="142505"/>
                  </a:lnTo>
                  <a:lnTo>
                    <a:pt x="167850" y="136113"/>
                  </a:lnTo>
                  <a:lnTo>
                    <a:pt x="168441" y="129655"/>
                  </a:lnTo>
                  <a:lnTo>
                    <a:pt x="165916" y="124102"/>
                  </a:lnTo>
                  <a:lnTo>
                    <a:pt x="164536" y="118111"/>
                  </a:lnTo>
                  <a:lnTo>
                    <a:pt x="170003" y="115739"/>
                  </a:lnTo>
                  <a:lnTo>
                    <a:pt x="176175" y="117502"/>
                  </a:lnTo>
                  <a:lnTo>
                    <a:pt x="178175" y="111682"/>
                  </a:lnTo>
                  <a:lnTo>
                    <a:pt x="173527" y="107681"/>
                  </a:lnTo>
                  <a:lnTo>
                    <a:pt x="173022" y="101557"/>
                  </a:lnTo>
                  <a:lnTo>
                    <a:pt x="173432" y="94060"/>
                  </a:lnTo>
                  <a:lnTo>
                    <a:pt x="168441" y="89631"/>
                  </a:lnTo>
                  <a:lnTo>
                    <a:pt x="167450" y="83431"/>
                  </a:lnTo>
                  <a:lnTo>
                    <a:pt x="167164" y="77316"/>
                  </a:lnTo>
                  <a:lnTo>
                    <a:pt x="169812" y="71820"/>
                  </a:lnTo>
                  <a:lnTo>
                    <a:pt x="171079" y="64600"/>
                  </a:lnTo>
                  <a:lnTo>
                    <a:pt x="165336" y="62352"/>
                  </a:lnTo>
                  <a:lnTo>
                    <a:pt x="162802" y="55503"/>
                  </a:lnTo>
                  <a:lnTo>
                    <a:pt x="164459" y="49322"/>
                  </a:lnTo>
                  <a:lnTo>
                    <a:pt x="160049" y="44445"/>
                  </a:lnTo>
                  <a:lnTo>
                    <a:pt x="154582" y="47721"/>
                  </a:lnTo>
                  <a:lnTo>
                    <a:pt x="157306" y="41816"/>
                  </a:lnTo>
                  <a:lnTo>
                    <a:pt x="162154" y="37320"/>
                  </a:lnTo>
                  <a:lnTo>
                    <a:pt x="157877" y="32672"/>
                  </a:lnTo>
                  <a:lnTo>
                    <a:pt x="153658" y="28462"/>
                  </a:lnTo>
                  <a:lnTo>
                    <a:pt x="151543" y="22376"/>
                  </a:lnTo>
                  <a:lnTo>
                    <a:pt x="148552" y="16013"/>
                  </a:lnTo>
                  <a:lnTo>
                    <a:pt x="148086" y="9603"/>
                  </a:lnTo>
                  <a:lnTo>
                    <a:pt x="142590" y="5021"/>
                  </a:lnTo>
                  <a:lnTo>
                    <a:pt x="136504" y="5640"/>
                  </a:lnTo>
                  <a:lnTo>
                    <a:pt x="137818" y="11469"/>
                  </a:lnTo>
                  <a:lnTo>
                    <a:pt x="130369" y="13984"/>
                  </a:lnTo>
                  <a:lnTo>
                    <a:pt x="124835" y="17022"/>
                  </a:lnTo>
                  <a:lnTo>
                    <a:pt x="119387" y="14432"/>
                  </a:lnTo>
                  <a:lnTo>
                    <a:pt x="113806" y="12308"/>
                  </a:lnTo>
                  <a:lnTo>
                    <a:pt x="108900" y="15784"/>
                  </a:lnTo>
                  <a:lnTo>
                    <a:pt x="105976" y="21194"/>
                  </a:lnTo>
                  <a:lnTo>
                    <a:pt x="102109" y="15403"/>
                  </a:lnTo>
                  <a:lnTo>
                    <a:pt x="96241" y="12736"/>
                  </a:lnTo>
                  <a:lnTo>
                    <a:pt x="92279" y="18203"/>
                  </a:lnTo>
                  <a:lnTo>
                    <a:pt x="86983" y="15479"/>
                  </a:lnTo>
                  <a:lnTo>
                    <a:pt x="86392" y="9336"/>
                  </a:lnTo>
                  <a:lnTo>
                    <a:pt x="80249" y="6983"/>
                  </a:lnTo>
                  <a:lnTo>
                    <a:pt x="73143" y="7354"/>
                  </a:lnTo>
                  <a:lnTo>
                    <a:pt x="66771" y="8698"/>
                  </a:lnTo>
                  <a:lnTo>
                    <a:pt x="60237" y="7231"/>
                  </a:lnTo>
                  <a:lnTo>
                    <a:pt x="53464" y="6583"/>
                  </a:lnTo>
                  <a:lnTo>
                    <a:pt x="46264" y="5183"/>
                  </a:lnTo>
                  <a:lnTo>
                    <a:pt x="42616" y="458"/>
                  </a:lnTo>
                  <a:lnTo>
                    <a:pt x="35814" y="-94"/>
                  </a:lnTo>
                  <a:lnTo>
                    <a:pt x="31119" y="4173"/>
                  </a:lnTo>
                  <a:lnTo>
                    <a:pt x="29871" y="11698"/>
                  </a:lnTo>
                  <a:lnTo>
                    <a:pt x="23946" y="13060"/>
                  </a:lnTo>
                  <a:lnTo>
                    <a:pt x="28633" y="17756"/>
                  </a:lnTo>
                  <a:lnTo>
                    <a:pt x="29976" y="24157"/>
                  </a:lnTo>
                  <a:lnTo>
                    <a:pt x="25299" y="27919"/>
                  </a:lnTo>
                  <a:lnTo>
                    <a:pt x="18241" y="28148"/>
                  </a:lnTo>
                  <a:lnTo>
                    <a:pt x="11497" y="31472"/>
                  </a:lnTo>
                  <a:lnTo>
                    <a:pt x="5268" y="33272"/>
                  </a:lnTo>
                  <a:lnTo>
                    <a:pt x="2248" y="39435"/>
                  </a:lnTo>
                  <a:lnTo>
                    <a:pt x="-266" y="44835"/>
                  </a:lnTo>
                  <a:lnTo>
                    <a:pt x="5525" y="43416"/>
                  </a:lnTo>
                  <a:lnTo>
                    <a:pt x="2220" y="48512"/>
                  </a:lnTo>
                  <a:lnTo>
                    <a:pt x="3382" y="54379"/>
                  </a:lnTo>
                  <a:lnTo>
                    <a:pt x="7249" y="49683"/>
                  </a:lnTo>
                  <a:lnTo>
                    <a:pt x="7182" y="55818"/>
                  </a:lnTo>
                  <a:lnTo>
                    <a:pt x="8440" y="61990"/>
                  </a:lnTo>
                  <a:lnTo>
                    <a:pt x="10687" y="67581"/>
                  </a:lnTo>
                  <a:lnTo>
                    <a:pt x="16564" y="68762"/>
                  </a:lnTo>
                  <a:lnTo>
                    <a:pt x="20775" y="73477"/>
                  </a:lnTo>
                  <a:lnTo>
                    <a:pt x="25737" y="77249"/>
                  </a:lnTo>
                  <a:lnTo>
                    <a:pt x="31347" y="79583"/>
                  </a:lnTo>
                  <a:lnTo>
                    <a:pt x="30223" y="86317"/>
                  </a:lnTo>
                  <a:lnTo>
                    <a:pt x="34795" y="90308"/>
                  </a:lnTo>
                  <a:lnTo>
                    <a:pt x="39044" y="95223"/>
                  </a:lnTo>
                  <a:lnTo>
                    <a:pt x="43082" y="100290"/>
                  </a:lnTo>
                  <a:lnTo>
                    <a:pt x="47683" y="96347"/>
                  </a:lnTo>
                  <a:lnTo>
                    <a:pt x="52274" y="92308"/>
                  </a:lnTo>
                  <a:lnTo>
                    <a:pt x="55284" y="86936"/>
                  </a:lnTo>
                  <a:lnTo>
                    <a:pt x="58503" y="81430"/>
                  </a:lnTo>
                  <a:lnTo>
                    <a:pt x="63009" y="77087"/>
                  </a:lnTo>
                  <a:lnTo>
                    <a:pt x="73877" y="75791"/>
                  </a:lnTo>
                  <a:lnTo>
                    <a:pt x="90155" y="74134"/>
                  </a:lnTo>
                  <a:lnTo>
                    <a:pt x="94326" y="78468"/>
                  </a:lnTo>
                  <a:lnTo>
                    <a:pt x="97355" y="83697"/>
                  </a:lnTo>
                  <a:lnTo>
                    <a:pt x="100270" y="88936"/>
                  </a:lnTo>
                  <a:lnTo>
                    <a:pt x="104547" y="93232"/>
                  </a:lnTo>
                  <a:lnTo>
                    <a:pt x="102861" y="99633"/>
                  </a:lnTo>
                  <a:lnTo>
                    <a:pt x="106652" y="104881"/>
                  </a:lnTo>
                  <a:lnTo>
                    <a:pt x="109167" y="110339"/>
                  </a:lnTo>
                  <a:lnTo>
                    <a:pt x="105318" y="115644"/>
                  </a:lnTo>
                  <a:lnTo>
                    <a:pt x="103471" y="121874"/>
                  </a:lnTo>
                  <a:lnTo>
                    <a:pt x="108995" y="119187"/>
                  </a:lnTo>
                  <a:lnTo>
                    <a:pt x="114167" y="115987"/>
                  </a:lnTo>
                  <a:lnTo>
                    <a:pt x="120454" y="117502"/>
                  </a:lnTo>
                  <a:lnTo>
                    <a:pt x="126093" y="115330"/>
                  </a:lnTo>
                  <a:lnTo>
                    <a:pt x="131570" y="118330"/>
                  </a:lnTo>
                  <a:lnTo>
                    <a:pt x="132836" y="124407"/>
                  </a:lnTo>
                  <a:lnTo>
                    <a:pt x="134618" y="130274"/>
                  </a:lnTo>
                  <a:lnTo>
                    <a:pt x="136894" y="136685"/>
                  </a:lnTo>
                  <a:lnTo>
                    <a:pt x="134951" y="144305"/>
                  </a:lnTo>
                  <a:lnTo>
                    <a:pt x="140485" y="146696"/>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3" name="Freeform: Shape 22">
              <a:extLst>
                <a:ext uri="{FF2B5EF4-FFF2-40B4-BE49-F238E27FC236}">
                  <a16:creationId xmlns:a16="http://schemas.microsoft.com/office/drawing/2014/main" id="{92221870-C33B-B0D8-0480-85B7597D1DD3}"/>
                </a:ext>
              </a:extLst>
            </p:cNvPr>
            <p:cNvSpPr/>
            <p:nvPr/>
          </p:nvSpPr>
          <p:spPr>
            <a:xfrm>
              <a:off x="7275267" y="-72210"/>
              <a:ext cx="7627" cy="15158"/>
            </a:xfrm>
            <a:custGeom>
              <a:avLst/>
              <a:gdLst>
                <a:gd name="connsiteX0" fmla="*/ -266 w 2676"/>
                <a:gd name="connsiteY0" fmla="*/ 5221 h 5315"/>
                <a:gd name="connsiteX1" fmla="*/ 2411 w 2676"/>
                <a:gd name="connsiteY1" fmla="*/ -94 h 5315"/>
                <a:gd name="connsiteX2" fmla="*/ -266 w 2676"/>
                <a:gd name="connsiteY2" fmla="*/ 5221 h 5315"/>
              </a:gdLst>
              <a:ahLst/>
              <a:cxnLst>
                <a:cxn ang="0">
                  <a:pos x="connsiteX0" y="connsiteY0"/>
                </a:cxn>
                <a:cxn ang="0">
                  <a:pos x="connsiteX1" y="connsiteY1"/>
                </a:cxn>
                <a:cxn ang="0">
                  <a:pos x="connsiteX2" y="connsiteY2"/>
                </a:cxn>
              </a:cxnLst>
              <a:rect l="l" t="t" r="r" b="b"/>
              <a:pathLst>
                <a:path w="2676" h="5315">
                  <a:moveTo>
                    <a:pt x="-266" y="5221"/>
                  </a:moveTo>
                  <a:lnTo>
                    <a:pt x="2411" y="-94"/>
                  </a:lnTo>
                  <a:lnTo>
                    <a:pt x="-266" y="5221"/>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4" name="Freeform: Shape 23">
              <a:extLst>
                <a:ext uri="{FF2B5EF4-FFF2-40B4-BE49-F238E27FC236}">
                  <a16:creationId xmlns:a16="http://schemas.microsoft.com/office/drawing/2014/main" id="{89422134-C5A8-0647-F2F7-B984E2701042}"/>
                </a:ext>
              </a:extLst>
            </p:cNvPr>
            <p:cNvSpPr/>
            <p:nvPr/>
          </p:nvSpPr>
          <p:spPr>
            <a:xfrm>
              <a:off x="4351223" y="1565326"/>
              <a:ext cx="423234" cy="503909"/>
            </a:xfrm>
            <a:custGeom>
              <a:avLst/>
              <a:gdLst>
                <a:gd name="connsiteX0" fmla="*/ 23899 w 148504"/>
                <a:gd name="connsiteY0" fmla="*/ 176595 h 176688"/>
                <a:gd name="connsiteX1" fmla="*/ 32376 w 148504"/>
                <a:gd name="connsiteY1" fmla="*/ 172175 h 176688"/>
                <a:gd name="connsiteX2" fmla="*/ 39177 w 148504"/>
                <a:gd name="connsiteY2" fmla="*/ 168194 h 176688"/>
                <a:gd name="connsiteX3" fmla="*/ 46492 w 148504"/>
                <a:gd name="connsiteY3" fmla="*/ 165736 h 176688"/>
                <a:gd name="connsiteX4" fmla="*/ 62837 w 148504"/>
                <a:gd name="connsiteY4" fmla="*/ 158888 h 176688"/>
                <a:gd name="connsiteX5" fmla="*/ 71172 w 148504"/>
                <a:gd name="connsiteY5" fmla="*/ 156916 h 176688"/>
                <a:gd name="connsiteX6" fmla="*/ 100994 w 148504"/>
                <a:gd name="connsiteY6" fmla="*/ 153316 h 176688"/>
                <a:gd name="connsiteX7" fmla="*/ 112100 w 148504"/>
                <a:gd name="connsiteY7" fmla="*/ 151782 h 176688"/>
                <a:gd name="connsiteX8" fmla="*/ 133808 w 148504"/>
                <a:gd name="connsiteY8" fmla="*/ 156354 h 176688"/>
                <a:gd name="connsiteX9" fmla="*/ 142361 w 148504"/>
                <a:gd name="connsiteY9" fmla="*/ 156059 h 176688"/>
                <a:gd name="connsiteX10" fmla="*/ 142123 w 148504"/>
                <a:gd name="connsiteY10" fmla="*/ 148972 h 176688"/>
                <a:gd name="connsiteX11" fmla="*/ 142314 w 148504"/>
                <a:gd name="connsiteY11" fmla="*/ 142210 h 176688"/>
                <a:gd name="connsiteX12" fmla="*/ 135761 w 148504"/>
                <a:gd name="connsiteY12" fmla="*/ 139181 h 176688"/>
                <a:gd name="connsiteX13" fmla="*/ 134532 w 148504"/>
                <a:gd name="connsiteY13" fmla="*/ 131142 h 176688"/>
                <a:gd name="connsiteX14" fmla="*/ 132074 w 148504"/>
                <a:gd name="connsiteY14" fmla="*/ 124093 h 176688"/>
                <a:gd name="connsiteX15" fmla="*/ 130588 w 148504"/>
                <a:gd name="connsiteY15" fmla="*/ 116082 h 176688"/>
                <a:gd name="connsiteX16" fmla="*/ 130731 w 148504"/>
                <a:gd name="connsiteY16" fmla="*/ 108929 h 176688"/>
                <a:gd name="connsiteX17" fmla="*/ 134303 w 148504"/>
                <a:gd name="connsiteY17" fmla="*/ 101890 h 176688"/>
                <a:gd name="connsiteX18" fmla="*/ 137656 w 148504"/>
                <a:gd name="connsiteY18" fmla="*/ 96747 h 176688"/>
                <a:gd name="connsiteX19" fmla="*/ 138361 w 148504"/>
                <a:gd name="connsiteY19" fmla="*/ 87231 h 176688"/>
                <a:gd name="connsiteX20" fmla="*/ 140275 w 148504"/>
                <a:gd name="connsiteY20" fmla="*/ 81593 h 176688"/>
                <a:gd name="connsiteX21" fmla="*/ 144086 w 148504"/>
                <a:gd name="connsiteY21" fmla="*/ 75601 h 176688"/>
                <a:gd name="connsiteX22" fmla="*/ 148238 w 148504"/>
                <a:gd name="connsiteY22" fmla="*/ 70762 h 176688"/>
                <a:gd name="connsiteX23" fmla="*/ 147734 w 148504"/>
                <a:gd name="connsiteY23" fmla="*/ 60476 h 176688"/>
                <a:gd name="connsiteX24" fmla="*/ 146762 w 148504"/>
                <a:gd name="connsiteY24" fmla="*/ 53722 h 176688"/>
                <a:gd name="connsiteX25" fmla="*/ 145105 w 148504"/>
                <a:gd name="connsiteY25" fmla="*/ 47979 h 176688"/>
                <a:gd name="connsiteX26" fmla="*/ 145066 w 148504"/>
                <a:gd name="connsiteY26" fmla="*/ 40826 h 176688"/>
                <a:gd name="connsiteX27" fmla="*/ 144343 w 148504"/>
                <a:gd name="connsiteY27" fmla="*/ 34186 h 176688"/>
                <a:gd name="connsiteX28" fmla="*/ 138018 w 148504"/>
                <a:gd name="connsiteY28" fmla="*/ 31186 h 176688"/>
                <a:gd name="connsiteX29" fmla="*/ 134284 w 148504"/>
                <a:gd name="connsiteY29" fmla="*/ 25633 h 176688"/>
                <a:gd name="connsiteX30" fmla="*/ 128902 w 148504"/>
                <a:gd name="connsiteY30" fmla="*/ 22547 h 176688"/>
                <a:gd name="connsiteX31" fmla="*/ 121768 w 148504"/>
                <a:gd name="connsiteY31" fmla="*/ 21890 h 176688"/>
                <a:gd name="connsiteX32" fmla="*/ 114425 w 148504"/>
                <a:gd name="connsiteY32" fmla="*/ 22690 h 176688"/>
                <a:gd name="connsiteX33" fmla="*/ 107624 w 148504"/>
                <a:gd name="connsiteY33" fmla="*/ 25624 h 176688"/>
                <a:gd name="connsiteX34" fmla="*/ 104147 w 148504"/>
                <a:gd name="connsiteY34" fmla="*/ 31177 h 176688"/>
                <a:gd name="connsiteX35" fmla="*/ 99127 w 148504"/>
                <a:gd name="connsiteY35" fmla="*/ 26995 h 176688"/>
                <a:gd name="connsiteX36" fmla="*/ 92184 w 148504"/>
                <a:gd name="connsiteY36" fmla="*/ 26852 h 176688"/>
                <a:gd name="connsiteX37" fmla="*/ 87983 w 148504"/>
                <a:gd name="connsiteY37" fmla="*/ 21566 h 176688"/>
                <a:gd name="connsiteX38" fmla="*/ 85631 w 148504"/>
                <a:gd name="connsiteY38" fmla="*/ 15070 h 176688"/>
                <a:gd name="connsiteX39" fmla="*/ 79963 w 148504"/>
                <a:gd name="connsiteY39" fmla="*/ 11184 h 176688"/>
                <a:gd name="connsiteX40" fmla="*/ 73353 w 148504"/>
                <a:gd name="connsiteY40" fmla="*/ 7221 h 176688"/>
                <a:gd name="connsiteX41" fmla="*/ 66828 w 148504"/>
                <a:gd name="connsiteY41" fmla="*/ 8926 h 176688"/>
                <a:gd name="connsiteX42" fmla="*/ 62761 w 148504"/>
                <a:gd name="connsiteY42" fmla="*/ 14517 h 176688"/>
                <a:gd name="connsiteX43" fmla="*/ 56970 w 148504"/>
                <a:gd name="connsiteY43" fmla="*/ 12746 h 176688"/>
                <a:gd name="connsiteX44" fmla="*/ 58418 w 148504"/>
                <a:gd name="connsiteY44" fmla="*/ 6497 h 176688"/>
                <a:gd name="connsiteX45" fmla="*/ 57217 w 148504"/>
                <a:gd name="connsiteY45" fmla="*/ -94 h 176688"/>
                <a:gd name="connsiteX46" fmla="*/ 51845 w 148504"/>
                <a:gd name="connsiteY46" fmla="*/ 4459 h 176688"/>
                <a:gd name="connsiteX47" fmla="*/ 45740 w 148504"/>
                <a:gd name="connsiteY47" fmla="*/ 3364 h 176688"/>
                <a:gd name="connsiteX48" fmla="*/ 46445 w 148504"/>
                <a:gd name="connsiteY48" fmla="*/ 9974 h 176688"/>
                <a:gd name="connsiteX49" fmla="*/ 39111 w 148504"/>
                <a:gd name="connsiteY49" fmla="*/ 10231 h 176688"/>
                <a:gd name="connsiteX50" fmla="*/ 36815 w 148504"/>
                <a:gd name="connsiteY50" fmla="*/ 15927 h 176688"/>
                <a:gd name="connsiteX51" fmla="*/ 28261 w 148504"/>
                <a:gd name="connsiteY51" fmla="*/ 13260 h 176688"/>
                <a:gd name="connsiteX52" fmla="*/ 26328 w 148504"/>
                <a:gd name="connsiteY52" fmla="*/ 7488 h 176688"/>
                <a:gd name="connsiteX53" fmla="*/ 20108 w 148504"/>
                <a:gd name="connsiteY53" fmla="*/ 8945 h 176688"/>
                <a:gd name="connsiteX54" fmla="*/ 16584 w 148504"/>
                <a:gd name="connsiteY54" fmla="*/ 14393 h 176688"/>
                <a:gd name="connsiteX55" fmla="*/ 9917 w 148504"/>
                <a:gd name="connsiteY55" fmla="*/ 18480 h 176688"/>
                <a:gd name="connsiteX56" fmla="*/ 10117 w 148504"/>
                <a:gd name="connsiteY56" fmla="*/ 25595 h 176688"/>
                <a:gd name="connsiteX57" fmla="*/ 9821 w 148504"/>
                <a:gd name="connsiteY57" fmla="*/ 34301 h 176688"/>
                <a:gd name="connsiteX58" fmla="*/ 16365 w 148504"/>
                <a:gd name="connsiteY58" fmla="*/ 36092 h 176688"/>
                <a:gd name="connsiteX59" fmla="*/ 14774 w 148504"/>
                <a:gd name="connsiteY59" fmla="*/ 42273 h 176688"/>
                <a:gd name="connsiteX60" fmla="*/ 14736 w 148504"/>
                <a:gd name="connsiteY60" fmla="*/ 49588 h 176688"/>
                <a:gd name="connsiteX61" fmla="*/ 19251 w 148504"/>
                <a:gd name="connsiteY61" fmla="*/ 57304 h 176688"/>
                <a:gd name="connsiteX62" fmla="*/ 20622 w 148504"/>
                <a:gd name="connsiteY62" fmla="*/ 63447 h 176688"/>
                <a:gd name="connsiteX63" fmla="*/ 14536 w 148504"/>
                <a:gd name="connsiteY63" fmla="*/ 63000 h 176688"/>
                <a:gd name="connsiteX64" fmla="*/ 7925 w 148504"/>
                <a:gd name="connsiteY64" fmla="*/ 61523 h 176688"/>
                <a:gd name="connsiteX65" fmla="*/ 6535 w 148504"/>
                <a:gd name="connsiteY65" fmla="*/ 69038 h 176688"/>
                <a:gd name="connsiteX66" fmla="*/ 13040 w 148504"/>
                <a:gd name="connsiteY66" fmla="*/ 70239 h 176688"/>
                <a:gd name="connsiteX67" fmla="*/ 9183 w 148504"/>
                <a:gd name="connsiteY67" fmla="*/ 78840 h 176688"/>
                <a:gd name="connsiteX68" fmla="*/ 8049 w 148504"/>
                <a:gd name="connsiteY68" fmla="*/ 86669 h 176688"/>
                <a:gd name="connsiteX69" fmla="*/ 1906 w 148504"/>
                <a:gd name="connsiteY69" fmla="*/ 86679 h 176688"/>
                <a:gd name="connsiteX70" fmla="*/ 2639 w 148504"/>
                <a:gd name="connsiteY70" fmla="*/ 94242 h 176688"/>
                <a:gd name="connsiteX71" fmla="*/ 4868 w 148504"/>
                <a:gd name="connsiteY71" fmla="*/ 100576 h 176688"/>
                <a:gd name="connsiteX72" fmla="*/ 4049 w 148504"/>
                <a:gd name="connsiteY72" fmla="*/ 106529 h 176688"/>
                <a:gd name="connsiteX73" fmla="*/ -266 w 148504"/>
                <a:gd name="connsiteY73" fmla="*/ 114416 h 176688"/>
                <a:gd name="connsiteX74" fmla="*/ 2591 w 148504"/>
                <a:gd name="connsiteY74" fmla="*/ 119731 h 176688"/>
                <a:gd name="connsiteX75" fmla="*/ 7973 w 148504"/>
                <a:gd name="connsiteY75" fmla="*/ 123341 h 176688"/>
                <a:gd name="connsiteX76" fmla="*/ 14736 w 148504"/>
                <a:gd name="connsiteY76" fmla="*/ 123198 h 176688"/>
                <a:gd name="connsiteX77" fmla="*/ 17432 w 148504"/>
                <a:gd name="connsiteY77" fmla="*/ 128837 h 176688"/>
                <a:gd name="connsiteX78" fmla="*/ 22670 w 148504"/>
                <a:gd name="connsiteY78" fmla="*/ 133970 h 176688"/>
                <a:gd name="connsiteX79" fmla="*/ 26385 w 148504"/>
                <a:gd name="connsiteY79" fmla="*/ 139552 h 176688"/>
                <a:gd name="connsiteX80" fmla="*/ 26614 w 148504"/>
                <a:gd name="connsiteY80" fmla="*/ 146944 h 176688"/>
                <a:gd name="connsiteX81" fmla="*/ 25375 w 148504"/>
                <a:gd name="connsiteY81" fmla="*/ 153306 h 176688"/>
                <a:gd name="connsiteX82" fmla="*/ 23137 w 148504"/>
                <a:gd name="connsiteY82" fmla="*/ 159602 h 176688"/>
                <a:gd name="connsiteX83" fmla="*/ 22670 w 148504"/>
                <a:gd name="connsiteY83" fmla="*/ 168499 h 176688"/>
                <a:gd name="connsiteX84" fmla="*/ 23575 w 148504"/>
                <a:gd name="connsiteY84" fmla="*/ 174537 h 17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48504" h="176688">
                  <a:moveTo>
                    <a:pt x="23899" y="176595"/>
                  </a:moveTo>
                  <a:lnTo>
                    <a:pt x="32376" y="172175"/>
                  </a:lnTo>
                  <a:lnTo>
                    <a:pt x="39177" y="168194"/>
                  </a:lnTo>
                  <a:lnTo>
                    <a:pt x="46492" y="165736"/>
                  </a:lnTo>
                  <a:lnTo>
                    <a:pt x="62837" y="158888"/>
                  </a:lnTo>
                  <a:lnTo>
                    <a:pt x="71172" y="156916"/>
                  </a:lnTo>
                  <a:lnTo>
                    <a:pt x="100994" y="153316"/>
                  </a:lnTo>
                  <a:lnTo>
                    <a:pt x="112100" y="151782"/>
                  </a:lnTo>
                  <a:lnTo>
                    <a:pt x="133808" y="156354"/>
                  </a:lnTo>
                  <a:lnTo>
                    <a:pt x="142361" y="156059"/>
                  </a:lnTo>
                  <a:lnTo>
                    <a:pt x="142123" y="148972"/>
                  </a:lnTo>
                  <a:lnTo>
                    <a:pt x="142314" y="142210"/>
                  </a:lnTo>
                  <a:lnTo>
                    <a:pt x="135761" y="139181"/>
                  </a:lnTo>
                  <a:lnTo>
                    <a:pt x="134532" y="131142"/>
                  </a:lnTo>
                  <a:lnTo>
                    <a:pt x="132074" y="124093"/>
                  </a:lnTo>
                  <a:lnTo>
                    <a:pt x="130588" y="116082"/>
                  </a:lnTo>
                  <a:lnTo>
                    <a:pt x="130731" y="108929"/>
                  </a:lnTo>
                  <a:lnTo>
                    <a:pt x="134303" y="101890"/>
                  </a:lnTo>
                  <a:lnTo>
                    <a:pt x="137656" y="96747"/>
                  </a:lnTo>
                  <a:lnTo>
                    <a:pt x="138361" y="87231"/>
                  </a:lnTo>
                  <a:lnTo>
                    <a:pt x="140275" y="81593"/>
                  </a:lnTo>
                  <a:lnTo>
                    <a:pt x="144086" y="75601"/>
                  </a:lnTo>
                  <a:lnTo>
                    <a:pt x="148238" y="70762"/>
                  </a:lnTo>
                  <a:lnTo>
                    <a:pt x="147734" y="60476"/>
                  </a:lnTo>
                  <a:lnTo>
                    <a:pt x="146762" y="53722"/>
                  </a:lnTo>
                  <a:lnTo>
                    <a:pt x="145105" y="47979"/>
                  </a:lnTo>
                  <a:lnTo>
                    <a:pt x="145066" y="40826"/>
                  </a:lnTo>
                  <a:lnTo>
                    <a:pt x="144343" y="34186"/>
                  </a:lnTo>
                  <a:lnTo>
                    <a:pt x="138018" y="31186"/>
                  </a:lnTo>
                  <a:lnTo>
                    <a:pt x="134284" y="25633"/>
                  </a:lnTo>
                  <a:lnTo>
                    <a:pt x="128902" y="22547"/>
                  </a:lnTo>
                  <a:lnTo>
                    <a:pt x="121768" y="21890"/>
                  </a:lnTo>
                  <a:lnTo>
                    <a:pt x="114425" y="22690"/>
                  </a:lnTo>
                  <a:lnTo>
                    <a:pt x="107624" y="25624"/>
                  </a:lnTo>
                  <a:lnTo>
                    <a:pt x="104147" y="31177"/>
                  </a:lnTo>
                  <a:lnTo>
                    <a:pt x="99127" y="26995"/>
                  </a:lnTo>
                  <a:lnTo>
                    <a:pt x="92184" y="26852"/>
                  </a:lnTo>
                  <a:lnTo>
                    <a:pt x="87983" y="21566"/>
                  </a:lnTo>
                  <a:lnTo>
                    <a:pt x="85631" y="15070"/>
                  </a:lnTo>
                  <a:lnTo>
                    <a:pt x="79963" y="11184"/>
                  </a:lnTo>
                  <a:lnTo>
                    <a:pt x="73353" y="7221"/>
                  </a:lnTo>
                  <a:lnTo>
                    <a:pt x="66828" y="8926"/>
                  </a:lnTo>
                  <a:lnTo>
                    <a:pt x="62761" y="14517"/>
                  </a:lnTo>
                  <a:lnTo>
                    <a:pt x="56970" y="12746"/>
                  </a:lnTo>
                  <a:lnTo>
                    <a:pt x="58418" y="6497"/>
                  </a:lnTo>
                  <a:lnTo>
                    <a:pt x="57217" y="-94"/>
                  </a:lnTo>
                  <a:lnTo>
                    <a:pt x="51845" y="4459"/>
                  </a:lnTo>
                  <a:lnTo>
                    <a:pt x="45740" y="3364"/>
                  </a:lnTo>
                  <a:lnTo>
                    <a:pt x="46445" y="9974"/>
                  </a:lnTo>
                  <a:lnTo>
                    <a:pt x="39111" y="10231"/>
                  </a:lnTo>
                  <a:lnTo>
                    <a:pt x="36815" y="15927"/>
                  </a:lnTo>
                  <a:lnTo>
                    <a:pt x="28261" y="13260"/>
                  </a:lnTo>
                  <a:lnTo>
                    <a:pt x="26328" y="7488"/>
                  </a:lnTo>
                  <a:lnTo>
                    <a:pt x="20108" y="8945"/>
                  </a:lnTo>
                  <a:lnTo>
                    <a:pt x="16584" y="14393"/>
                  </a:lnTo>
                  <a:lnTo>
                    <a:pt x="9917" y="18480"/>
                  </a:lnTo>
                  <a:lnTo>
                    <a:pt x="10117" y="25595"/>
                  </a:lnTo>
                  <a:lnTo>
                    <a:pt x="9821" y="34301"/>
                  </a:lnTo>
                  <a:lnTo>
                    <a:pt x="16365" y="36092"/>
                  </a:lnTo>
                  <a:lnTo>
                    <a:pt x="14774" y="42273"/>
                  </a:lnTo>
                  <a:lnTo>
                    <a:pt x="14736" y="49588"/>
                  </a:lnTo>
                  <a:lnTo>
                    <a:pt x="19251" y="57304"/>
                  </a:lnTo>
                  <a:lnTo>
                    <a:pt x="20622" y="63447"/>
                  </a:lnTo>
                  <a:lnTo>
                    <a:pt x="14536" y="63000"/>
                  </a:lnTo>
                  <a:lnTo>
                    <a:pt x="7925" y="61523"/>
                  </a:lnTo>
                  <a:lnTo>
                    <a:pt x="6535" y="69038"/>
                  </a:lnTo>
                  <a:lnTo>
                    <a:pt x="13040" y="70239"/>
                  </a:lnTo>
                  <a:lnTo>
                    <a:pt x="9183" y="78840"/>
                  </a:lnTo>
                  <a:lnTo>
                    <a:pt x="8049" y="86669"/>
                  </a:lnTo>
                  <a:lnTo>
                    <a:pt x="1906" y="86679"/>
                  </a:lnTo>
                  <a:lnTo>
                    <a:pt x="2639" y="94242"/>
                  </a:lnTo>
                  <a:lnTo>
                    <a:pt x="4868" y="100576"/>
                  </a:lnTo>
                  <a:lnTo>
                    <a:pt x="4049" y="106529"/>
                  </a:lnTo>
                  <a:lnTo>
                    <a:pt x="-266" y="114416"/>
                  </a:lnTo>
                  <a:lnTo>
                    <a:pt x="2591" y="119731"/>
                  </a:lnTo>
                  <a:lnTo>
                    <a:pt x="7973" y="123341"/>
                  </a:lnTo>
                  <a:lnTo>
                    <a:pt x="14736" y="123198"/>
                  </a:lnTo>
                  <a:lnTo>
                    <a:pt x="17432" y="128837"/>
                  </a:lnTo>
                  <a:lnTo>
                    <a:pt x="22670" y="133970"/>
                  </a:lnTo>
                  <a:lnTo>
                    <a:pt x="26385" y="139552"/>
                  </a:lnTo>
                  <a:lnTo>
                    <a:pt x="26614" y="146944"/>
                  </a:lnTo>
                  <a:lnTo>
                    <a:pt x="25375" y="153306"/>
                  </a:lnTo>
                  <a:lnTo>
                    <a:pt x="23137" y="159602"/>
                  </a:lnTo>
                  <a:lnTo>
                    <a:pt x="22670" y="168499"/>
                  </a:lnTo>
                  <a:lnTo>
                    <a:pt x="23575" y="174537"/>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5" name="Freeform: Shape 24">
              <a:extLst>
                <a:ext uri="{FF2B5EF4-FFF2-40B4-BE49-F238E27FC236}">
                  <a16:creationId xmlns:a16="http://schemas.microsoft.com/office/drawing/2014/main" id="{AA253135-0826-A70C-7D15-750AC98FFCB9}"/>
                </a:ext>
              </a:extLst>
            </p:cNvPr>
            <p:cNvSpPr/>
            <p:nvPr/>
          </p:nvSpPr>
          <p:spPr>
            <a:xfrm>
              <a:off x="7357327" y="2022160"/>
              <a:ext cx="563687" cy="762899"/>
            </a:xfrm>
            <a:custGeom>
              <a:avLst/>
              <a:gdLst>
                <a:gd name="connsiteX0" fmla="*/ 130513 w 197786"/>
                <a:gd name="connsiteY0" fmla="*/ 267406 h 267499"/>
                <a:gd name="connsiteX1" fmla="*/ 135656 w 197786"/>
                <a:gd name="connsiteY1" fmla="*/ 264339 h 267499"/>
                <a:gd name="connsiteX2" fmla="*/ 140542 w 197786"/>
                <a:gd name="connsiteY2" fmla="*/ 254061 h 267499"/>
                <a:gd name="connsiteX3" fmla="*/ 143447 w 197786"/>
                <a:gd name="connsiteY3" fmla="*/ 248508 h 267499"/>
                <a:gd name="connsiteX4" fmla="*/ 146095 w 197786"/>
                <a:gd name="connsiteY4" fmla="*/ 242965 h 267499"/>
                <a:gd name="connsiteX5" fmla="*/ 149448 w 197786"/>
                <a:gd name="connsiteY5" fmla="*/ 231859 h 267499"/>
                <a:gd name="connsiteX6" fmla="*/ 153439 w 197786"/>
                <a:gd name="connsiteY6" fmla="*/ 226306 h 267499"/>
                <a:gd name="connsiteX7" fmla="*/ 155992 w 197786"/>
                <a:gd name="connsiteY7" fmla="*/ 220772 h 267499"/>
                <a:gd name="connsiteX8" fmla="*/ 156183 w 197786"/>
                <a:gd name="connsiteY8" fmla="*/ 212151 h 267499"/>
                <a:gd name="connsiteX9" fmla="*/ 162564 w 197786"/>
                <a:gd name="connsiteY9" fmla="*/ 207875 h 267499"/>
                <a:gd name="connsiteX10" fmla="*/ 170822 w 197786"/>
                <a:gd name="connsiteY10" fmla="*/ 204093 h 267499"/>
                <a:gd name="connsiteX11" fmla="*/ 173708 w 197786"/>
                <a:gd name="connsiteY11" fmla="*/ 198502 h 267499"/>
                <a:gd name="connsiteX12" fmla="*/ 174899 w 197786"/>
                <a:gd name="connsiteY12" fmla="*/ 191301 h 267499"/>
                <a:gd name="connsiteX13" fmla="*/ 181138 w 197786"/>
                <a:gd name="connsiteY13" fmla="*/ 190025 h 267499"/>
                <a:gd name="connsiteX14" fmla="*/ 189558 w 197786"/>
                <a:gd name="connsiteY14" fmla="*/ 183605 h 267499"/>
                <a:gd name="connsiteX15" fmla="*/ 175728 w 197786"/>
                <a:gd name="connsiteY15" fmla="*/ 160621 h 267499"/>
                <a:gd name="connsiteX16" fmla="*/ 175976 w 197786"/>
                <a:gd name="connsiteY16" fmla="*/ 137476 h 267499"/>
                <a:gd name="connsiteX17" fmla="*/ 175709 w 197786"/>
                <a:gd name="connsiteY17" fmla="*/ 110634 h 267499"/>
                <a:gd name="connsiteX18" fmla="*/ 175451 w 197786"/>
                <a:gd name="connsiteY18" fmla="*/ 88679 h 267499"/>
                <a:gd name="connsiteX19" fmla="*/ 175051 w 197786"/>
                <a:gd name="connsiteY19" fmla="*/ 58961 h 267499"/>
                <a:gd name="connsiteX20" fmla="*/ 183376 w 197786"/>
                <a:gd name="connsiteY20" fmla="*/ 49645 h 267499"/>
                <a:gd name="connsiteX21" fmla="*/ 187196 w 197786"/>
                <a:gd name="connsiteY21" fmla="*/ 43273 h 267499"/>
                <a:gd name="connsiteX22" fmla="*/ 190444 w 197786"/>
                <a:gd name="connsiteY22" fmla="*/ 38053 h 267499"/>
                <a:gd name="connsiteX23" fmla="*/ 193987 w 197786"/>
                <a:gd name="connsiteY23" fmla="*/ 32567 h 267499"/>
                <a:gd name="connsiteX24" fmla="*/ 197521 w 197786"/>
                <a:gd name="connsiteY24" fmla="*/ 26919 h 267499"/>
                <a:gd name="connsiteX25" fmla="*/ 188539 w 197786"/>
                <a:gd name="connsiteY25" fmla="*/ 26938 h 267499"/>
                <a:gd name="connsiteX26" fmla="*/ 180843 w 197786"/>
                <a:gd name="connsiteY26" fmla="*/ 27585 h 267499"/>
                <a:gd name="connsiteX27" fmla="*/ 171985 w 197786"/>
                <a:gd name="connsiteY27" fmla="*/ 20918 h 267499"/>
                <a:gd name="connsiteX28" fmla="*/ 165908 w 197786"/>
                <a:gd name="connsiteY28" fmla="*/ 20366 h 267499"/>
                <a:gd name="connsiteX29" fmla="*/ 153163 w 197786"/>
                <a:gd name="connsiteY29" fmla="*/ 26442 h 267499"/>
                <a:gd name="connsiteX30" fmla="*/ 146810 w 197786"/>
                <a:gd name="connsiteY30" fmla="*/ 30129 h 267499"/>
                <a:gd name="connsiteX31" fmla="*/ 144609 w 197786"/>
                <a:gd name="connsiteY31" fmla="*/ 35711 h 267499"/>
                <a:gd name="connsiteX32" fmla="*/ 140038 w 197786"/>
                <a:gd name="connsiteY32" fmla="*/ 40549 h 267499"/>
                <a:gd name="connsiteX33" fmla="*/ 133655 w 197786"/>
                <a:gd name="connsiteY33" fmla="*/ 41330 h 267499"/>
                <a:gd name="connsiteX34" fmla="*/ 127588 w 197786"/>
                <a:gd name="connsiteY34" fmla="*/ 39235 h 267499"/>
                <a:gd name="connsiteX35" fmla="*/ 118273 w 197786"/>
                <a:gd name="connsiteY35" fmla="*/ 38053 h 267499"/>
                <a:gd name="connsiteX36" fmla="*/ 111682 w 197786"/>
                <a:gd name="connsiteY36" fmla="*/ 37491 h 267499"/>
                <a:gd name="connsiteX37" fmla="*/ 103766 w 197786"/>
                <a:gd name="connsiteY37" fmla="*/ 37387 h 267499"/>
                <a:gd name="connsiteX38" fmla="*/ 97527 w 197786"/>
                <a:gd name="connsiteY38" fmla="*/ 32062 h 267499"/>
                <a:gd name="connsiteX39" fmla="*/ 90012 w 197786"/>
                <a:gd name="connsiteY39" fmla="*/ 26471 h 267499"/>
                <a:gd name="connsiteX40" fmla="*/ 78706 w 197786"/>
                <a:gd name="connsiteY40" fmla="*/ 18327 h 267499"/>
                <a:gd name="connsiteX41" fmla="*/ 71610 w 197786"/>
                <a:gd name="connsiteY41" fmla="*/ 14022 h 267499"/>
                <a:gd name="connsiteX42" fmla="*/ 51645 w 197786"/>
                <a:gd name="connsiteY42" fmla="*/ 14022 h 267499"/>
                <a:gd name="connsiteX43" fmla="*/ 10516 w 197786"/>
                <a:gd name="connsiteY43" fmla="*/ 9507 h 267499"/>
                <a:gd name="connsiteX44" fmla="*/ 677 w 197786"/>
                <a:gd name="connsiteY44" fmla="*/ 19947 h 267499"/>
                <a:gd name="connsiteX45" fmla="*/ 2525 w 197786"/>
                <a:gd name="connsiteY45" fmla="*/ 26176 h 267499"/>
                <a:gd name="connsiteX46" fmla="*/ 6688 w 197786"/>
                <a:gd name="connsiteY46" fmla="*/ 31129 h 267499"/>
                <a:gd name="connsiteX47" fmla="*/ 12622 w 197786"/>
                <a:gd name="connsiteY47" fmla="*/ 35615 h 267499"/>
                <a:gd name="connsiteX48" fmla="*/ 11516 w 197786"/>
                <a:gd name="connsiteY48" fmla="*/ 41692 h 267499"/>
                <a:gd name="connsiteX49" fmla="*/ 12555 w 197786"/>
                <a:gd name="connsiteY49" fmla="*/ 49150 h 267499"/>
                <a:gd name="connsiteX50" fmla="*/ 16174 w 197786"/>
                <a:gd name="connsiteY50" fmla="*/ 56294 h 267499"/>
                <a:gd name="connsiteX51" fmla="*/ 20613 w 197786"/>
                <a:gd name="connsiteY51" fmla="*/ 62590 h 267499"/>
                <a:gd name="connsiteX52" fmla="*/ 25118 w 197786"/>
                <a:gd name="connsiteY52" fmla="*/ 68848 h 267499"/>
                <a:gd name="connsiteX53" fmla="*/ 24966 w 197786"/>
                <a:gd name="connsiteY53" fmla="*/ 76087 h 267499"/>
                <a:gd name="connsiteX54" fmla="*/ 26385 w 197786"/>
                <a:gd name="connsiteY54" fmla="*/ 83002 h 267499"/>
                <a:gd name="connsiteX55" fmla="*/ 25975 w 197786"/>
                <a:gd name="connsiteY55" fmla="*/ 91841 h 267499"/>
                <a:gd name="connsiteX56" fmla="*/ 21566 w 197786"/>
                <a:gd name="connsiteY56" fmla="*/ 98575 h 267499"/>
                <a:gd name="connsiteX57" fmla="*/ 18270 w 197786"/>
                <a:gd name="connsiteY57" fmla="*/ 104119 h 267499"/>
                <a:gd name="connsiteX58" fmla="*/ 13888 w 197786"/>
                <a:gd name="connsiteY58" fmla="*/ 109700 h 267499"/>
                <a:gd name="connsiteX59" fmla="*/ 11659 w 197786"/>
                <a:gd name="connsiteY59" fmla="*/ 115263 h 267499"/>
                <a:gd name="connsiteX60" fmla="*/ 6011 w 197786"/>
                <a:gd name="connsiteY60" fmla="*/ 120816 h 267499"/>
                <a:gd name="connsiteX61" fmla="*/ 4373 w 197786"/>
                <a:gd name="connsiteY61" fmla="*/ 127836 h 267499"/>
                <a:gd name="connsiteX62" fmla="*/ -266 w 197786"/>
                <a:gd name="connsiteY62" fmla="*/ 134580 h 267499"/>
                <a:gd name="connsiteX63" fmla="*/ 1554 w 197786"/>
                <a:gd name="connsiteY63" fmla="*/ 141190 h 267499"/>
                <a:gd name="connsiteX64" fmla="*/ 1 w 197786"/>
                <a:gd name="connsiteY64" fmla="*/ 153468 h 267499"/>
                <a:gd name="connsiteX65" fmla="*/ 87 w 197786"/>
                <a:gd name="connsiteY65" fmla="*/ 165231 h 267499"/>
                <a:gd name="connsiteX66" fmla="*/ 46569 w 197786"/>
                <a:gd name="connsiteY66" fmla="*/ 192978 h 267499"/>
                <a:gd name="connsiteX67" fmla="*/ 55170 w 197786"/>
                <a:gd name="connsiteY67" fmla="*/ 198464 h 267499"/>
                <a:gd name="connsiteX68" fmla="*/ 89879 w 197786"/>
                <a:gd name="connsiteY68" fmla="*/ 220419 h 267499"/>
                <a:gd name="connsiteX69" fmla="*/ 93460 w 197786"/>
                <a:gd name="connsiteY69" fmla="*/ 229382 h 267499"/>
                <a:gd name="connsiteX70" fmla="*/ 90764 w 197786"/>
                <a:gd name="connsiteY70" fmla="*/ 235059 h 267499"/>
                <a:gd name="connsiteX71" fmla="*/ 95156 w 197786"/>
                <a:gd name="connsiteY71" fmla="*/ 239384 h 267499"/>
                <a:gd name="connsiteX72" fmla="*/ 108376 w 197786"/>
                <a:gd name="connsiteY72" fmla="*/ 249966 h 267499"/>
                <a:gd name="connsiteX73" fmla="*/ 120473 w 197786"/>
                <a:gd name="connsiteY73" fmla="*/ 259453 h 267499"/>
                <a:gd name="connsiteX74" fmla="*/ 130513 w 197786"/>
                <a:gd name="connsiteY74" fmla="*/ 267406 h 267499"/>
                <a:gd name="connsiteX75" fmla="*/ 10516 w 197786"/>
                <a:gd name="connsiteY75" fmla="*/ 9507 h 267499"/>
                <a:gd name="connsiteX76" fmla="*/ 38368 w 197786"/>
                <a:gd name="connsiteY76" fmla="*/ 9307 h 267499"/>
                <a:gd name="connsiteX77" fmla="*/ 37492 w 197786"/>
                <a:gd name="connsiteY77" fmla="*/ 1068 h 267499"/>
                <a:gd name="connsiteX78" fmla="*/ 30538 w 197786"/>
                <a:gd name="connsiteY78" fmla="*/ -94 h 267499"/>
                <a:gd name="connsiteX79" fmla="*/ 18879 w 197786"/>
                <a:gd name="connsiteY79" fmla="*/ 4135 h 267499"/>
                <a:gd name="connsiteX80" fmla="*/ 10516 w 197786"/>
                <a:gd name="connsiteY80" fmla="*/ 9507 h 26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97786" h="267499">
                  <a:moveTo>
                    <a:pt x="130513" y="267406"/>
                  </a:moveTo>
                  <a:lnTo>
                    <a:pt x="135656" y="264339"/>
                  </a:lnTo>
                  <a:lnTo>
                    <a:pt x="140542" y="254061"/>
                  </a:lnTo>
                  <a:lnTo>
                    <a:pt x="143447" y="248508"/>
                  </a:lnTo>
                  <a:lnTo>
                    <a:pt x="146095" y="242965"/>
                  </a:lnTo>
                  <a:lnTo>
                    <a:pt x="149448" y="231859"/>
                  </a:lnTo>
                  <a:lnTo>
                    <a:pt x="153439" y="226306"/>
                  </a:lnTo>
                  <a:lnTo>
                    <a:pt x="155992" y="220772"/>
                  </a:lnTo>
                  <a:lnTo>
                    <a:pt x="156183" y="212151"/>
                  </a:lnTo>
                  <a:lnTo>
                    <a:pt x="162564" y="207875"/>
                  </a:lnTo>
                  <a:lnTo>
                    <a:pt x="170822" y="204093"/>
                  </a:lnTo>
                  <a:lnTo>
                    <a:pt x="173708" y="198502"/>
                  </a:lnTo>
                  <a:lnTo>
                    <a:pt x="174899" y="191301"/>
                  </a:lnTo>
                  <a:lnTo>
                    <a:pt x="181138" y="190025"/>
                  </a:lnTo>
                  <a:lnTo>
                    <a:pt x="189558" y="183605"/>
                  </a:lnTo>
                  <a:lnTo>
                    <a:pt x="175728" y="160621"/>
                  </a:lnTo>
                  <a:lnTo>
                    <a:pt x="175976" y="137476"/>
                  </a:lnTo>
                  <a:lnTo>
                    <a:pt x="175709" y="110634"/>
                  </a:lnTo>
                  <a:lnTo>
                    <a:pt x="175451" y="88679"/>
                  </a:lnTo>
                  <a:lnTo>
                    <a:pt x="175051" y="58961"/>
                  </a:lnTo>
                  <a:lnTo>
                    <a:pt x="183376" y="49645"/>
                  </a:lnTo>
                  <a:lnTo>
                    <a:pt x="187196" y="43273"/>
                  </a:lnTo>
                  <a:lnTo>
                    <a:pt x="190444" y="38053"/>
                  </a:lnTo>
                  <a:lnTo>
                    <a:pt x="193987" y="32567"/>
                  </a:lnTo>
                  <a:lnTo>
                    <a:pt x="197521" y="26919"/>
                  </a:lnTo>
                  <a:lnTo>
                    <a:pt x="188539" y="26938"/>
                  </a:lnTo>
                  <a:lnTo>
                    <a:pt x="180843" y="27585"/>
                  </a:lnTo>
                  <a:lnTo>
                    <a:pt x="171985" y="20918"/>
                  </a:lnTo>
                  <a:lnTo>
                    <a:pt x="165908" y="20366"/>
                  </a:lnTo>
                  <a:lnTo>
                    <a:pt x="153163" y="26442"/>
                  </a:lnTo>
                  <a:lnTo>
                    <a:pt x="146810" y="30129"/>
                  </a:lnTo>
                  <a:lnTo>
                    <a:pt x="144609" y="35711"/>
                  </a:lnTo>
                  <a:lnTo>
                    <a:pt x="140038" y="40549"/>
                  </a:lnTo>
                  <a:lnTo>
                    <a:pt x="133655" y="41330"/>
                  </a:lnTo>
                  <a:lnTo>
                    <a:pt x="127588" y="39235"/>
                  </a:lnTo>
                  <a:lnTo>
                    <a:pt x="118273" y="38053"/>
                  </a:lnTo>
                  <a:lnTo>
                    <a:pt x="111682" y="37491"/>
                  </a:lnTo>
                  <a:lnTo>
                    <a:pt x="103766" y="37387"/>
                  </a:lnTo>
                  <a:lnTo>
                    <a:pt x="97527" y="32062"/>
                  </a:lnTo>
                  <a:lnTo>
                    <a:pt x="90012" y="26471"/>
                  </a:lnTo>
                  <a:lnTo>
                    <a:pt x="78706" y="18327"/>
                  </a:lnTo>
                  <a:lnTo>
                    <a:pt x="71610" y="14022"/>
                  </a:lnTo>
                  <a:lnTo>
                    <a:pt x="51645" y="14022"/>
                  </a:lnTo>
                  <a:lnTo>
                    <a:pt x="10516" y="9507"/>
                  </a:lnTo>
                  <a:lnTo>
                    <a:pt x="677" y="19947"/>
                  </a:lnTo>
                  <a:lnTo>
                    <a:pt x="2525" y="26176"/>
                  </a:lnTo>
                  <a:lnTo>
                    <a:pt x="6688" y="31129"/>
                  </a:lnTo>
                  <a:lnTo>
                    <a:pt x="12622" y="35615"/>
                  </a:lnTo>
                  <a:lnTo>
                    <a:pt x="11516" y="41692"/>
                  </a:lnTo>
                  <a:lnTo>
                    <a:pt x="12555" y="49150"/>
                  </a:lnTo>
                  <a:lnTo>
                    <a:pt x="16174" y="56294"/>
                  </a:lnTo>
                  <a:lnTo>
                    <a:pt x="20613" y="62590"/>
                  </a:lnTo>
                  <a:lnTo>
                    <a:pt x="25118" y="68848"/>
                  </a:lnTo>
                  <a:lnTo>
                    <a:pt x="24966" y="76087"/>
                  </a:lnTo>
                  <a:lnTo>
                    <a:pt x="26385" y="83002"/>
                  </a:lnTo>
                  <a:lnTo>
                    <a:pt x="25975" y="91841"/>
                  </a:lnTo>
                  <a:lnTo>
                    <a:pt x="21566" y="98575"/>
                  </a:lnTo>
                  <a:lnTo>
                    <a:pt x="18270" y="104119"/>
                  </a:lnTo>
                  <a:lnTo>
                    <a:pt x="13888" y="109700"/>
                  </a:lnTo>
                  <a:lnTo>
                    <a:pt x="11659" y="115263"/>
                  </a:lnTo>
                  <a:lnTo>
                    <a:pt x="6011" y="120816"/>
                  </a:lnTo>
                  <a:lnTo>
                    <a:pt x="4373" y="127836"/>
                  </a:lnTo>
                  <a:lnTo>
                    <a:pt x="-266" y="134580"/>
                  </a:lnTo>
                  <a:lnTo>
                    <a:pt x="1554" y="141190"/>
                  </a:lnTo>
                  <a:lnTo>
                    <a:pt x="1" y="153468"/>
                  </a:lnTo>
                  <a:lnTo>
                    <a:pt x="87" y="165231"/>
                  </a:lnTo>
                  <a:lnTo>
                    <a:pt x="46569" y="192978"/>
                  </a:lnTo>
                  <a:lnTo>
                    <a:pt x="55170" y="198464"/>
                  </a:lnTo>
                  <a:lnTo>
                    <a:pt x="89879" y="220419"/>
                  </a:lnTo>
                  <a:lnTo>
                    <a:pt x="93460" y="229382"/>
                  </a:lnTo>
                  <a:lnTo>
                    <a:pt x="90764" y="235059"/>
                  </a:lnTo>
                  <a:lnTo>
                    <a:pt x="95156" y="239384"/>
                  </a:lnTo>
                  <a:lnTo>
                    <a:pt x="108376" y="249966"/>
                  </a:lnTo>
                  <a:lnTo>
                    <a:pt x="120473" y="259453"/>
                  </a:lnTo>
                  <a:lnTo>
                    <a:pt x="130513" y="267406"/>
                  </a:lnTo>
                  <a:close/>
                  <a:moveTo>
                    <a:pt x="10516" y="9507"/>
                  </a:moveTo>
                  <a:lnTo>
                    <a:pt x="38368" y="9307"/>
                  </a:lnTo>
                  <a:lnTo>
                    <a:pt x="37492" y="1068"/>
                  </a:lnTo>
                  <a:lnTo>
                    <a:pt x="30538" y="-94"/>
                  </a:lnTo>
                  <a:lnTo>
                    <a:pt x="18879" y="4135"/>
                  </a:lnTo>
                  <a:lnTo>
                    <a:pt x="10516" y="9507"/>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6" name="Freeform: Shape 25">
              <a:extLst>
                <a:ext uri="{FF2B5EF4-FFF2-40B4-BE49-F238E27FC236}">
                  <a16:creationId xmlns:a16="http://schemas.microsoft.com/office/drawing/2014/main" id="{A12CFA9C-302E-43A6-B688-C1AA1558BC67}"/>
                </a:ext>
              </a:extLst>
            </p:cNvPr>
            <p:cNvSpPr/>
            <p:nvPr/>
          </p:nvSpPr>
          <p:spPr>
            <a:xfrm>
              <a:off x="4145890" y="1739424"/>
              <a:ext cx="282211" cy="330381"/>
            </a:xfrm>
            <a:custGeom>
              <a:avLst/>
              <a:gdLst>
                <a:gd name="connsiteX0" fmla="*/ 93689 w 99022"/>
                <a:gd name="connsiteY0" fmla="*/ 115749 h 115843"/>
                <a:gd name="connsiteX1" fmla="*/ 94794 w 99022"/>
                <a:gd name="connsiteY1" fmla="*/ 109282 h 115843"/>
                <a:gd name="connsiteX2" fmla="*/ 94289 w 99022"/>
                <a:gd name="connsiteY2" fmla="*/ 102785 h 115843"/>
                <a:gd name="connsiteX3" fmla="*/ 95518 w 99022"/>
                <a:gd name="connsiteY3" fmla="*/ 96680 h 115843"/>
                <a:gd name="connsiteX4" fmla="*/ 97556 w 99022"/>
                <a:gd name="connsiteY4" fmla="*/ 90660 h 115843"/>
                <a:gd name="connsiteX5" fmla="*/ 98604 w 99022"/>
                <a:gd name="connsiteY5" fmla="*/ 84612 h 115843"/>
                <a:gd name="connsiteX6" fmla="*/ 98756 w 99022"/>
                <a:gd name="connsiteY6" fmla="*/ 78554 h 115843"/>
                <a:gd name="connsiteX7" fmla="*/ 95118 w 99022"/>
                <a:gd name="connsiteY7" fmla="*/ 73801 h 115843"/>
                <a:gd name="connsiteX8" fmla="*/ 89593 w 99022"/>
                <a:gd name="connsiteY8" fmla="*/ 70591 h 115843"/>
                <a:gd name="connsiteX9" fmla="*/ 88222 w 99022"/>
                <a:gd name="connsiteY9" fmla="*/ 64743 h 115843"/>
                <a:gd name="connsiteX10" fmla="*/ 83297 w 99022"/>
                <a:gd name="connsiteY10" fmla="*/ 61314 h 115843"/>
                <a:gd name="connsiteX11" fmla="*/ 77268 w 99022"/>
                <a:gd name="connsiteY11" fmla="*/ 60952 h 115843"/>
                <a:gd name="connsiteX12" fmla="*/ 73420 w 99022"/>
                <a:gd name="connsiteY12" fmla="*/ 56256 h 115843"/>
                <a:gd name="connsiteX13" fmla="*/ 74325 w 99022"/>
                <a:gd name="connsiteY13" fmla="*/ 50198 h 115843"/>
                <a:gd name="connsiteX14" fmla="*/ 76811 w 99022"/>
                <a:gd name="connsiteY14" fmla="*/ 44740 h 115843"/>
                <a:gd name="connsiteX15" fmla="*/ 76972 w 99022"/>
                <a:gd name="connsiteY15" fmla="*/ 38539 h 115843"/>
                <a:gd name="connsiteX16" fmla="*/ 74620 w 99022"/>
                <a:gd name="connsiteY16" fmla="*/ 31224 h 115843"/>
                <a:gd name="connsiteX17" fmla="*/ 71601 w 99022"/>
                <a:gd name="connsiteY17" fmla="*/ 25709 h 115843"/>
                <a:gd name="connsiteX18" fmla="*/ 65638 w 99022"/>
                <a:gd name="connsiteY18" fmla="*/ 29643 h 115843"/>
                <a:gd name="connsiteX19" fmla="*/ 62875 w 99022"/>
                <a:gd name="connsiteY19" fmla="*/ 35196 h 115843"/>
                <a:gd name="connsiteX20" fmla="*/ 57046 w 99022"/>
                <a:gd name="connsiteY20" fmla="*/ 36730 h 115843"/>
                <a:gd name="connsiteX21" fmla="*/ 53713 w 99022"/>
                <a:gd name="connsiteY21" fmla="*/ 31491 h 115843"/>
                <a:gd name="connsiteX22" fmla="*/ 47788 w 99022"/>
                <a:gd name="connsiteY22" fmla="*/ 32148 h 115843"/>
                <a:gd name="connsiteX23" fmla="*/ 50607 w 99022"/>
                <a:gd name="connsiteY23" fmla="*/ 25652 h 115843"/>
                <a:gd name="connsiteX24" fmla="*/ 49055 w 99022"/>
                <a:gd name="connsiteY24" fmla="*/ 18442 h 115843"/>
                <a:gd name="connsiteX25" fmla="*/ 48874 w 99022"/>
                <a:gd name="connsiteY25" fmla="*/ 12213 h 115843"/>
                <a:gd name="connsiteX26" fmla="*/ 47550 w 99022"/>
                <a:gd name="connsiteY26" fmla="*/ 6088 h 115843"/>
                <a:gd name="connsiteX27" fmla="*/ 43645 w 99022"/>
                <a:gd name="connsiteY27" fmla="*/ 1392 h 115843"/>
                <a:gd name="connsiteX28" fmla="*/ 37168 w 99022"/>
                <a:gd name="connsiteY28" fmla="*/ 706 h 115843"/>
                <a:gd name="connsiteX29" fmla="*/ 31148 w 99022"/>
                <a:gd name="connsiteY29" fmla="*/ -94 h 115843"/>
                <a:gd name="connsiteX30" fmla="*/ 27909 w 99022"/>
                <a:gd name="connsiteY30" fmla="*/ 5107 h 115843"/>
                <a:gd name="connsiteX31" fmla="*/ 25175 w 99022"/>
                <a:gd name="connsiteY31" fmla="*/ 10450 h 115843"/>
                <a:gd name="connsiteX32" fmla="*/ 20004 w 99022"/>
                <a:gd name="connsiteY32" fmla="*/ 13422 h 115843"/>
                <a:gd name="connsiteX33" fmla="*/ 19975 w 99022"/>
                <a:gd name="connsiteY33" fmla="*/ 19480 h 115843"/>
                <a:gd name="connsiteX34" fmla="*/ 15870 w 99022"/>
                <a:gd name="connsiteY34" fmla="*/ 24347 h 115843"/>
                <a:gd name="connsiteX35" fmla="*/ 11079 w 99022"/>
                <a:gd name="connsiteY35" fmla="*/ 28605 h 115843"/>
                <a:gd name="connsiteX36" fmla="*/ 6516 w 99022"/>
                <a:gd name="connsiteY36" fmla="*/ 32853 h 115843"/>
                <a:gd name="connsiteX37" fmla="*/ 2115 w 99022"/>
                <a:gd name="connsiteY37" fmla="*/ 37606 h 115843"/>
                <a:gd name="connsiteX38" fmla="*/ -266 w 99022"/>
                <a:gd name="connsiteY38" fmla="*/ 43073 h 115843"/>
                <a:gd name="connsiteX39" fmla="*/ 411 w 99022"/>
                <a:gd name="connsiteY39" fmla="*/ 49408 h 115843"/>
                <a:gd name="connsiteX40" fmla="*/ 7240 w 99022"/>
                <a:gd name="connsiteY40" fmla="*/ 53408 h 115843"/>
                <a:gd name="connsiteX41" fmla="*/ 13431 w 99022"/>
                <a:gd name="connsiteY41" fmla="*/ 57361 h 115843"/>
                <a:gd name="connsiteX42" fmla="*/ 17041 w 99022"/>
                <a:gd name="connsiteY42" fmla="*/ 62933 h 115843"/>
                <a:gd name="connsiteX43" fmla="*/ 25052 w 99022"/>
                <a:gd name="connsiteY43" fmla="*/ 66133 h 115843"/>
                <a:gd name="connsiteX44" fmla="*/ 29614 w 99022"/>
                <a:gd name="connsiteY44" fmla="*/ 70058 h 115843"/>
                <a:gd name="connsiteX45" fmla="*/ 34910 w 99022"/>
                <a:gd name="connsiteY45" fmla="*/ 75592 h 115843"/>
                <a:gd name="connsiteX46" fmla="*/ 39663 w 99022"/>
                <a:gd name="connsiteY46" fmla="*/ 80469 h 115843"/>
                <a:gd name="connsiteX47" fmla="*/ 44759 w 99022"/>
                <a:gd name="connsiteY47" fmla="*/ 84679 h 115843"/>
                <a:gd name="connsiteX48" fmla="*/ 48616 w 99022"/>
                <a:gd name="connsiteY48" fmla="*/ 90060 h 115843"/>
                <a:gd name="connsiteX49" fmla="*/ 54265 w 99022"/>
                <a:gd name="connsiteY49" fmla="*/ 94737 h 115843"/>
                <a:gd name="connsiteX50" fmla="*/ 62419 w 99022"/>
                <a:gd name="connsiteY50" fmla="*/ 99690 h 115843"/>
                <a:gd name="connsiteX51" fmla="*/ 67466 w 99022"/>
                <a:gd name="connsiteY51" fmla="*/ 103367 h 115843"/>
                <a:gd name="connsiteX52" fmla="*/ 73258 w 99022"/>
                <a:gd name="connsiteY52" fmla="*/ 107005 h 115843"/>
                <a:gd name="connsiteX53" fmla="*/ 78744 w 99022"/>
                <a:gd name="connsiteY53" fmla="*/ 109910 h 115843"/>
                <a:gd name="connsiteX54" fmla="*/ 85393 w 99022"/>
                <a:gd name="connsiteY54" fmla="*/ 111415 h 115843"/>
                <a:gd name="connsiteX55" fmla="*/ 90936 w 99022"/>
                <a:gd name="connsiteY55" fmla="*/ 115044 h 115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9022" h="115843">
                  <a:moveTo>
                    <a:pt x="93689" y="115749"/>
                  </a:moveTo>
                  <a:lnTo>
                    <a:pt x="94794" y="109282"/>
                  </a:lnTo>
                  <a:lnTo>
                    <a:pt x="94289" y="102785"/>
                  </a:lnTo>
                  <a:lnTo>
                    <a:pt x="95518" y="96680"/>
                  </a:lnTo>
                  <a:lnTo>
                    <a:pt x="97556" y="90660"/>
                  </a:lnTo>
                  <a:lnTo>
                    <a:pt x="98604" y="84612"/>
                  </a:lnTo>
                  <a:lnTo>
                    <a:pt x="98756" y="78554"/>
                  </a:lnTo>
                  <a:lnTo>
                    <a:pt x="95118" y="73801"/>
                  </a:lnTo>
                  <a:lnTo>
                    <a:pt x="89593" y="70591"/>
                  </a:lnTo>
                  <a:lnTo>
                    <a:pt x="88222" y="64743"/>
                  </a:lnTo>
                  <a:lnTo>
                    <a:pt x="83297" y="61314"/>
                  </a:lnTo>
                  <a:lnTo>
                    <a:pt x="77268" y="60952"/>
                  </a:lnTo>
                  <a:lnTo>
                    <a:pt x="73420" y="56256"/>
                  </a:lnTo>
                  <a:lnTo>
                    <a:pt x="74325" y="50198"/>
                  </a:lnTo>
                  <a:lnTo>
                    <a:pt x="76811" y="44740"/>
                  </a:lnTo>
                  <a:lnTo>
                    <a:pt x="76972" y="38539"/>
                  </a:lnTo>
                  <a:lnTo>
                    <a:pt x="74620" y="31224"/>
                  </a:lnTo>
                  <a:lnTo>
                    <a:pt x="71601" y="25709"/>
                  </a:lnTo>
                  <a:lnTo>
                    <a:pt x="65638" y="29643"/>
                  </a:lnTo>
                  <a:lnTo>
                    <a:pt x="62875" y="35196"/>
                  </a:lnTo>
                  <a:lnTo>
                    <a:pt x="57046" y="36730"/>
                  </a:lnTo>
                  <a:lnTo>
                    <a:pt x="53713" y="31491"/>
                  </a:lnTo>
                  <a:lnTo>
                    <a:pt x="47788" y="32148"/>
                  </a:lnTo>
                  <a:lnTo>
                    <a:pt x="50607" y="25652"/>
                  </a:lnTo>
                  <a:lnTo>
                    <a:pt x="49055" y="18442"/>
                  </a:lnTo>
                  <a:lnTo>
                    <a:pt x="48874" y="12213"/>
                  </a:lnTo>
                  <a:lnTo>
                    <a:pt x="47550" y="6088"/>
                  </a:lnTo>
                  <a:lnTo>
                    <a:pt x="43645" y="1392"/>
                  </a:lnTo>
                  <a:lnTo>
                    <a:pt x="37168" y="706"/>
                  </a:lnTo>
                  <a:lnTo>
                    <a:pt x="31148" y="-94"/>
                  </a:lnTo>
                  <a:lnTo>
                    <a:pt x="27909" y="5107"/>
                  </a:lnTo>
                  <a:lnTo>
                    <a:pt x="25175" y="10450"/>
                  </a:lnTo>
                  <a:lnTo>
                    <a:pt x="20004" y="13422"/>
                  </a:lnTo>
                  <a:lnTo>
                    <a:pt x="19975" y="19480"/>
                  </a:lnTo>
                  <a:lnTo>
                    <a:pt x="15870" y="24347"/>
                  </a:lnTo>
                  <a:lnTo>
                    <a:pt x="11079" y="28605"/>
                  </a:lnTo>
                  <a:lnTo>
                    <a:pt x="6516" y="32853"/>
                  </a:lnTo>
                  <a:lnTo>
                    <a:pt x="2115" y="37606"/>
                  </a:lnTo>
                  <a:lnTo>
                    <a:pt x="-266" y="43073"/>
                  </a:lnTo>
                  <a:lnTo>
                    <a:pt x="411" y="49408"/>
                  </a:lnTo>
                  <a:lnTo>
                    <a:pt x="7240" y="53408"/>
                  </a:lnTo>
                  <a:lnTo>
                    <a:pt x="13431" y="57361"/>
                  </a:lnTo>
                  <a:lnTo>
                    <a:pt x="17041" y="62933"/>
                  </a:lnTo>
                  <a:lnTo>
                    <a:pt x="25052" y="66133"/>
                  </a:lnTo>
                  <a:lnTo>
                    <a:pt x="29614" y="70058"/>
                  </a:lnTo>
                  <a:lnTo>
                    <a:pt x="34910" y="75592"/>
                  </a:lnTo>
                  <a:lnTo>
                    <a:pt x="39663" y="80469"/>
                  </a:lnTo>
                  <a:lnTo>
                    <a:pt x="44759" y="84679"/>
                  </a:lnTo>
                  <a:lnTo>
                    <a:pt x="48616" y="90060"/>
                  </a:lnTo>
                  <a:lnTo>
                    <a:pt x="54265" y="94737"/>
                  </a:lnTo>
                  <a:lnTo>
                    <a:pt x="62419" y="99690"/>
                  </a:lnTo>
                  <a:lnTo>
                    <a:pt x="67466" y="103367"/>
                  </a:lnTo>
                  <a:lnTo>
                    <a:pt x="73258" y="107005"/>
                  </a:lnTo>
                  <a:lnTo>
                    <a:pt x="78744" y="109910"/>
                  </a:lnTo>
                  <a:lnTo>
                    <a:pt x="85393" y="111415"/>
                  </a:lnTo>
                  <a:lnTo>
                    <a:pt x="90936" y="115044"/>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7" name="Freeform: Shape 26">
              <a:extLst>
                <a:ext uri="{FF2B5EF4-FFF2-40B4-BE49-F238E27FC236}">
                  <a16:creationId xmlns:a16="http://schemas.microsoft.com/office/drawing/2014/main" id="{6A766EA6-41E5-1E8D-6753-9DB1B0B7AC65}"/>
                </a:ext>
              </a:extLst>
            </p:cNvPr>
            <p:cNvSpPr/>
            <p:nvPr/>
          </p:nvSpPr>
          <p:spPr>
            <a:xfrm>
              <a:off x="6806046" y="4680065"/>
              <a:ext cx="154515" cy="162990"/>
            </a:xfrm>
            <a:custGeom>
              <a:avLst/>
              <a:gdLst>
                <a:gd name="connsiteX0" fmla="*/ 19242 w 54216"/>
                <a:gd name="connsiteY0" fmla="*/ 57056 h 57150"/>
                <a:gd name="connsiteX1" fmla="*/ 20880 w 54216"/>
                <a:gd name="connsiteY1" fmla="*/ 51208 h 57150"/>
                <a:gd name="connsiteX2" fmla="*/ 23299 w 54216"/>
                <a:gd name="connsiteY2" fmla="*/ 45474 h 57150"/>
                <a:gd name="connsiteX3" fmla="*/ 28690 w 54216"/>
                <a:gd name="connsiteY3" fmla="*/ 42645 h 57150"/>
                <a:gd name="connsiteX4" fmla="*/ 34729 w 54216"/>
                <a:gd name="connsiteY4" fmla="*/ 41768 h 57150"/>
                <a:gd name="connsiteX5" fmla="*/ 40520 w 54216"/>
                <a:gd name="connsiteY5" fmla="*/ 39625 h 57150"/>
                <a:gd name="connsiteX6" fmla="*/ 46016 w 54216"/>
                <a:gd name="connsiteY6" fmla="*/ 36196 h 57150"/>
                <a:gd name="connsiteX7" fmla="*/ 46550 w 54216"/>
                <a:gd name="connsiteY7" fmla="*/ 30129 h 57150"/>
                <a:gd name="connsiteX8" fmla="*/ 50522 w 54216"/>
                <a:gd name="connsiteY8" fmla="*/ 25404 h 57150"/>
                <a:gd name="connsiteX9" fmla="*/ 53950 w 54216"/>
                <a:gd name="connsiteY9" fmla="*/ 20099 h 57150"/>
                <a:gd name="connsiteX10" fmla="*/ 52331 w 54216"/>
                <a:gd name="connsiteY10" fmla="*/ 14079 h 57150"/>
                <a:gd name="connsiteX11" fmla="*/ 47693 w 54216"/>
                <a:gd name="connsiteY11" fmla="*/ 10155 h 57150"/>
                <a:gd name="connsiteX12" fmla="*/ 42854 w 54216"/>
                <a:gd name="connsiteY12" fmla="*/ 6678 h 57150"/>
                <a:gd name="connsiteX13" fmla="*/ 38729 w 54216"/>
                <a:gd name="connsiteY13" fmla="*/ 1725 h 57150"/>
                <a:gd name="connsiteX14" fmla="*/ 32948 w 54216"/>
                <a:gd name="connsiteY14" fmla="*/ -94 h 57150"/>
                <a:gd name="connsiteX15" fmla="*/ 27376 w 54216"/>
                <a:gd name="connsiteY15" fmla="*/ 2582 h 57150"/>
                <a:gd name="connsiteX16" fmla="*/ 21651 w 54216"/>
                <a:gd name="connsiteY16" fmla="*/ 5430 h 57150"/>
                <a:gd name="connsiteX17" fmla="*/ 16203 w 54216"/>
                <a:gd name="connsiteY17" fmla="*/ 7831 h 57150"/>
                <a:gd name="connsiteX18" fmla="*/ 11412 w 54216"/>
                <a:gd name="connsiteY18" fmla="*/ 11765 h 57150"/>
                <a:gd name="connsiteX19" fmla="*/ 8068 w 54216"/>
                <a:gd name="connsiteY19" fmla="*/ 16756 h 57150"/>
                <a:gd name="connsiteX20" fmla="*/ 4896 w 54216"/>
                <a:gd name="connsiteY20" fmla="*/ 21899 h 57150"/>
                <a:gd name="connsiteX21" fmla="*/ -18 w 54216"/>
                <a:gd name="connsiteY21" fmla="*/ 26290 h 57150"/>
                <a:gd name="connsiteX22" fmla="*/ -266 w 54216"/>
                <a:gd name="connsiteY22" fmla="*/ 38168 h 57150"/>
                <a:gd name="connsiteX23" fmla="*/ 3801 w 54216"/>
                <a:gd name="connsiteY23" fmla="*/ 42578 h 57150"/>
                <a:gd name="connsiteX24" fmla="*/ 5211 w 54216"/>
                <a:gd name="connsiteY24" fmla="*/ 48626 h 57150"/>
                <a:gd name="connsiteX25" fmla="*/ 9593 w 54216"/>
                <a:gd name="connsiteY25" fmla="*/ 53284 h 57150"/>
                <a:gd name="connsiteX26" fmla="*/ 15164 w 54216"/>
                <a:gd name="connsiteY26" fmla="*/ 5567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216" h="57150">
                  <a:moveTo>
                    <a:pt x="19242" y="57056"/>
                  </a:moveTo>
                  <a:lnTo>
                    <a:pt x="20880" y="51208"/>
                  </a:lnTo>
                  <a:lnTo>
                    <a:pt x="23299" y="45474"/>
                  </a:lnTo>
                  <a:lnTo>
                    <a:pt x="28690" y="42645"/>
                  </a:lnTo>
                  <a:lnTo>
                    <a:pt x="34729" y="41768"/>
                  </a:lnTo>
                  <a:lnTo>
                    <a:pt x="40520" y="39625"/>
                  </a:lnTo>
                  <a:lnTo>
                    <a:pt x="46016" y="36196"/>
                  </a:lnTo>
                  <a:lnTo>
                    <a:pt x="46550" y="30129"/>
                  </a:lnTo>
                  <a:lnTo>
                    <a:pt x="50522" y="25404"/>
                  </a:lnTo>
                  <a:lnTo>
                    <a:pt x="53950" y="20099"/>
                  </a:lnTo>
                  <a:lnTo>
                    <a:pt x="52331" y="14079"/>
                  </a:lnTo>
                  <a:lnTo>
                    <a:pt x="47693" y="10155"/>
                  </a:lnTo>
                  <a:lnTo>
                    <a:pt x="42854" y="6678"/>
                  </a:lnTo>
                  <a:lnTo>
                    <a:pt x="38729" y="1725"/>
                  </a:lnTo>
                  <a:lnTo>
                    <a:pt x="32948" y="-94"/>
                  </a:lnTo>
                  <a:lnTo>
                    <a:pt x="27376" y="2582"/>
                  </a:lnTo>
                  <a:lnTo>
                    <a:pt x="21651" y="5430"/>
                  </a:lnTo>
                  <a:lnTo>
                    <a:pt x="16203" y="7831"/>
                  </a:lnTo>
                  <a:lnTo>
                    <a:pt x="11412" y="11765"/>
                  </a:lnTo>
                  <a:lnTo>
                    <a:pt x="8068" y="16756"/>
                  </a:lnTo>
                  <a:lnTo>
                    <a:pt x="4896" y="21899"/>
                  </a:lnTo>
                  <a:lnTo>
                    <a:pt x="-18" y="26290"/>
                  </a:lnTo>
                  <a:lnTo>
                    <a:pt x="-266" y="38168"/>
                  </a:lnTo>
                  <a:lnTo>
                    <a:pt x="3801" y="42578"/>
                  </a:lnTo>
                  <a:lnTo>
                    <a:pt x="5211" y="48626"/>
                  </a:lnTo>
                  <a:lnTo>
                    <a:pt x="9593" y="53284"/>
                  </a:lnTo>
                  <a:lnTo>
                    <a:pt x="15164" y="55675"/>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8" name="Freeform: Shape 27">
              <a:extLst>
                <a:ext uri="{FF2B5EF4-FFF2-40B4-BE49-F238E27FC236}">
                  <a16:creationId xmlns:a16="http://schemas.microsoft.com/office/drawing/2014/main" id="{EFDC342F-0837-C6C2-A5BE-3880A76C5A32}"/>
                </a:ext>
              </a:extLst>
            </p:cNvPr>
            <p:cNvSpPr/>
            <p:nvPr/>
          </p:nvSpPr>
          <p:spPr>
            <a:xfrm>
              <a:off x="5591881" y="-211158"/>
              <a:ext cx="1102183" cy="1081926"/>
            </a:xfrm>
            <a:custGeom>
              <a:avLst/>
              <a:gdLst>
                <a:gd name="connsiteX0" fmla="*/ 362494 w 386733"/>
                <a:gd name="connsiteY0" fmla="*/ 379268 h 379361"/>
                <a:gd name="connsiteX1" fmla="*/ 362027 w 386733"/>
                <a:gd name="connsiteY1" fmla="*/ 365390 h 379361"/>
                <a:gd name="connsiteX2" fmla="*/ 386468 w 386733"/>
                <a:gd name="connsiteY2" fmla="*/ 365390 h 379361"/>
                <a:gd name="connsiteX3" fmla="*/ 384334 w 386733"/>
                <a:gd name="connsiteY3" fmla="*/ 311469 h 379361"/>
                <a:gd name="connsiteX4" fmla="*/ 383630 w 386733"/>
                <a:gd name="connsiteY4" fmla="*/ 296000 h 379361"/>
                <a:gd name="connsiteX5" fmla="*/ 380925 w 386733"/>
                <a:gd name="connsiteY5" fmla="*/ 232526 h 379361"/>
                <a:gd name="connsiteX6" fmla="*/ 375752 w 386733"/>
                <a:gd name="connsiteY6" fmla="*/ 139857 h 379361"/>
                <a:gd name="connsiteX7" fmla="*/ 373819 w 386733"/>
                <a:gd name="connsiteY7" fmla="*/ 108662 h 379361"/>
                <a:gd name="connsiteX8" fmla="*/ 370599 w 386733"/>
                <a:gd name="connsiteY8" fmla="*/ 98928 h 379361"/>
                <a:gd name="connsiteX9" fmla="*/ 368161 w 386733"/>
                <a:gd name="connsiteY9" fmla="*/ 89184 h 379361"/>
                <a:gd name="connsiteX10" fmla="*/ 364027 w 386733"/>
                <a:gd name="connsiteY10" fmla="*/ 84307 h 379361"/>
                <a:gd name="connsiteX11" fmla="*/ 368275 w 386733"/>
                <a:gd name="connsiteY11" fmla="*/ 76763 h 379361"/>
                <a:gd name="connsiteX12" fmla="*/ 371152 w 386733"/>
                <a:gd name="connsiteY12" fmla="*/ 65800 h 379361"/>
                <a:gd name="connsiteX13" fmla="*/ 366790 w 386733"/>
                <a:gd name="connsiteY13" fmla="*/ 55018 h 379361"/>
                <a:gd name="connsiteX14" fmla="*/ 371018 w 386733"/>
                <a:gd name="connsiteY14" fmla="*/ 43426 h 379361"/>
                <a:gd name="connsiteX15" fmla="*/ 369295 w 386733"/>
                <a:gd name="connsiteY15" fmla="*/ 34072 h 379361"/>
                <a:gd name="connsiteX16" fmla="*/ 363541 w 386733"/>
                <a:gd name="connsiteY16" fmla="*/ 32301 h 379361"/>
                <a:gd name="connsiteX17" fmla="*/ 352845 w 386733"/>
                <a:gd name="connsiteY17" fmla="*/ 32301 h 379361"/>
                <a:gd name="connsiteX18" fmla="*/ 338881 w 386733"/>
                <a:gd name="connsiteY18" fmla="*/ 27690 h 379361"/>
                <a:gd name="connsiteX19" fmla="*/ 329432 w 386733"/>
                <a:gd name="connsiteY19" fmla="*/ 26747 h 379361"/>
                <a:gd name="connsiteX20" fmla="*/ 322603 w 386733"/>
                <a:gd name="connsiteY20" fmla="*/ 23442 h 379361"/>
                <a:gd name="connsiteX21" fmla="*/ 322698 w 386733"/>
                <a:gd name="connsiteY21" fmla="*/ 15641 h 379361"/>
                <a:gd name="connsiteX22" fmla="*/ 309040 w 386733"/>
                <a:gd name="connsiteY22" fmla="*/ 10117 h 379361"/>
                <a:gd name="connsiteX23" fmla="*/ 300124 w 386733"/>
                <a:gd name="connsiteY23" fmla="*/ 7840 h 379361"/>
                <a:gd name="connsiteX24" fmla="*/ 293685 w 386733"/>
                <a:gd name="connsiteY24" fmla="*/ 7479 h 379361"/>
                <a:gd name="connsiteX25" fmla="*/ 282522 w 386733"/>
                <a:gd name="connsiteY25" fmla="*/ 10088 h 379361"/>
                <a:gd name="connsiteX26" fmla="*/ 273578 w 386733"/>
                <a:gd name="connsiteY26" fmla="*/ 11165 h 379361"/>
                <a:gd name="connsiteX27" fmla="*/ 265243 w 386733"/>
                <a:gd name="connsiteY27" fmla="*/ 15641 h 379361"/>
                <a:gd name="connsiteX28" fmla="*/ 257519 w 386733"/>
                <a:gd name="connsiteY28" fmla="*/ 21195 h 379361"/>
                <a:gd name="connsiteX29" fmla="*/ 250441 w 386733"/>
                <a:gd name="connsiteY29" fmla="*/ 30700 h 379361"/>
                <a:gd name="connsiteX30" fmla="*/ 248508 w 386733"/>
                <a:gd name="connsiteY30" fmla="*/ 37835 h 379361"/>
                <a:gd name="connsiteX31" fmla="*/ 251184 w 386733"/>
                <a:gd name="connsiteY31" fmla="*/ 48322 h 379361"/>
                <a:gd name="connsiteX32" fmla="*/ 254680 w 386733"/>
                <a:gd name="connsiteY32" fmla="*/ 53446 h 379361"/>
                <a:gd name="connsiteX33" fmla="*/ 252318 w 386733"/>
                <a:gd name="connsiteY33" fmla="*/ 65562 h 379361"/>
                <a:gd name="connsiteX34" fmla="*/ 248384 w 386733"/>
                <a:gd name="connsiteY34" fmla="*/ 71144 h 379361"/>
                <a:gd name="connsiteX35" fmla="*/ 241516 w 386733"/>
                <a:gd name="connsiteY35" fmla="*/ 76706 h 379361"/>
                <a:gd name="connsiteX36" fmla="*/ 232744 w 386733"/>
                <a:gd name="connsiteY36" fmla="*/ 80430 h 379361"/>
                <a:gd name="connsiteX37" fmla="*/ 221809 w 386733"/>
                <a:gd name="connsiteY37" fmla="*/ 76716 h 379361"/>
                <a:gd name="connsiteX38" fmla="*/ 214180 w 386733"/>
                <a:gd name="connsiteY38" fmla="*/ 71162 h 379361"/>
                <a:gd name="connsiteX39" fmla="*/ 206788 w 386733"/>
                <a:gd name="connsiteY39" fmla="*/ 65610 h 379361"/>
                <a:gd name="connsiteX40" fmla="*/ 193177 w 386733"/>
                <a:gd name="connsiteY40" fmla="*/ 60066 h 379361"/>
                <a:gd name="connsiteX41" fmla="*/ 175127 w 386733"/>
                <a:gd name="connsiteY41" fmla="*/ 54513 h 379361"/>
                <a:gd name="connsiteX42" fmla="*/ 158906 w 386733"/>
                <a:gd name="connsiteY42" fmla="*/ 53046 h 379361"/>
                <a:gd name="connsiteX43" fmla="*/ 149581 w 386733"/>
                <a:gd name="connsiteY43" fmla="*/ 48979 h 379361"/>
                <a:gd name="connsiteX44" fmla="*/ 144400 w 386733"/>
                <a:gd name="connsiteY44" fmla="*/ 43435 h 379361"/>
                <a:gd name="connsiteX45" fmla="*/ 139599 w 386733"/>
                <a:gd name="connsiteY45" fmla="*/ 32310 h 379361"/>
                <a:gd name="connsiteX46" fmla="*/ 136856 w 386733"/>
                <a:gd name="connsiteY46" fmla="*/ 22661 h 379361"/>
                <a:gd name="connsiteX47" fmla="*/ 124540 w 386733"/>
                <a:gd name="connsiteY47" fmla="*/ 20032 h 379361"/>
                <a:gd name="connsiteX48" fmla="*/ 115091 w 386733"/>
                <a:gd name="connsiteY48" fmla="*/ 15641 h 379361"/>
                <a:gd name="connsiteX49" fmla="*/ 101937 w 386733"/>
                <a:gd name="connsiteY49" fmla="*/ 10088 h 379361"/>
                <a:gd name="connsiteX50" fmla="*/ 92031 w 386733"/>
                <a:gd name="connsiteY50" fmla="*/ 7421 h 379361"/>
                <a:gd name="connsiteX51" fmla="*/ 78830 w 386733"/>
                <a:gd name="connsiteY51" fmla="*/ 10088 h 379361"/>
                <a:gd name="connsiteX52" fmla="*/ 72038 w 386733"/>
                <a:gd name="connsiteY52" fmla="*/ 10098 h 379361"/>
                <a:gd name="connsiteX53" fmla="*/ 65438 w 386733"/>
                <a:gd name="connsiteY53" fmla="*/ 8736 h 379361"/>
                <a:gd name="connsiteX54" fmla="*/ 48559 w 386733"/>
                <a:gd name="connsiteY54" fmla="*/ -94 h 379361"/>
                <a:gd name="connsiteX55" fmla="*/ 47474 w 386733"/>
                <a:gd name="connsiteY55" fmla="*/ 9250 h 379361"/>
                <a:gd name="connsiteX56" fmla="*/ 48121 w 386733"/>
                <a:gd name="connsiteY56" fmla="*/ 15622 h 379361"/>
                <a:gd name="connsiteX57" fmla="*/ 42054 w 386733"/>
                <a:gd name="connsiteY57" fmla="*/ 24261 h 379361"/>
                <a:gd name="connsiteX58" fmla="*/ 33024 w 386733"/>
                <a:gd name="connsiteY58" fmla="*/ 29919 h 379361"/>
                <a:gd name="connsiteX59" fmla="*/ 26728 w 386733"/>
                <a:gd name="connsiteY59" fmla="*/ 37177 h 379361"/>
                <a:gd name="connsiteX60" fmla="*/ 19241 w 386733"/>
                <a:gd name="connsiteY60" fmla="*/ 42273 h 379361"/>
                <a:gd name="connsiteX61" fmla="*/ 16841 w 386733"/>
                <a:gd name="connsiteY61" fmla="*/ 48484 h 379361"/>
                <a:gd name="connsiteX62" fmla="*/ 20070 w 386733"/>
                <a:gd name="connsiteY62" fmla="*/ 58923 h 379361"/>
                <a:gd name="connsiteX63" fmla="*/ 20203 w 386733"/>
                <a:gd name="connsiteY63" fmla="*/ 65590 h 379361"/>
                <a:gd name="connsiteX64" fmla="*/ 17174 w 386733"/>
                <a:gd name="connsiteY64" fmla="*/ 70934 h 379361"/>
                <a:gd name="connsiteX65" fmla="*/ 12964 w 386733"/>
                <a:gd name="connsiteY65" fmla="*/ 76659 h 379361"/>
                <a:gd name="connsiteX66" fmla="*/ -266 w 386733"/>
                <a:gd name="connsiteY66" fmla="*/ 83174 h 379361"/>
                <a:gd name="connsiteX67" fmla="*/ 3458 w 386733"/>
                <a:gd name="connsiteY67" fmla="*/ 90555 h 379361"/>
                <a:gd name="connsiteX68" fmla="*/ 9526 w 386733"/>
                <a:gd name="connsiteY68" fmla="*/ 103776 h 379361"/>
                <a:gd name="connsiteX69" fmla="*/ 12059 w 386733"/>
                <a:gd name="connsiteY69" fmla="*/ 115559 h 379361"/>
                <a:gd name="connsiteX70" fmla="*/ 12879 w 386733"/>
                <a:gd name="connsiteY70" fmla="*/ 122255 h 379361"/>
                <a:gd name="connsiteX71" fmla="*/ 11793 w 386733"/>
                <a:gd name="connsiteY71" fmla="*/ 136314 h 379361"/>
                <a:gd name="connsiteX72" fmla="*/ 14508 w 386733"/>
                <a:gd name="connsiteY72" fmla="*/ 148544 h 379361"/>
                <a:gd name="connsiteX73" fmla="*/ 13031 w 386733"/>
                <a:gd name="connsiteY73" fmla="*/ 154430 h 379361"/>
                <a:gd name="connsiteX74" fmla="*/ 11288 w 386733"/>
                <a:gd name="connsiteY74" fmla="*/ 165479 h 379361"/>
                <a:gd name="connsiteX75" fmla="*/ 14650 w 386733"/>
                <a:gd name="connsiteY75" fmla="*/ 174918 h 379361"/>
                <a:gd name="connsiteX76" fmla="*/ 14498 w 386733"/>
                <a:gd name="connsiteY76" fmla="*/ 180891 h 379361"/>
                <a:gd name="connsiteX77" fmla="*/ 4992 w 386733"/>
                <a:gd name="connsiteY77" fmla="*/ 188158 h 379361"/>
                <a:gd name="connsiteX78" fmla="*/ 5839 w 386733"/>
                <a:gd name="connsiteY78" fmla="*/ 198769 h 379361"/>
                <a:gd name="connsiteX79" fmla="*/ 18193 w 386733"/>
                <a:gd name="connsiteY79" fmla="*/ 216619 h 379361"/>
                <a:gd name="connsiteX80" fmla="*/ 18527 w 386733"/>
                <a:gd name="connsiteY80" fmla="*/ 226468 h 379361"/>
                <a:gd name="connsiteX81" fmla="*/ 21213 w 386733"/>
                <a:gd name="connsiteY81" fmla="*/ 232126 h 379361"/>
                <a:gd name="connsiteX82" fmla="*/ 24766 w 386733"/>
                <a:gd name="connsiteY82" fmla="*/ 237631 h 379361"/>
                <a:gd name="connsiteX83" fmla="*/ 34948 w 386733"/>
                <a:gd name="connsiteY83" fmla="*/ 238450 h 379361"/>
                <a:gd name="connsiteX84" fmla="*/ 48264 w 386733"/>
                <a:gd name="connsiteY84" fmla="*/ 245584 h 379361"/>
                <a:gd name="connsiteX85" fmla="*/ 56969 w 386733"/>
                <a:gd name="connsiteY85" fmla="*/ 247204 h 379361"/>
                <a:gd name="connsiteX86" fmla="*/ 66809 w 386733"/>
                <a:gd name="connsiteY86" fmla="*/ 267759 h 379361"/>
                <a:gd name="connsiteX87" fmla="*/ 102404 w 386733"/>
                <a:gd name="connsiteY87" fmla="*/ 276550 h 379361"/>
                <a:gd name="connsiteX88" fmla="*/ 108700 w 386733"/>
                <a:gd name="connsiteY88" fmla="*/ 280875 h 379361"/>
                <a:gd name="connsiteX89" fmla="*/ 121702 w 386733"/>
                <a:gd name="connsiteY89" fmla="*/ 292847 h 379361"/>
                <a:gd name="connsiteX90" fmla="*/ 139761 w 386733"/>
                <a:gd name="connsiteY90" fmla="*/ 282246 h 379361"/>
                <a:gd name="connsiteX91" fmla="*/ 164021 w 386733"/>
                <a:gd name="connsiteY91" fmla="*/ 269606 h 379361"/>
                <a:gd name="connsiteX92" fmla="*/ 211294 w 386733"/>
                <a:gd name="connsiteY92" fmla="*/ 293133 h 379361"/>
                <a:gd name="connsiteX93" fmla="*/ 216656 w 386733"/>
                <a:gd name="connsiteY93" fmla="*/ 296000 h 379361"/>
                <a:gd name="connsiteX94" fmla="*/ 231697 w 386733"/>
                <a:gd name="connsiteY94" fmla="*/ 304125 h 379361"/>
                <a:gd name="connsiteX95" fmla="*/ 262167 w 386733"/>
                <a:gd name="connsiteY95" fmla="*/ 320975 h 379361"/>
                <a:gd name="connsiteX96" fmla="*/ 291380 w 386733"/>
                <a:gd name="connsiteY96" fmla="*/ 337501 h 379361"/>
                <a:gd name="connsiteX97" fmla="*/ 325070 w 386733"/>
                <a:gd name="connsiteY97" fmla="*/ 356960 h 379361"/>
                <a:gd name="connsiteX98" fmla="*/ 348654 w 386733"/>
                <a:gd name="connsiteY98" fmla="*/ 370914 h 379361"/>
                <a:gd name="connsiteX99" fmla="*/ 362494 w 386733"/>
                <a:gd name="connsiteY99" fmla="*/ 379268 h 379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386733" h="379361">
                  <a:moveTo>
                    <a:pt x="362494" y="379268"/>
                  </a:moveTo>
                  <a:lnTo>
                    <a:pt x="362027" y="365390"/>
                  </a:lnTo>
                  <a:lnTo>
                    <a:pt x="386468" y="365390"/>
                  </a:lnTo>
                  <a:lnTo>
                    <a:pt x="384334" y="311469"/>
                  </a:lnTo>
                  <a:lnTo>
                    <a:pt x="383630" y="296000"/>
                  </a:lnTo>
                  <a:lnTo>
                    <a:pt x="380925" y="232526"/>
                  </a:lnTo>
                  <a:lnTo>
                    <a:pt x="375752" y="139857"/>
                  </a:lnTo>
                  <a:lnTo>
                    <a:pt x="373819" y="108662"/>
                  </a:lnTo>
                  <a:lnTo>
                    <a:pt x="370599" y="98928"/>
                  </a:lnTo>
                  <a:lnTo>
                    <a:pt x="368161" y="89184"/>
                  </a:lnTo>
                  <a:lnTo>
                    <a:pt x="364027" y="84307"/>
                  </a:lnTo>
                  <a:lnTo>
                    <a:pt x="368275" y="76763"/>
                  </a:lnTo>
                  <a:lnTo>
                    <a:pt x="371152" y="65800"/>
                  </a:lnTo>
                  <a:lnTo>
                    <a:pt x="366790" y="55018"/>
                  </a:lnTo>
                  <a:lnTo>
                    <a:pt x="371018" y="43426"/>
                  </a:lnTo>
                  <a:lnTo>
                    <a:pt x="369295" y="34072"/>
                  </a:lnTo>
                  <a:lnTo>
                    <a:pt x="363541" y="32301"/>
                  </a:lnTo>
                  <a:lnTo>
                    <a:pt x="352845" y="32301"/>
                  </a:lnTo>
                  <a:lnTo>
                    <a:pt x="338881" y="27690"/>
                  </a:lnTo>
                  <a:lnTo>
                    <a:pt x="329432" y="26747"/>
                  </a:lnTo>
                  <a:lnTo>
                    <a:pt x="322603" y="23442"/>
                  </a:lnTo>
                  <a:lnTo>
                    <a:pt x="322698" y="15641"/>
                  </a:lnTo>
                  <a:lnTo>
                    <a:pt x="309040" y="10117"/>
                  </a:lnTo>
                  <a:lnTo>
                    <a:pt x="300124" y="7840"/>
                  </a:lnTo>
                  <a:lnTo>
                    <a:pt x="293685" y="7479"/>
                  </a:lnTo>
                  <a:lnTo>
                    <a:pt x="282522" y="10088"/>
                  </a:lnTo>
                  <a:lnTo>
                    <a:pt x="273578" y="11165"/>
                  </a:lnTo>
                  <a:lnTo>
                    <a:pt x="265243" y="15641"/>
                  </a:lnTo>
                  <a:lnTo>
                    <a:pt x="257519" y="21195"/>
                  </a:lnTo>
                  <a:lnTo>
                    <a:pt x="250441" y="30700"/>
                  </a:lnTo>
                  <a:lnTo>
                    <a:pt x="248508" y="37835"/>
                  </a:lnTo>
                  <a:lnTo>
                    <a:pt x="251184" y="48322"/>
                  </a:lnTo>
                  <a:lnTo>
                    <a:pt x="254680" y="53446"/>
                  </a:lnTo>
                  <a:lnTo>
                    <a:pt x="252318" y="65562"/>
                  </a:lnTo>
                  <a:lnTo>
                    <a:pt x="248384" y="71144"/>
                  </a:lnTo>
                  <a:lnTo>
                    <a:pt x="241516" y="76706"/>
                  </a:lnTo>
                  <a:lnTo>
                    <a:pt x="232744" y="80430"/>
                  </a:lnTo>
                  <a:lnTo>
                    <a:pt x="221809" y="76716"/>
                  </a:lnTo>
                  <a:lnTo>
                    <a:pt x="214180" y="71162"/>
                  </a:lnTo>
                  <a:lnTo>
                    <a:pt x="206788" y="65610"/>
                  </a:lnTo>
                  <a:lnTo>
                    <a:pt x="193177" y="60066"/>
                  </a:lnTo>
                  <a:lnTo>
                    <a:pt x="175127" y="54513"/>
                  </a:lnTo>
                  <a:lnTo>
                    <a:pt x="158906" y="53046"/>
                  </a:lnTo>
                  <a:lnTo>
                    <a:pt x="149581" y="48979"/>
                  </a:lnTo>
                  <a:lnTo>
                    <a:pt x="144400" y="43435"/>
                  </a:lnTo>
                  <a:lnTo>
                    <a:pt x="139599" y="32310"/>
                  </a:lnTo>
                  <a:lnTo>
                    <a:pt x="136856" y="22661"/>
                  </a:lnTo>
                  <a:lnTo>
                    <a:pt x="124540" y="20032"/>
                  </a:lnTo>
                  <a:lnTo>
                    <a:pt x="115091" y="15641"/>
                  </a:lnTo>
                  <a:lnTo>
                    <a:pt x="101937" y="10088"/>
                  </a:lnTo>
                  <a:lnTo>
                    <a:pt x="92031" y="7421"/>
                  </a:lnTo>
                  <a:lnTo>
                    <a:pt x="78830" y="10088"/>
                  </a:lnTo>
                  <a:lnTo>
                    <a:pt x="72038" y="10098"/>
                  </a:lnTo>
                  <a:lnTo>
                    <a:pt x="65438" y="8736"/>
                  </a:lnTo>
                  <a:lnTo>
                    <a:pt x="48559" y="-94"/>
                  </a:lnTo>
                  <a:lnTo>
                    <a:pt x="47474" y="9250"/>
                  </a:lnTo>
                  <a:lnTo>
                    <a:pt x="48121" y="15622"/>
                  </a:lnTo>
                  <a:lnTo>
                    <a:pt x="42054" y="24261"/>
                  </a:lnTo>
                  <a:lnTo>
                    <a:pt x="33024" y="29919"/>
                  </a:lnTo>
                  <a:lnTo>
                    <a:pt x="26728" y="37177"/>
                  </a:lnTo>
                  <a:lnTo>
                    <a:pt x="19241" y="42273"/>
                  </a:lnTo>
                  <a:lnTo>
                    <a:pt x="16841" y="48484"/>
                  </a:lnTo>
                  <a:lnTo>
                    <a:pt x="20070" y="58923"/>
                  </a:lnTo>
                  <a:lnTo>
                    <a:pt x="20203" y="65590"/>
                  </a:lnTo>
                  <a:lnTo>
                    <a:pt x="17174" y="70934"/>
                  </a:lnTo>
                  <a:lnTo>
                    <a:pt x="12964" y="76659"/>
                  </a:lnTo>
                  <a:lnTo>
                    <a:pt x="-266" y="83174"/>
                  </a:lnTo>
                  <a:lnTo>
                    <a:pt x="3458" y="90555"/>
                  </a:lnTo>
                  <a:lnTo>
                    <a:pt x="9526" y="103776"/>
                  </a:lnTo>
                  <a:lnTo>
                    <a:pt x="12059" y="115559"/>
                  </a:lnTo>
                  <a:lnTo>
                    <a:pt x="12879" y="122255"/>
                  </a:lnTo>
                  <a:lnTo>
                    <a:pt x="11793" y="136314"/>
                  </a:lnTo>
                  <a:lnTo>
                    <a:pt x="14508" y="148544"/>
                  </a:lnTo>
                  <a:lnTo>
                    <a:pt x="13031" y="154430"/>
                  </a:lnTo>
                  <a:lnTo>
                    <a:pt x="11288" y="165479"/>
                  </a:lnTo>
                  <a:lnTo>
                    <a:pt x="14650" y="174918"/>
                  </a:lnTo>
                  <a:lnTo>
                    <a:pt x="14498" y="180891"/>
                  </a:lnTo>
                  <a:lnTo>
                    <a:pt x="4992" y="188158"/>
                  </a:lnTo>
                  <a:lnTo>
                    <a:pt x="5839" y="198769"/>
                  </a:lnTo>
                  <a:lnTo>
                    <a:pt x="18193" y="216619"/>
                  </a:lnTo>
                  <a:lnTo>
                    <a:pt x="18527" y="226468"/>
                  </a:lnTo>
                  <a:lnTo>
                    <a:pt x="21213" y="232126"/>
                  </a:lnTo>
                  <a:lnTo>
                    <a:pt x="24766" y="237631"/>
                  </a:lnTo>
                  <a:lnTo>
                    <a:pt x="34948" y="238450"/>
                  </a:lnTo>
                  <a:lnTo>
                    <a:pt x="48264" y="245584"/>
                  </a:lnTo>
                  <a:lnTo>
                    <a:pt x="56969" y="247204"/>
                  </a:lnTo>
                  <a:lnTo>
                    <a:pt x="66809" y="267759"/>
                  </a:lnTo>
                  <a:lnTo>
                    <a:pt x="102404" y="276550"/>
                  </a:lnTo>
                  <a:lnTo>
                    <a:pt x="108700" y="280875"/>
                  </a:lnTo>
                  <a:lnTo>
                    <a:pt x="121702" y="292847"/>
                  </a:lnTo>
                  <a:lnTo>
                    <a:pt x="139761" y="282246"/>
                  </a:lnTo>
                  <a:lnTo>
                    <a:pt x="164021" y="269606"/>
                  </a:lnTo>
                  <a:lnTo>
                    <a:pt x="211294" y="293133"/>
                  </a:lnTo>
                  <a:lnTo>
                    <a:pt x="216656" y="296000"/>
                  </a:lnTo>
                  <a:lnTo>
                    <a:pt x="231697" y="304125"/>
                  </a:lnTo>
                  <a:lnTo>
                    <a:pt x="262167" y="320975"/>
                  </a:lnTo>
                  <a:lnTo>
                    <a:pt x="291380" y="337501"/>
                  </a:lnTo>
                  <a:lnTo>
                    <a:pt x="325070" y="356960"/>
                  </a:lnTo>
                  <a:lnTo>
                    <a:pt x="348654" y="370914"/>
                  </a:lnTo>
                  <a:lnTo>
                    <a:pt x="362494" y="379268"/>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9" name="Freeform: Shape 28">
              <a:extLst>
                <a:ext uri="{FF2B5EF4-FFF2-40B4-BE49-F238E27FC236}">
                  <a16:creationId xmlns:a16="http://schemas.microsoft.com/office/drawing/2014/main" id="{7EE64FC9-BF14-343E-A265-B023BC06A5FB}"/>
                </a:ext>
              </a:extLst>
            </p:cNvPr>
            <p:cNvSpPr/>
            <p:nvPr/>
          </p:nvSpPr>
          <p:spPr>
            <a:xfrm>
              <a:off x="7953567" y="3367343"/>
              <a:ext cx="541127" cy="1074266"/>
            </a:xfrm>
            <a:custGeom>
              <a:avLst/>
              <a:gdLst>
                <a:gd name="connsiteX0" fmla="*/ 169840 w 189870"/>
                <a:gd name="connsiteY0" fmla="*/ 140619 h 376675"/>
                <a:gd name="connsiteX1" fmla="*/ 173498 w 189870"/>
                <a:gd name="connsiteY1" fmla="*/ 134218 h 376675"/>
                <a:gd name="connsiteX2" fmla="*/ 169840 w 189870"/>
                <a:gd name="connsiteY2" fmla="*/ 140619 h 376675"/>
                <a:gd name="connsiteX3" fmla="*/ 139018 w 189870"/>
                <a:gd name="connsiteY3" fmla="*/ 38454 h 376675"/>
                <a:gd name="connsiteX4" fmla="*/ 138923 w 189870"/>
                <a:gd name="connsiteY4" fmla="*/ 32215 h 376675"/>
                <a:gd name="connsiteX5" fmla="*/ 136418 w 189870"/>
                <a:gd name="connsiteY5" fmla="*/ 37911 h 376675"/>
                <a:gd name="connsiteX6" fmla="*/ 38739 w 189870"/>
                <a:gd name="connsiteY6" fmla="*/ 376582 h 376675"/>
                <a:gd name="connsiteX7" fmla="*/ 48207 w 189870"/>
                <a:gd name="connsiteY7" fmla="*/ 375277 h 376675"/>
                <a:gd name="connsiteX8" fmla="*/ 54874 w 189870"/>
                <a:gd name="connsiteY8" fmla="*/ 370857 h 376675"/>
                <a:gd name="connsiteX9" fmla="*/ 66647 w 189870"/>
                <a:gd name="connsiteY9" fmla="*/ 365314 h 376675"/>
                <a:gd name="connsiteX10" fmla="*/ 75229 w 189870"/>
                <a:gd name="connsiteY10" fmla="*/ 365295 h 376675"/>
                <a:gd name="connsiteX11" fmla="*/ 81811 w 189870"/>
                <a:gd name="connsiteY11" fmla="*/ 361847 h 376675"/>
                <a:gd name="connsiteX12" fmla="*/ 87230 w 189870"/>
                <a:gd name="connsiteY12" fmla="*/ 356770 h 376675"/>
                <a:gd name="connsiteX13" fmla="*/ 91555 w 189870"/>
                <a:gd name="connsiteY13" fmla="*/ 348692 h 376675"/>
                <a:gd name="connsiteX14" fmla="*/ 95927 w 189870"/>
                <a:gd name="connsiteY14" fmla="*/ 337558 h 376675"/>
                <a:gd name="connsiteX15" fmla="*/ 98774 w 189870"/>
                <a:gd name="connsiteY15" fmla="*/ 332005 h 376675"/>
                <a:gd name="connsiteX16" fmla="*/ 101432 w 189870"/>
                <a:gd name="connsiteY16" fmla="*/ 326471 h 376675"/>
                <a:gd name="connsiteX17" fmla="*/ 104518 w 189870"/>
                <a:gd name="connsiteY17" fmla="*/ 315355 h 376675"/>
                <a:gd name="connsiteX18" fmla="*/ 108329 w 189870"/>
                <a:gd name="connsiteY18" fmla="*/ 304258 h 376675"/>
                <a:gd name="connsiteX19" fmla="*/ 110567 w 189870"/>
                <a:gd name="connsiteY19" fmla="*/ 294866 h 376675"/>
                <a:gd name="connsiteX20" fmla="*/ 112672 w 189870"/>
                <a:gd name="connsiteY20" fmla="*/ 287590 h 376675"/>
                <a:gd name="connsiteX21" fmla="*/ 114929 w 189870"/>
                <a:gd name="connsiteY21" fmla="*/ 282046 h 376675"/>
                <a:gd name="connsiteX22" fmla="*/ 117501 w 189870"/>
                <a:gd name="connsiteY22" fmla="*/ 276493 h 376675"/>
                <a:gd name="connsiteX23" fmla="*/ 119949 w 189870"/>
                <a:gd name="connsiteY23" fmla="*/ 270930 h 376675"/>
                <a:gd name="connsiteX24" fmla="*/ 122206 w 189870"/>
                <a:gd name="connsiteY24" fmla="*/ 265387 h 376675"/>
                <a:gd name="connsiteX25" fmla="*/ 125988 w 189870"/>
                <a:gd name="connsiteY25" fmla="*/ 254300 h 376675"/>
                <a:gd name="connsiteX26" fmla="*/ 128340 w 189870"/>
                <a:gd name="connsiteY26" fmla="*/ 248747 h 376675"/>
                <a:gd name="connsiteX27" fmla="*/ 131579 w 189870"/>
                <a:gd name="connsiteY27" fmla="*/ 237669 h 376675"/>
                <a:gd name="connsiteX28" fmla="*/ 133665 w 189870"/>
                <a:gd name="connsiteY28" fmla="*/ 232078 h 376675"/>
                <a:gd name="connsiteX29" fmla="*/ 136179 w 189870"/>
                <a:gd name="connsiteY29" fmla="*/ 226563 h 376675"/>
                <a:gd name="connsiteX30" fmla="*/ 139008 w 189870"/>
                <a:gd name="connsiteY30" fmla="*/ 221153 h 376675"/>
                <a:gd name="connsiteX31" fmla="*/ 141856 w 189870"/>
                <a:gd name="connsiteY31" fmla="*/ 209884 h 376675"/>
                <a:gd name="connsiteX32" fmla="*/ 144295 w 189870"/>
                <a:gd name="connsiteY32" fmla="*/ 204313 h 376675"/>
                <a:gd name="connsiteX33" fmla="*/ 150734 w 189870"/>
                <a:gd name="connsiteY33" fmla="*/ 187653 h 376675"/>
                <a:gd name="connsiteX34" fmla="*/ 155553 w 189870"/>
                <a:gd name="connsiteY34" fmla="*/ 176605 h 376675"/>
                <a:gd name="connsiteX35" fmla="*/ 158306 w 189870"/>
                <a:gd name="connsiteY35" fmla="*/ 169956 h 376675"/>
                <a:gd name="connsiteX36" fmla="*/ 160373 w 189870"/>
                <a:gd name="connsiteY36" fmla="*/ 159954 h 376675"/>
                <a:gd name="connsiteX37" fmla="*/ 160716 w 189870"/>
                <a:gd name="connsiteY37" fmla="*/ 151106 h 376675"/>
                <a:gd name="connsiteX38" fmla="*/ 161040 w 189870"/>
                <a:gd name="connsiteY38" fmla="*/ 143257 h 376675"/>
                <a:gd name="connsiteX39" fmla="*/ 163497 w 189870"/>
                <a:gd name="connsiteY39" fmla="*/ 137704 h 376675"/>
                <a:gd name="connsiteX40" fmla="*/ 170813 w 189870"/>
                <a:gd name="connsiteY40" fmla="*/ 133256 h 376675"/>
                <a:gd name="connsiteX41" fmla="*/ 170526 w 189870"/>
                <a:gd name="connsiteY41" fmla="*/ 126588 h 376675"/>
                <a:gd name="connsiteX42" fmla="*/ 171526 w 189870"/>
                <a:gd name="connsiteY42" fmla="*/ 120511 h 376675"/>
                <a:gd name="connsiteX43" fmla="*/ 171165 w 189870"/>
                <a:gd name="connsiteY43" fmla="*/ 114378 h 376675"/>
                <a:gd name="connsiteX44" fmla="*/ 170003 w 189870"/>
                <a:gd name="connsiteY44" fmla="*/ 107338 h 376675"/>
                <a:gd name="connsiteX45" fmla="*/ 168193 w 189870"/>
                <a:gd name="connsiteY45" fmla="*/ 101414 h 376675"/>
                <a:gd name="connsiteX46" fmla="*/ 169631 w 189870"/>
                <a:gd name="connsiteY46" fmla="*/ 95184 h 376675"/>
                <a:gd name="connsiteX47" fmla="*/ 175299 w 189870"/>
                <a:gd name="connsiteY47" fmla="*/ 98804 h 376675"/>
                <a:gd name="connsiteX48" fmla="*/ 177051 w 189870"/>
                <a:gd name="connsiteY48" fmla="*/ 104948 h 376675"/>
                <a:gd name="connsiteX49" fmla="*/ 181928 w 189870"/>
                <a:gd name="connsiteY49" fmla="*/ 109606 h 376675"/>
                <a:gd name="connsiteX50" fmla="*/ 184786 w 189870"/>
                <a:gd name="connsiteY50" fmla="*/ 103681 h 376675"/>
                <a:gd name="connsiteX51" fmla="*/ 187805 w 189870"/>
                <a:gd name="connsiteY51" fmla="*/ 97509 h 376675"/>
                <a:gd name="connsiteX52" fmla="*/ 189605 w 189870"/>
                <a:gd name="connsiteY52" fmla="*/ 91413 h 376675"/>
                <a:gd name="connsiteX53" fmla="*/ 187224 w 189870"/>
                <a:gd name="connsiteY53" fmla="*/ 84326 h 376675"/>
                <a:gd name="connsiteX54" fmla="*/ 185052 w 189870"/>
                <a:gd name="connsiteY54" fmla="*/ 78430 h 376675"/>
                <a:gd name="connsiteX55" fmla="*/ 183976 w 189870"/>
                <a:gd name="connsiteY55" fmla="*/ 72067 h 376675"/>
                <a:gd name="connsiteX56" fmla="*/ 183671 w 189870"/>
                <a:gd name="connsiteY56" fmla="*/ 65553 h 376675"/>
                <a:gd name="connsiteX57" fmla="*/ 183728 w 189870"/>
                <a:gd name="connsiteY57" fmla="*/ 56151 h 376675"/>
                <a:gd name="connsiteX58" fmla="*/ 183433 w 189870"/>
                <a:gd name="connsiteY58" fmla="*/ 48750 h 376675"/>
                <a:gd name="connsiteX59" fmla="*/ 181661 w 189870"/>
                <a:gd name="connsiteY59" fmla="*/ 42054 h 376675"/>
                <a:gd name="connsiteX60" fmla="*/ 179938 w 189870"/>
                <a:gd name="connsiteY60" fmla="*/ 35996 h 376675"/>
                <a:gd name="connsiteX61" fmla="*/ 179299 w 189870"/>
                <a:gd name="connsiteY61" fmla="*/ 27919 h 376675"/>
                <a:gd name="connsiteX62" fmla="*/ 175870 w 189870"/>
                <a:gd name="connsiteY62" fmla="*/ 22566 h 376675"/>
                <a:gd name="connsiteX63" fmla="*/ 171660 w 189870"/>
                <a:gd name="connsiteY63" fmla="*/ 17213 h 376675"/>
                <a:gd name="connsiteX64" fmla="*/ 169803 w 189870"/>
                <a:gd name="connsiteY64" fmla="*/ 11336 h 376675"/>
                <a:gd name="connsiteX65" fmla="*/ 167145 w 189870"/>
                <a:gd name="connsiteY65" fmla="*/ 5993 h 376675"/>
                <a:gd name="connsiteX66" fmla="*/ 165583 w 189870"/>
                <a:gd name="connsiteY66" fmla="*/ -94 h 376675"/>
                <a:gd name="connsiteX67" fmla="*/ 159878 w 189870"/>
                <a:gd name="connsiteY67" fmla="*/ 1611 h 376675"/>
                <a:gd name="connsiteX68" fmla="*/ 159487 w 189870"/>
                <a:gd name="connsiteY68" fmla="*/ 7745 h 376675"/>
                <a:gd name="connsiteX69" fmla="*/ 155601 w 189870"/>
                <a:gd name="connsiteY69" fmla="*/ 12469 h 376675"/>
                <a:gd name="connsiteX70" fmla="*/ 154001 w 189870"/>
                <a:gd name="connsiteY70" fmla="*/ 18318 h 376675"/>
                <a:gd name="connsiteX71" fmla="*/ 154105 w 189870"/>
                <a:gd name="connsiteY71" fmla="*/ 25719 h 376675"/>
                <a:gd name="connsiteX72" fmla="*/ 151153 w 189870"/>
                <a:gd name="connsiteY72" fmla="*/ 32405 h 376675"/>
                <a:gd name="connsiteX73" fmla="*/ 148448 w 189870"/>
                <a:gd name="connsiteY73" fmla="*/ 38882 h 376675"/>
                <a:gd name="connsiteX74" fmla="*/ 143409 w 189870"/>
                <a:gd name="connsiteY74" fmla="*/ 42092 h 376675"/>
                <a:gd name="connsiteX75" fmla="*/ 138542 w 189870"/>
                <a:gd name="connsiteY75" fmla="*/ 45759 h 376675"/>
                <a:gd name="connsiteX76" fmla="*/ 133055 w 189870"/>
                <a:gd name="connsiteY76" fmla="*/ 42797 h 376675"/>
                <a:gd name="connsiteX77" fmla="*/ 127816 w 189870"/>
                <a:gd name="connsiteY77" fmla="*/ 45921 h 376675"/>
                <a:gd name="connsiteX78" fmla="*/ 128502 w 189870"/>
                <a:gd name="connsiteY78" fmla="*/ 52103 h 376675"/>
                <a:gd name="connsiteX79" fmla="*/ 131407 w 189870"/>
                <a:gd name="connsiteY79" fmla="*/ 57675 h 376675"/>
                <a:gd name="connsiteX80" fmla="*/ 129960 w 189870"/>
                <a:gd name="connsiteY80" fmla="*/ 63466 h 376675"/>
                <a:gd name="connsiteX81" fmla="*/ 128045 w 189870"/>
                <a:gd name="connsiteY81" fmla="*/ 56866 h 376675"/>
                <a:gd name="connsiteX82" fmla="*/ 124444 w 189870"/>
                <a:gd name="connsiteY82" fmla="*/ 62714 h 376675"/>
                <a:gd name="connsiteX83" fmla="*/ 123111 w 189870"/>
                <a:gd name="connsiteY83" fmla="*/ 68972 h 376675"/>
                <a:gd name="connsiteX84" fmla="*/ 121463 w 189870"/>
                <a:gd name="connsiteY84" fmla="*/ 75068 h 376675"/>
                <a:gd name="connsiteX85" fmla="*/ 118882 w 189870"/>
                <a:gd name="connsiteY85" fmla="*/ 80640 h 376675"/>
                <a:gd name="connsiteX86" fmla="*/ 115367 w 189870"/>
                <a:gd name="connsiteY86" fmla="*/ 85764 h 376675"/>
                <a:gd name="connsiteX87" fmla="*/ 116434 w 189870"/>
                <a:gd name="connsiteY87" fmla="*/ 78935 h 376675"/>
                <a:gd name="connsiteX88" fmla="*/ 110757 w 189870"/>
                <a:gd name="connsiteY88" fmla="*/ 81602 h 376675"/>
                <a:gd name="connsiteX89" fmla="*/ 105366 w 189870"/>
                <a:gd name="connsiteY89" fmla="*/ 87088 h 376675"/>
                <a:gd name="connsiteX90" fmla="*/ 107814 w 189870"/>
                <a:gd name="connsiteY90" fmla="*/ 93251 h 376675"/>
                <a:gd name="connsiteX91" fmla="*/ 102013 w 189870"/>
                <a:gd name="connsiteY91" fmla="*/ 95184 h 376675"/>
                <a:gd name="connsiteX92" fmla="*/ 103013 w 189870"/>
                <a:gd name="connsiteY92" fmla="*/ 88927 h 376675"/>
                <a:gd name="connsiteX93" fmla="*/ 97127 w 189870"/>
                <a:gd name="connsiteY93" fmla="*/ 91717 h 376675"/>
                <a:gd name="connsiteX94" fmla="*/ 91221 w 189870"/>
                <a:gd name="connsiteY94" fmla="*/ 96490 h 376675"/>
                <a:gd name="connsiteX95" fmla="*/ 86687 w 189870"/>
                <a:gd name="connsiteY95" fmla="*/ 100605 h 376675"/>
                <a:gd name="connsiteX96" fmla="*/ 89345 w 189870"/>
                <a:gd name="connsiteY96" fmla="*/ 106624 h 376675"/>
                <a:gd name="connsiteX97" fmla="*/ 84354 w 189870"/>
                <a:gd name="connsiteY97" fmla="*/ 102233 h 376675"/>
                <a:gd name="connsiteX98" fmla="*/ 78496 w 189870"/>
                <a:gd name="connsiteY98" fmla="*/ 104948 h 376675"/>
                <a:gd name="connsiteX99" fmla="*/ 71409 w 189870"/>
                <a:gd name="connsiteY99" fmla="*/ 104300 h 376675"/>
                <a:gd name="connsiteX100" fmla="*/ 68257 w 189870"/>
                <a:gd name="connsiteY100" fmla="*/ 109920 h 376675"/>
                <a:gd name="connsiteX101" fmla="*/ 62160 w 189870"/>
                <a:gd name="connsiteY101" fmla="*/ 109510 h 376675"/>
                <a:gd name="connsiteX102" fmla="*/ 55046 w 189870"/>
                <a:gd name="connsiteY102" fmla="*/ 112006 h 376675"/>
                <a:gd name="connsiteX103" fmla="*/ 48997 w 189870"/>
                <a:gd name="connsiteY103" fmla="*/ 116892 h 376675"/>
                <a:gd name="connsiteX104" fmla="*/ 40168 w 189870"/>
                <a:gd name="connsiteY104" fmla="*/ 114911 h 376675"/>
                <a:gd name="connsiteX105" fmla="*/ 39596 w 189870"/>
                <a:gd name="connsiteY105" fmla="*/ 123874 h 376675"/>
                <a:gd name="connsiteX106" fmla="*/ 36796 w 189870"/>
                <a:gd name="connsiteY106" fmla="*/ 131389 h 376675"/>
                <a:gd name="connsiteX107" fmla="*/ 32824 w 189870"/>
                <a:gd name="connsiteY107" fmla="*/ 137666 h 376675"/>
                <a:gd name="connsiteX108" fmla="*/ 29185 w 189870"/>
                <a:gd name="connsiteY108" fmla="*/ 143229 h 376675"/>
                <a:gd name="connsiteX109" fmla="*/ 25889 w 189870"/>
                <a:gd name="connsiteY109" fmla="*/ 148791 h 376675"/>
                <a:gd name="connsiteX110" fmla="*/ 24727 w 189870"/>
                <a:gd name="connsiteY110" fmla="*/ 157373 h 376675"/>
                <a:gd name="connsiteX111" fmla="*/ 25746 w 189870"/>
                <a:gd name="connsiteY111" fmla="*/ 165384 h 376675"/>
                <a:gd name="connsiteX112" fmla="*/ 25823 w 189870"/>
                <a:gd name="connsiteY112" fmla="*/ 176547 h 376675"/>
                <a:gd name="connsiteX113" fmla="*/ 28328 w 189870"/>
                <a:gd name="connsiteY113" fmla="*/ 182100 h 376675"/>
                <a:gd name="connsiteX114" fmla="*/ 29528 w 189870"/>
                <a:gd name="connsiteY114" fmla="*/ 191397 h 376675"/>
                <a:gd name="connsiteX115" fmla="*/ 30833 w 189870"/>
                <a:gd name="connsiteY115" fmla="*/ 198674 h 376675"/>
                <a:gd name="connsiteX116" fmla="*/ 33976 w 189870"/>
                <a:gd name="connsiteY116" fmla="*/ 204237 h 376675"/>
                <a:gd name="connsiteX117" fmla="*/ 32147 w 189870"/>
                <a:gd name="connsiteY117" fmla="*/ 210951 h 376675"/>
                <a:gd name="connsiteX118" fmla="*/ 33891 w 189870"/>
                <a:gd name="connsiteY118" fmla="*/ 217514 h 376675"/>
                <a:gd name="connsiteX119" fmla="*/ 29661 w 189870"/>
                <a:gd name="connsiteY119" fmla="*/ 226477 h 376675"/>
                <a:gd name="connsiteX120" fmla="*/ 26585 w 189870"/>
                <a:gd name="connsiteY120" fmla="*/ 232021 h 376675"/>
                <a:gd name="connsiteX121" fmla="*/ 22956 w 189870"/>
                <a:gd name="connsiteY121" fmla="*/ 237583 h 376675"/>
                <a:gd name="connsiteX122" fmla="*/ 18832 w 189870"/>
                <a:gd name="connsiteY122" fmla="*/ 243156 h 376675"/>
                <a:gd name="connsiteX123" fmla="*/ 15078 w 189870"/>
                <a:gd name="connsiteY123" fmla="*/ 254261 h 376675"/>
                <a:gd name="connsiteX124" fmla="*/ 7268 w 189870"/>
                <a:gd name="connsiteY124" fmla="*/ 257338 h 376675"/>
                <a:gd name="connsiteX125" fmla="*/ 5992 w 189870"/>
                <a:gd name="connsiteY125" fmla="*/ 265358 h 376675"/>
                <a:gd name="connsiteX126" fmla="*/ 2877 w 189870"/>
                <a:gd name="connsiteY126" fmla="*/ 270873 h 376675"/>
                <a:gd name="connsiteX127" fmla="*/ 629 w 189870"/>
                <a:gd name="connsiteY127" fmla="*/ 276474 h 376675"/>
                <a:gd name="connsiteX128" fmla="*/ 334 w 189870"/>
                <a:gd name="connsiteY128" fmla="*/ 284313 h 376675"/>
                <a:gd name="connsiteX129" fmla="*/ -266 w 189870"/>
                <a:gd name="connsiteY129" fmla="*/ 290362 h 376675"/>
                <a:gd name="connsiteX130" fmla="*/ 734 w 189870"/>
                <a:gd name="connsiteY130" fmla="*/ 298639 h 376675"/>
                <a:gd name="connsiteX131" fmla="*/ 3611 w 189870"/>
                <a:gd name="connsiteY131" fmla="*/ 304239 h 376675"/>
                <a:gd name="connsiteX132" fmla="*/ 6373 w 189870"/>
                <a:gd name="connsiteY132" fmla="*/ 309745 h 376675"/>
                <a:gd name="connsiteX133" fmla="*/ 9421 w 189870"/>
                <a:gd name="connsiteY133" fmla="*/ 317051 h 376675"/>
                <a:gd name="connsiteX134" fmla="*/ 5830 w 189870"/>
                <a:gd name="connsiteY134" fmla="*/ 322842 h 376675"/>
                <a:gd name="connsiteX135" fmla="*/ 5868 w 189870"/>
                <a:gd name="connsiteY135" fmla="*/ 331986 h 376675"/>
                <a:gd name="connsiteX136" fmla="*/ 5896 w 189870"/>
                <a:gd name="connsiteY136" fmla="*/ 343092 h 376675"/>
                <a:gd name="connsiteX137" fmla="*/ 10697 w 189870"/>
                <a:gd name="connsiteY137" fmla="*/ 348645 h 376675"/>
                <a:gd name="connsiteX138" fmla="*/ 12707 w 189870"/>
                <a:gd name="connsiteY138" fmla="*/ 356160 h 376675"/>
                <a:gd name="connsiteX139" fmla="*/ 14469 w 189870"/>
                <a:gd name="connsiteY139" fmla="*/ 361942 h 376675"/>
                <a:gd name="connsiteX140" fmla="*/ 19679 w 189870"/>
                <a:gd name="connsiteY140" fmla="*/ 365276 h 376675"/>
                <a:gd name="connsiteX141" fmla="*/ 28175 w 189870"/>
                <a:gd name="connsiteY141" fmla="*/ 368428 h 376675"/>
                <a:gd name="connsiteX142" fmla="*/ 34786 w 189870"/>
                <a:gd name="connsiteY142" fmla="*/ 373277 h 37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89870" h="376675">
                  <a:moveTo>
                    <a:pt x="169840" y="140619"/>
                  </a:moveTo>
                  <a:lnTo>
                    <a:pt x="173498" y="134218"/>
                  </a:lnTo>
                  <a:lnTo>
                    <a:pt x="169840" y="140619"/>
                  </a:lnTo>
                  <a:close/>
                  <a:moveTo>
                    <a:pt x="139018" y="38454"/>
                  </a:moveTo>
                  <a:lnTo>
                    <a:pt x="138923" y="32215"/>
                  </a:lnTo>
                  <a:lnTo>
                    <a:pt x="136418" y="37911"/>
                  </a:lnTo>
                  <a:close/>
                  <a:moveTo>
                    <a:pt x="38739" y="376582"/>
                  </a:moveTo>
                  <a:lnTo>
                    <a:pt x="48207" y="375277"/>
                  </a:lnTo>
                  <a:lnTo>
                    <a:pt x="54874" y="370857"/>
                  </a:lnTo>
                  <a:lnTo>
                    <a:pt x="66647" y="365314"/>
                  </a:lnTo>
                  <a:lnTo>
                    <a:pt x="75229" y="365295"/>
                  </a:lnTo>
                  <a:lnTo>
                    <a:pt x="81811" y="361847"/>
                  </a:lnTo>
                  <a:lnTo>
                    <a:pt x="87230" y="356770"/>
                  </a:lnTo>
                  <a:lnTo>
                    <a:pt x="91555" y="348692"/>
                  </a:lnTo>
                  <a:lnTo>
                    <a:pt x="95927" y="337558"/>
                  </a:lnTo>
                  <a:lnTo>
                    <a:pt x="98774" y="332005"/>
                  </a:lnTo>
                  <a:lnTo>
                    <a:pt x="101432" y="326471"/>
                  </a:lnTo>
                  <a:lnTo>
                    <a:pt x="104518" y="315355"/>
                  </a:lnTo>
                  <a:lnTo>
                    <a:pt x="108329" y="304258"/>
                  </a:lnTo>
                  <a:lnTo>
                    <a:pt x="110567" y="294866"/>
                  </a:lnTo>
                  <a:lnTo>
                    <a:pt x="112672" y="287590"/>
                  </a:lnTo>
                  <a:lnTo>
                    <a:pt x="114929" y="282046"/>
                  </a:lnTo>
                  <a:lnTo>
                    <a:pt x="117501" y="276493"/>
                  </a:lnTo>
                  <a:lnTo>
                    <a:pt x="119949" y="270930"/>
                  </a:lnTo>
                  <a:lnTo>
                    <a:pt x="122206" y="265387"/>
                  </a:lnTo>
                  <a:lnTo>
                    <a:pt x="125988" y="254300"/>
                  </a:lnTo>
                  <a:lnTo>
                    <a:pt x="128340" y="248747"/>
                  </a:lnTo>
                  <a:lnTo>
                    <a:pt x="131579" y="237669"/>
                  </a:lnTo>
                  <a:lnTo>
                    <a:pt x="133665" y="232078"/>
                  </a:lnTo>
                  <a:lnTo>
                    <a:pt x="136179" y="226563"/>
                  </a:lnTo>
                  <a:lnTo>
                    <a:pt x="139008" y="221153"/>
                  </a:lnTo>
                  <a:lnTo>
                    <a:pt x="141856" y="209884"/>
                  </a:lnTo>
                  <a:lnTo>
                    <a:pt x="144295" y="204313"/>
                  </a:lnTo>
                  <a:lnTo>
                    <a:pt x="150734" y="187653"/>
                  </a:lnTo>
                  <a:lnTo>
                    <a:pt x="155553" y="176605"/>
                  </a:lnTo>
                  <a:lnTo>
                    <a:pt x="158306" y="169956"/>
                  </a:lnTo>
                  <a:lnTo>
                    <a:pt x="160373" y="159954"/>
                  </a:lnTo>
                  <a:lnTo>
                    <a:pt x="160716" y="151106"/>
                  </a:lnTo>
                  <a:lnTo>
                    <a:pt x="161040" y="143257"/>
                  </a:lnTo>
                  <a:lnTo>
                    <a:pt x="163497" y="137704"/>
                  </a:lnTo>
                  <a:lnTo>
                    <a:pt x="170813" y="133256"/>
                  </a:lnTo>
                  <a:lnTo>
                    <a:pt x="170526" y="126588"/>
                  </a:lnTo>
                  <a:lnTo>
                    <a:pt x="171526" y="120511"/>
                  </a:lnTo>
                  <a:lnTo>
                    <a:pt x="171165" y="114378"/>
                  </a:lnTo>
                  <a:lnTo>
                    <a:pt x="170003" y="107338"/>
                  </a:lnTo>
                  <a:lnTo>
                    <a:pt x="168193" y="101414"/>
                  </a:lnTo>
                  <a:lnTo>
                    <a:pt x="169631" y="95184"/>
                  </a:lnTo>
                  <a:lnTo>
                    <a:pt x="175299" y="98804"/>
                  </a:lnTo>
                  <a:lnTo>
                    <a:pt x="177051" y="104948"/>
                  </a:lnTo>
                  <a:lnTo>
                    <a:pt x="181928" y="109606"/>
                  </a:lnTo>
                  <a:lnTo>
                    <a:pt x="184786" y="103681"/>
                  </a:lnTo>
                  <a:lnTo>
                    <a:pt x="187805" y="97509"/>
                  </a:lnTo>
                  <a:lnTo>
                    <a:pt x="189605" y="91413"/>
                  </a:lnTo>
                  <a:lnTo>
                    <a:pt x="187224" y="84326"/>
                  </a:lnTo>
                  <a:lnTo>
                    <a:pt x="185052" y="78430"/>
                  </a:lnTo>
                  <a:lnTo>
                    <a:pt x="183976" y="72067"/>
                  </a:lnTo>
                  <a:lnTo>
                    <a:pt x="183671" y="65553"/>
                  </a:lnTo>
                  <a:lnTo>
                    <a:pt x="183728" y="56151"/>
                  </a:lnTo>
                  <a:lnTo>
                    <a:pt x="183433" y="48750"/>
                  </a:lnTo>
                  <a:lnTo>
                    <a:pt x="181661" y="42054"/>
                  </a:lnTo>
                  <a:lnTo>
                    <a:pt x="179938" y="35996"/>
                  </a:lnTo>
                  <a:lnTo>
                    <a:pt x="179299" y="27919"/>
                  </a:lnTo>
                  <a:lnTo>
                    <a:pt x="175870" y="22566"/>
                  </a:lnTo>
                  <a:lnTo>
                    <a:pt x="171660" y="17213"/>
                  </a:lnTo>
                  <a:lnTo>
                    <a:pt x="169803" y="11336"/>
                  </a:lnTo>
                  <a:lnTo>
                    <a:pt x="167145" y="5993"/>
                  </a:lnTo>
                  <a:lnTo>
                    <a:pt x="165583" y="-94"/>
                  </a:lnTo>
                  <a:lnTo>
                    <a:pt x="159878" y="1611"/>
                  </a:lnTo>
                  <a:lnTo>
                    <a:pt x="159487" y="7745"/>
                  </a:lnTo>
                  <a:lnTo>
                    <a:pt x="155601" y="12469"/>
                  </a:lnTo>
                  <a:lnTo>
                    <a:pt x="154001" y="18318"/>
                  </a:lnTo>
                  <a:lnTo>
                    <a:pt x="154105" y="25719"/>
                  </a:lnTo>
                  <a:lnTo>
                    <a:pt x="151153" y="32405"/>
                  </a:lnTo>
                  <a:lnTo>
                    <a:pt x="148448" y="38882"/>
                  </a:lnTo>
                  <a:lnTo>
                    <a:pt x="143409" y="42092"/>
                  </a:lnTo>
                  <a:lnTo>
                    <a:pt x="138542" y="45759"/>
                  </a:lnTo>
                  <a:lnTo>
                    <a:pt x="133055" y="42797"/>
                  </a:lnTo>
                  <a:lnTo>
                    <a:pt x="127816" y="45921"/>
                  </a:lnTo>
                  <a:lnTo>
                    <a:pt x="128502" y="52103"/>
                  </a:lnTo>
                  <a:lnTo>
                    <a:pt x="131407" y="57675"/>
                  </a:lnTo>
                  <a:lnTo>
                    <a:pt x="129960" y="63466"/>
                  </a:lnTo>
                  <a:lnTo>
                    <a:pt x="128045" y="56866"/>
                  </a:lnTo>
                  <a:lnTo>
                    <a:pt x="124444" y="62714"/>
                  </a:lnTo>
                  <a:lnTo>
                    <a:pt x="123111" y="68972"/>
                  </a:lnTo>
                  <a:lnTo>
                    <a:pt x="121463" y="75068"/>
                  </a:lnTo>
                  <a:lnTo>
                    <a:pt x="118882" y="80640"/>
                  </a:lnTo>
                  <a:lnTo>
                    <a:pt x="115367" y="85764"/>
                  </a:lnTo>
                  <a:lnTo>
                    <a:pt x="116434" y="78935"/>
                  </a:lnTo>
                  <a:lnTo>
                    <a:pt x="110757" y="81602"/>
                  </a:lnTo>
                  <a:lnTo>
                    <a:pt x="105366" y="87088"/>
                  </a:lnTo>
                  <a:lnTo>
                    <a:pt x="107814" y="93251"/>
                  </a:lnTo>
                  <a:lnTo>
                    <a:pt x="102013" y="95184"/>
                  </a:lnTo>
                  <a:lnTo>
                    <a:pt x="103013" y="88927"/>
                  </a:lnTo>
                  <a:lnTo>
                    <a:pt x="97127" y="91717"/>
                  </a:lnTo>
                  <a:lnTo>
                    <a:pt x="91221" y="96490"/>
                  </a:lnTo>
                  <a:lnTo>
                    <a:pt x="86687" y="100605"/>
                  </a:lnTo>
                  <a:lnTo>
                    <a:pt x="89345" y="106624"/>
                  </a:lnTo>
                  <a:lnTo>
                    <a:pt x="84354" y="102233"/>
                  </a:lnTo>
                  <a:lnTo>
                    <a:pt x="78496" y="104948"/>
                  </a:lnTo>
                  <a:lnTo>
                    <a:pt x="71409" y="104300"/>
                  </a:lnTo>
                  <a:lnTo>
                    <a:pt x="68257" y="109920"/>
                  </a:lnTo>
                  <a:lnTo>
                    <a:pt x="62160" y="109510"/>
                  </a:lnTo>
                  <a:lnTo>
                    <a:pt x="55046" y="112006"/>
                  </a:lnTo>
                  <a:lnTo>
                    <a:pt x="48997" y="116892"/>
                  </a:lnTo>
                  <a:lnTo>
                    <a:pt x="40168" y="114911"/>
                  </a:lnTo>
                  <a:lnTo>
                    <a:pt x="39596" y="123874"/>
                  </a:lnTo>
                  <a:lnTo>
                    <a:pt x="36796" y="131389"/>
                  </a:lnTo>
                  <a:lnTo>
                    <a:pt x="32824" y="137666"/>
                  </a:lnTo>
                  <a:lnTo>
                    <a:pt x="29185" y="143229"/>
                  </a:lnTo>
                  <a:lnTo>
                    <a:pt x="25889" y="148791"/>
                  </a:lnTo>
                  <a:lnTo>
                    <a:pt x="24727" y="157373"/>
                  </a:lnTo>
                  <a:lnTo>
                    <a:pt x="25746" y="165384"/>
                  </a:lnTo>
                  <a:lnTo>
                    <a:pt x="25823" y="176547"/>
                  </a:lnTo>
                  <a:lnTo>
                    <a:pt x="28328" y="182100"/>
                  </a:lnTo>
                  <a:lnTo>
                    <a:pt x="29528" y="191397"/>
                  </a:lnTo>
                  <a:lnTo>
                    <a:pt x="30833" y="198674"/>
                  </a:lnTo>
                  <a:lnTo>
                    <a:pt x="33976" y="204237"/>
                  </a:lnTo>
                  <a:lnTo>
                    <a:pt x="32147" y="210951"/>
                  </a:lnTo>
                  <a:lnTo>
                    <a:pt x="33891" y="217514"/>
                  </a:lnTo>
                  <a:lnTo>
                    <a:pt x="29661" y="226477"/>
                  </a:lnTo>
                  <a:lnTo>
                    <a:pt x="26585" y="232021"/>
                  </a:lnTo>
                  <a:lnTo>
                    <a:pt x="22956" y="237583"/>
                  </a:lnTo>
                  <a:lnTo>
                    <a:pt x="18832" y="243156"/>
                  </a:lnTo>
                  <a:lnTo>
                    <a:pt x="15078" y="254261"/>
                  </a:lnTo>
                  <a:lnTo>
                    <a:pt x="7268" y="257338"/>
                  </a:lnTo>
                  <a:lnTo>
                    <a:pt x="5992" y="265358"/>
                  </a:lnTo>
                  <a:lnTo>
                    <a:pt x="2877" y="270873"/>
                  </a:lnTo>
                  <a:lnTo>
                    <a:pt x="629" y="276474"/>
                  </a:lnTo>
                  <a:lnTo>
                    <a:pt x="334" y="284313"/>
                  </a:lnTo>
                  <a:lnTo>
                    <a:pt x="-266" y="290362"/>
                  </a:lnTo>
                  <a:lnTo>
                    <a:pt x="734" y="298639"/>
                  </a:lnTo>
                  <a:lnTo>
                    <a:pt x="3611" y="304239"/>
                  </a:lnTo>
                  <a:lnTo>
                    <a:pt x="6373" y="309745"/>
                  </a:lnTo>
                  <a:lnTo>
                    <a:pt x="9421" y="317051"/>
                  </a:lnTo>
                  <a:lnTo>
                    <a:pt x="5830" y="322842"/>
                  </a:lnTo>
                  <a:lnTo>
                    <a:pt x="5868" y="331986"/>
                  </a:lnTo>
                  <a:lnTo>
                    <a:pt x="5896" y="343092"/>
                  </a:lnTo>
                  <a:lnTo>
                    <a:pt x="10697" y="348645"/>
                  </a:lnTo>
                  <a:lnTo>
                    <a:pt x="12707" y="356160"/>
                  </a:lnTo>
                  <a:lnTo>
                    <a:pt x="14469" y="361942"/>
                  </a:lnTo>
                  <a:lnTo>
                    <a:pt x="19679" y="365276"/>
                  </a:lnTo>
                  <a:lnTo>
                    <a:pt x="28175" y="368428"/>
                  </a:lnTo>
                  <a:lnTo>
                    <a:pt x="34786" y="373277"/>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0" name="Freeform: Shape 29">
              <a:extLst>
                <a:ext uri="{FF2B5EF4-FFF2-40B4-BE49-F238E27FC236}">
                  <a16:creationId xmlns:a16="http://schemas.microsoft.com/office/drawing/2014/main" id="{3DCF0583-1015-72F9-2A38-01A584813832}"/>
                </a:ext>
              </a:extLst>
            </p:cNvPr>
            <p:cNvSpPr/>
            <p:nvPr/>
          </p:nvSpPr>
          <p:spPr>
            <a:xfrm>
              <a:off x="8126270" y="3427514"/>
              <a:ext cx="8385" cy="16162"/>
            </a:xfrm>
            <a:custGeom>
              <a:avLst/>
              <a:gdLst>
                <a:gd name="connsiteX0" fmla="*/ 705 w 2942"/>
                <a:gd name="connsiteY0" fmla="*/ 5573 h 5667"/>
                <a:gd name="connsiteX1" fmla="*/ 2677 w 2942"/>
                <a:gd name="connsiteY1" fmla="*/ -94 h 5667"/>
                <a:gd name="connsiteX2" fmla="*/ -266 w 2942"/>
                <a:gd name="connsiteY2" fmla="*/ 5116 h 5667"/>
              </a:gdLst>
              <a:ahLst/>
              <a:cxnLst>
                <a:cxn ang="0">
                  <a:pos x="connsiteX0" y="connsiteY0"/>
                </a:cxn>
                <a:cxn ang="0">
                  <a:pos x="connsiteX1" y="connsiteY1"/>
                </a:cxn>
                <a:cxn ang="0">
                  <a:pos x="connsiteX2" y="connsiteY2"/>
                </a:cxn>
              </a:cxnLst>
              <a:rect l="l" t="t" r="r" b="b"/>
              <a:pathLst>
                <a:path w="2942" h="5667">
                  <a:moveTo>
                    <a:pt x="705" y="5573"/>
                  </a:moveTo>
                  <a:lnTo>
                    <a:pt x="2677" y="-94"/>
                  </a:lnTo>
                  <a:lnTo>
                    <a:pt x="-266" y="5116"/>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1" name="Freeform: Shape 30">
              <a:extLst>
                <a:ext uri="{FF2B5EF4-FFF2-40B4-BE49-F238E27FC236}">
                  <a16:creationId xmlns:a16="http://schemas.microsoft.com/office/drawing/2014/main" id="{A5BF8A45-74DA-5BCF-901B-F8A390515FB7}"/>
                </a:ext>
              </a:extLst>
            </p:cNvPr>
            <p:cNvSpPr/>
            <p:nvPr/>
          </p:nvSpPr>
          <p:spPr>
            <a:xfrm>
              <a:off x="7250535" y="3158661"/>
              <a:ext cx="221375" cy="611890"/>
            </a:xfrm>
            <a:custGeom>
              <a:avLst/>
              <a:gdLst>
                <a:gd name="connsiteX0" fmla="*/ 55122 w 77676"/>
                <a:gd name="connsiteY0" fmla="*/ 214457 h 214550"/>
                <a:gd name="connsiteX1" fmla="*/ 60084 w 77676"/>
                <a:gd name="connsiteY1" fmla="*/ 211037 h 214550"/>
                <a:gd name="connsiteX2" fmla="*/ 60256 w 77676"/>
                <a:gd name="connsiteY2" fmla="*/ 204780 h 214550"/>
                <a:gd name="connsiteX3" fmla="*/ 57303 w 77676"/>
                <a:gd name="connsiteY3" fmla="*/ 199522 h 214550"/>
                <a:gd name="connsiteX4" fmla="*/ 60218 w 77676"/>
                <a:gd name="connsiteY4" fmla="*/ 194226 h 214550"/>
                <a:gd name="connsiteX5" fmla="*/ 62485 w 77676"/>
                <a:gd name="connsiteY5" fmla="*/ 188377 h 214550"/>
                <a:gd name="connsiteX6" fmla="*/ 68333 w 77676"/>
                <a:gd name="connsiteY6" fmla="*/ 186558 h 214550"/>
                <a:gd name="connsiteX7" fmla="*/ 74210 w 77676"/>
                <a:gd name="connsiteY7" fmla="*/ 184081 h 214550"/>
                <a:gd name="connsiteX8" fmla="*/ 74705 w 77676"/>
                <a:gd name="connsiteY8" fmla="*/ 178119 h 214550"/>
                <a:gd name="connsiteX9" fmla="*/ 75429 w 77676"/>
                <a:gd name="connsiteY9" fmla="*/ 172014 h 214550"/>
                <a:gd name="connsiteX10" fmla="*/ 75848 w 77676"/>
                <a:gd name="connsiteY10" fmla="*/ 165622 h 214550"/>
                <a:gd name="connsiteX11" fmla="*/ 77001 w 77676"/>
                <a:gd name="connsiteY11" fmla="*/ 155402 h 214550"/>
                <a:gd name="connsiteX12" fmla="*/ 77410 w 77676"/>
                <a:gd name="connsiteY12" fmla="*/ 146344 h 214550"/>
                <a:gd name="connsiteX13" fmla="*/ 72228 w 77676"/>
                <a:gd name="connsiteY13" fmla="*/ 139085 h 214550"/>
                <a:gd name="connsiteX14" fmla="*/ 68400 w 77676"/>
                <a:gd name="connsiteY14" fmla="*/ 132323 h 214550"/>
                <a:gd name="connsiteX15" fmla="*/ 62285 w 77676"/>
                <a:gd name="connsiteY15" fmla="*/ 124284 h 214550"/>
                <a:gd name="connsiteX16" fmla="*/ 59055 w 77676"/>
                <a:gd name="connsiteY16" fmla="*/ 119245 h 214550"/>
                <a:gd name="connsiteX17" fmla="*/ 53760 w 77676"/>
                <a:gd name="connsiteY17" fmla="*/ 113244 h 214550"/>
                <a:gd name="connsiteX18" fmla="*/ 47359 w 77676"/>
                <a:gd name="connsiteY18" fmla="*/ 113244 h 214550"/>
                <a:gd name="connsiteX19" fmla="*/ 46825 w 77676"/>
                <a:gd name="connsiteY19" fmla="*/ 106272 h 214550"/>
                <a:gd name="connsiteX20" fmla="*/ 46358 w 77676"/>
                <a:gd name="connsiteY20" fmla="*/ 100042 h 214550"/>
                <a:gd name="connsiteX21" fmla="*/ 46273 w 77676"/>
                <a:gd name="connsiteY21" fmla="*/ 92508 h 214550"/>
                <a:gd name="connsiteX22" fmla="*/ 43996 w 77676"/>
                <a:gd name="connsiteY22" fmla="*/ 83193 h 214550"/>
                <a:gd name="connsiteX23" fmla="*/ 42920 w 77676"/>
                <a:gd name="connsiteY23" fmla="*/ 76840 h 214550"/>
                <a:gd name="connsiteX24" fmla="*/ 45711 w 77676"/>
                <a:gd name="connsiteY24" fmla="*/ 71305 h 214550"/>
                <a:gd name="connsiteX25" fmla="*/ 49654 w 77676"/>
                <a:gd name="connsiteY25" fmla="*/ 64838 h 214550"/>
                <a:gd name="connsiteX26" fmla="*/ 57836 w 77676"/>
                <a:gd name="connsiteY26" fmla="*/ 60237 h 214550"/>
                <a:gd name="connsiteX27" fmla="*/ 54255 w 77676"/>
                <a:gd name="connsiteY27" fmla="*/ 53256 h 214550"/>
                <a:gd name="connsiteX28" fmla="*/ 50264 w 77676"/>
                <a:gd name="connsiteY28" fmla="*/ 47512 h 214550"/>
                <a:gd name="connsiteX29" fmla="*/ 51540 w 77676"/>
                <a:gd name="connsiteY29" fmla="*/ 41683 h 214550"/>
                <a:gd name="connsiteX30" fmla="*/ 51255 w 77676"/>
                <a:gd name="connsiteY30" fmla="*/ 35672 h 214550"/>
                <a:gd name="connsiteX31" fmla="*/ 49664 w 77676"/>
                <a:gd name="connsiteY31" fmla="*/ 29586 h 214550"/>
                <a:gd name="connsiteX32" fmla="*/ 49483 w 77676"/>
                <a:gd name="connsiteY32" fmla="*/ 23262 h 214550"/>
                <a:gd name="connsiteX33" fmla="*/ 48035 w 77676"/>
                <a:gd name="connsiteY33" fmla="*/ 16994 h 214550"/>
                <a:gd name="connsiteX34" fmla="*/ 44216 w 77676"/>
                <a:gd name="connsiteY34" fmla="*/ 11003 h 214550"/>
                <a:gd name="connsiteX35" fmla="*/ 39691 w 77676"/>
                <a:gd name="connsiteY35" fmla="*/ 5450 h 214550"/>
                <a:gd name="connsiteX36" fmla="*/ 34224 w 77676"/>
                <a:gd name="connsiteY36" fmla="*/ 8755 h 214550"/>
                <a:gd name="connsiteX37" fmla="*/ 28909 w 77676"/>
                <a:gd name="connsiteY37" fmla="*/ 5002 h 214550"/>
                <a:gd name="connsiteX38" fmla="*/ 23041 w 77676"/>
                <a:gd name="connsiteY38" fmla="*/ 6126 h 214550"/>
                <a:gd name="connsiteX39" fmla="*/ 17955 w 77676"/>
                <a:gd name="connsiteY39" fmla="*/ 2697 h 214550"/>
                <a:gd name="connsiteX40" fmla="*/ 11659 w 77676"/>
                <a:gd name="connsiteY40" fmla="*/ -94 h 214550"/>
                <a:gd name="connsiteX41" fmla="*/ 10821 w 77676"/>
                <a:gd name="connsiteY41" fmla="*/ 6069 h 214550"/>
                <a:gd name="connsiteX42" fmla="*/ 16870 w 77676"/>
                <a:gd name="connsiteY42" fmla="*/ 7221 h 214550"/>
                <a:gd name="connsiteX43" fmla="*/ 20289 w 77676"/>
                <a:gd name="connsiteY43" fmla="*/ 12794 h 214550"/>
                <a:gd name="connsiteX44" fmla="*/ 19346 w 77676"/>
                <a:gd name="connsiteY44" fmla="*/ 19004 h 214550"/>
                <a:gd name="connsiteX45" fmla="*/ 24280 w 77676"/>
                <a:gd name="connsiteY45" fmla="*/ 22337 h 214550"/>
                <a:gd name="connsiteX46" fmla="*/ 26071 w 77676"/>
                <a:gd name="connsiteY46" fmla="*/ 29272 h 214550"/>
                <a:gd name="connsiteX47" fmla="*/ 23756 w 77676"/>
                <a:gd name="connsiteY47" fmla="*/ 36949 h 214550"/>
                <a:gd name="connsiteX48" fmla="*/ 17774 w 77676"/>
                <a:gd name="connsiteY48" fmla="*/ 40578 h 214550"/>
                <a:gd name="connsiteX49" fmla="*/ 18898 w 77676"/>
                <a:gd name="connsiteY49" fmla="*/ 47217 h 214550"/>
                <a:gd name="connsiteX50" fmla="*/ 17670 w 77676"/>
                <a:gd name="connsiteY50" fmla="*/ 53427 h 214550"/>
                <a:gd name="connsiteX51" fmla="*/ 15869 w 77676"/>
                <a:gd name="connsiteY51" fmla="*/ 59285 h 214550"/>
                <a:gd name="connsiteX52" fmla="*/ 17355 w 77676"/>
                <a:gd name="connsiteY52" fmla="*/ 66505 h 214550"/>
                <a:gd name="connsiteX53" fmla="*/ 15736 w 77676"/>
                <a:gd name="connsiteY53" fmla="*/ 73868 h 214550"/>
                <a:gd name="connsiteX54" fmla="*/ 18003 w 77676"/>
                <a:gd name="connsiteY54" fmla="*/ 81726 h 214550"/>
                <a:gd name="connsiteX55" fmla="*/ 15574 w 77676"/>
                <a:gd name="connsiteY55" fmla="*/ 87365 h 214550"/>
                <a:gd name="connsiteX56" fmla="*/ 9697 w 77676"/>
                <a:gd name="connsiteY56" fmla="*/ 88708 h 214550"/>
                <a:gd name="connsiteX57" fmla="*/ 7011 w 77676"/>
                <a:gd name="connsiteY57" fmla="*/ 94156 h 214550"/>
                <a:gd name="connsiteX58" fmla="*/ 7735 w 77676"/>
                <a:gd name="connsiteY58" fmla="*/ 100785 h 214550"/>
                <a:gd name="connsiteX59" fmla="*/ 7182 w 77676"/>
                <a:gd name="connsiteY59" fmla="*/ 107091 h 214550"/>
                <a:gd name="connsiteX60" fmla="*/ 4792 w 77676"/>
                <a:gd name="connsiteY60" fmla="*/ 112692 h 214550"/>
                <a:gd name="connsiteX61" fmla="*/ -266 w 77676"/>
                <a:gd name="connsiteY61" fmla="*/ 116149 h 214550"/>
                <a:gd name="connsiteX62" fmla="*/ 2353 w 77676"/>
                <a:gd name="connsiteY62" fmla="*/ 121645 h 214550"/>
                <a:gd name="connsiteX63" fmla="*/ 6563 w 77676"/>
                <a:gd name="connsiteY63" fmla="*/ 125931 h 214550"/>
                <a:gd name="connsiteX64" fmla="*/ 12383 w 77676"/>
                <a:gd name="connsiteY64" fmla="*/ 127636 h 214550"/>
                <a:gd name="connsiteX65" fmla="*/ 15317 w 77676"/>
                <a:gd name="connsiteY65" fmla="*/ 133132 h 214550"/>
                <a:gd name="connsiteX66" fmla="*/ 18517 w 77676"/>
                <a:gd name="connsiteY66" fmla="*/ 138666 h 214550"/>
                <a:gd name="connsiteX67" fmla="*/ 22356 w 77676"/>
                <a:gd name="connsiteY67" fmla="*/ 143886 h 214550"/>
                <a:gd name="connsiteX68" fmla="*/ 27938 w 77676"/>
                <a:gd name="connsiteY68" fmla="*/ 141790 h 214550"/>
                <a:gd name="connsiteX69" fmla="*/ 36120 w 77676"/>
                <a:gd name="connsiteY69" fmla="*/ 139752 h 214550"/>
                <a:gd name="connsiteX70" fmla="*/ 43130 w 77676"/>
                <a:gd name="connsiteY70" fmla="*/ 142372 h 214550"/>
                <a:gd name="connsiteX71" fmla="*/ 44692 w 77676"/>
                <a:gd name="connsiteY71" fmla="*/ 148449 h 214550"/>
                <a:gd name="connsiteX72" fmla="*/ 45768 w 77676"/>
                <a:gd name="connsiteY72" fmla="*/ 154611 h 214550"/>
                <a:gd name="connsiteX73" fmla="*/ 44949 w 77676"/>
                <a:gd name="connsiteY73" fmla="*/ 160898 h 214550"/>
                <a:gd name="connsiteX74" fmla="*/ 42996 w 77676"/>
                <a:gd name="connsiteY74" fmla="*/ 166851 h 214550"/>
                <a:gd name="connsiteX75" fmla="*/ 40758 w 77676"/>
                <a:gd name="connsiteY75" fmla="*/ 172737 h 214550"/>
                <a:gd name="connsiteX76" fmla="*/ 36624 w 77676"/>
                <a:gd name="connsiteY76" fmla="*/ 177547 h 214550"/>
                <a:gd name="connsiteX77" fmla="*/ 38891 w 77676"/>
                <a:gd name="connsiteY77" fmla="*/ 183091 h 214550"/>
                <a:gd name="connsiteX78" fmla="*/ 39720 w 77676"/>
                <a:gd name="connsiteY78" fmla="*/ 189749 h 214550"/>
                <a:gd name="connsiteX79" fmla="*/ 43720 w 77676"/>
                <a:gd name="connsiteY79" fmla="*/ 194702 h 214550"/>
                <a:gd name="connsiteX80" fmla="*/ 48111 w 77676"/>
                <a:gd name="connsiteY80" fmla="*/ 198960 h 214550"/>
                <a:gd name="connsiteX81" fmla="*/ 51702 w 77676"/>
                <a:gd name="connsiteY81" fmla="*/ 203932 h 214550"/>
                <a:gd name="connsiteX82" fmla="*/ 57103 w 77676"/>
                <a:gd name="connsiteY82" fmla="*/ 206722 h 214550"/>
                <a:gd name="connsiteX83" fmla="*/ 54227 w 77676"/>
                <a:gd name="connsiteY83" fmla="*/ 212237 h 21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7676" h="214550">
                  <a:moveTo>
                    <a:pt x="55122" y="214457"/>
                  </a:moveTo>
                  <a:lnTo>
                    <a:pt x="60084" y="211037"/>
                  </a:lnTo>
                  <a:lnTo>
                    <a:pt x="60256" y="204780"/>
                  </a:lnTo>
                  <a:lnTo>
                    <a:pt x="57303" y="199522"/>
                  </a:lnTo>
                  <a:lnTo>
                    <a:pt x="60218" y="194226"/>
                  </a:lnTo>
                  <a:lnTo>
                    <a:pt x="62485" y="188377"/>
                  </a:lnTo>
                  <a:lnTo>
                    <a:pt x="68333" y="186558"/>
                  </a:lnTo>
                  <a:lnTo>
                    <a:pt x="74210" y="184081"/>
                  </a:lnTo>
                  <a:lnTo>
                    <a:pt x="74705" y="178119"/>
                  </a:lnTo>
                  <a:lnTo>
                    <a:pt x="75429" y="172014"/>
                  </a:lnTo>
                  <a:lnTo>
                    <a:pt x="75848" y="165622"/>
                  </a:lnTo>
                  <a:lnTo>
                    <a:pt x="77001" y="155402"/>
                  </a:lnTo>
                  <a:lnTo>
                    <a:pt x="77410" y="146344"/>
                  </a:lnTo>
                  <a:lnTo>
                    <a:pt x="72228" y="139085"/>
                  </a:lnTo>
                  <a:lnTo>
                    <a:pt x="68400" y="132323"/>
                  </a:lnTo>
                  <a:lnTo>
                    <a:pt x="62285" y="124284"/>
                  </a:lnTo>
                  <a:lnTo>
                    <a:pt x="59055" y="119245"/>
                  </a:lnTo>
                  <a:lnTo>
                    <a:pt x="53760" y="113244"/>
                  </a:lnTo>
                  <a:lnTo>
                    <a:pt x="47359" y="113244"/>
                  </a:lnTo>
                  <a:lnTo>
                    <a:pt x="46825" y="106272"/>
                  </a:lnTo>
                  <a:lnTo>
                    <a:pt x="46358" y="100042"/>
                  </a:lnTo>
                  <a:lnTo>
                    <a:pt x="46273" y="92508"/>
                  </a:lnTo>
                  <a:lnTo>
                    <a:pt x="43996" y="83193"/>
                  </a:lnTo>
                  <a:lnTo>
                    <a:pt x="42920" y="76840"/>
                  </a:lnTo>
                  <a:lnTo>
                    <a:pt x="45711" y="71305"/>
                  </a:lnTo>
                  <a:lnTo>
                    <a:pt x="49654" y="64838"/>
                  </a:lnTo>
                  <a:lnTo>
                    <a:pt x="57836" y="60237"/>
                  </a:lnTo>
                  <a:lnTo>
                    <a:pt x="54255" y="53256"/>
                  </a:lnTo>
                  <a:lnTo>
                    <a:pt x="50264" y="47512"/>
                  </a:lnTo>
                  <a:lnTo>
                    <a:pt x="51540" y="41683"/>
                  </a:lnTo>
                  <a:lnTo>
                    <a:pt x="51255" y="35672"/>
                  </a:lnTo>
                  <a:lnTo>
                    <a:pt x="49664" y="29586"/>
                  </a:lnTo>
                  <a:lnTo>
                    <a:pt x="49483" y="23262"/>
                  </a:lnTo>
                  <a:lnTo>
                    <a:pt x="48035" y="16994"/>
                  </a:lnTo>
                  <a:lnTo>
                    <a:pt x="44216" y="11003"/>
                  </a:lnTo>
                  <a:lnTo>
                    <a:pt x="39691" y="5450"/>
                  </a:lnTo>
                  <a:lnTo>
                    <a:pt x="34224" y="8755"/>
                  </a:lnTo>
                  <a:lnTo>
                    <a:pt x="28909" y="5002"/>
                  </a:lnTo>
                  <a:lnTo>
                    <a:pt x="23041" y="6126"/>
                  </a:lnTo>
                  <a:lnTo>
                    <a:pt x="17955" y="2697"/>
                  </a:lnTo>
                  <a:lnTo>
                    <a:pt x="11659" y="-94"/>
                  </a:lnTo>
                  <a:lnTo>
                    <a:pt x="10821" y="6069"/>
                  </a:lnTo>
                  <a:lnTo>
                    <a:pt x="16870" y="7221"/>
                  </a:lnTo>
                  <a:lnTo>
                    <a:pt x="20289" y="12794"/>
                  </a:lnTo>
                  <a:lnTo>
                    <a:pt x="19346" y="19004"/>
                  </a:lnTo>
                  <a:lnTo>
                    <a:pt x="24280" y="22337"/>
                  </a:lnTo>
                  <a:lnTo>
                    <a:pt x="26071" y="29272"/>
                  </a:lnTo>
                  <a:lnTo>
                    <a:pt x="23756" y="36949"/>
                  </a:lnTo>
                  <a:lnTo>
                    <a:pt x="17774" y="40578"/>
                  </a:lnTo>
                  <a:lnTo>
                    <a:pt x="18898" y="47217"/>
                  </a:lnTo>
                  <a:lnTo>
                    <a:pt x="17670" y="53427"/>
                  </a:lnTo>
                  <a:lnTo>
                    <a:pt x="15869" y="59285"/>
                  </a:lnTo>
                  <a:lnTo>
                    <a:pt x="17355" y="66505"/>
                  </a:lnTo>
                  <a:lnTo>
                    <a:pt x="15736" y="73868"/>
                  </a:lnTo>
                  <a:lnTo>
                    <a:pt x="18003" y="81726"/>
                  </a:lnTo>
                  <a:lnTo>
                    <a:pt x="15574" y="87365"/>
                  </a:lnTo>
                  <a:lnTo>
                    <a:pt x="9697" y="88708"/>
                  </a:lnTo>
                  <a:lnTo>
                    <a:pt x="7011" y="94156"/>
                  </a:lnTo>
                  <a:lnTo>
                    <a:pt x="7735" y="100785"/>
                  </a:lnTo>
                  <a:lnTo>
                    <a:pt x="7182" y="107091"/>
                  </a:lnTo>
                  <a:lnTo>
                    <a:pt x="4792" y="112692"/>
                  </a:lnTo>
                  <a:lnTo>
                    <a:pt x="-266" y="116149"/>
                  </a:lnTo>
                  <a:lnTo>
                    <a:pt x="2353" y="121645"/>
                  </a:lnTo>
                  <a:lnTo>
                    <a:pt x="6563" y="125931"/>
                  </a:lnTo>
                  <a:lnTo>
                    <a:pt x="12383" y="127636"/>
                  </a:lnTo>
                  <a:lnTo>
                    <a:pt x="15317" y="133132"/>
                  </a:lnTo>
                  <a:lnTo>
                    <a:pt x="18517" y="138666"/>
                  </a:lnTo>
                  <a:lnTo>
                    <a:pt x="22356" y="143886"/>
                  </a:lnTo>
                  <a:lnTo>
                    <a:pt x="27938" y="141790"/>
                  </a:lnTo>
                  <a:lnTo>
                    <a:pt x="36120" y="139752"/>
                  </a:lnTo>
                  <a:lnTo>
                    <a:pt x="43130" y="142372"/>
                  </a:lnTo>
                  <a:lnTo>
                    <a:pt x="44692" y="148449"/>
                  </a:lnTo>
                  <a:lnTo>
                    <a:pt x="45768" y="154611"/>
                  </a:lnTo>
                  <a:lnTo>
                    <a:pt x="44949" y="160898"/>
                  </a:lnTo>
                  <a:lnTo>
                    <a:pt x="42996" y="166851"/>
                  </a:lnTo>
                  <a:lnTo>
                    <a:pt x="40758" y="172737"/>
                  </a:lnTo>
                  <a:lnTo>
                    <a:pt x="36624" y="177547"/>
                  </a:lnTo>
                  <a:lnTo>
                    <a:pt x="38891" y="183091"/>
                  </a:lnTo>
                  <a:lnTo>
                    <a:pt x="39720" y="189749"/>
                  </a:lnTo>
                  <a:lnTo>
                    <a:pt x="43720" y="194702"/>
                  </a:lnTo>
                  <a:lnTo>
                    <a:pt x="48111" y="198960"/>
                  </a:lnTo>
                  <a:lnTo>
                    <a:pt x="51702" y="203932"/>
                  </a:lnTo>
                  <a:lnTo>
                    <a:pt x="57103" y="206722"/>
                  </a:lnTo>
                  <a:lnTo>
                    <a:pt x="54227" y="212237"/>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2" name="Freeform: Shape 31">
              <a:extLst>
                <a:ext uri="{FF2B5EF4-FFF2-40B4-BE49-F238E27FC236}">
                  <a16:creationId xmlns:a16="http://schemas.microsoft.com/office/drawing/2014/main" id="{092C6075-CEAA-FC02-E875-BD2825DEE511}"/>
                </a:ext>
              </a:extLst>
            </p:cNvPr>
            <p:cNvSpPr/>
            <p:nvPr/>
          </p:nvSpPr>
          <p:spPr>
            <a:xfrm>
              <a:off x="4094827" y="435369"/>
              <a:ext cx="1155771" cy="1175782"/>
            </a:xfrm>
            <a:custGeom>
              <a:avLst/>
              <a:gdLst>
                <a:gd name="connsiteX0" fmla="*/ 126340 w 405536"/>
                <a:gd name="connsiteY0" fmla="*/ 412177 h 412270"/>
                <a:gd name="connsiteX1" fmla="*/ 129074 w 405536"/>
                <a:gd name="connsiteY1" fmla="*/ 406433 h 412270"/>
                <a:gd name="connsiteX2" fmla="*/ 135522 w 405536"/>
                <a:gd name="connsiteY2" fmla="*/ 406881 h 412270"/>
                <a:gd name="connsiteX3" fmla="*/ 135656 w 405536"/>
                <a:gd name="connsiteY3" fmla="*/ 399661 h 412270"/>
                <a:gd name="connsiteX4" fmla="*/ 142552 w 405536"/>
                <a:gd name="connsiteY4" fmla="*/ 399661 h 412270"/>
                <a:gd name="connsiteX5" fmla="*/ 148381 w 405536"/>
                <a:gd name="connsiteY5" fmla="*/ 402699 h 412270"/>
                <a:gd name="connsiteX6" fmla="*/ 149086 w 405536"/>
                <a:gd name="connsiteY6" fmla="*/ 410519 h 412270"/>
                <a:gd name="connsiteX7" fmla="*/ 156744 w 405536"/>
                <a:gd name="connsiteY7" fmla="*/ 405205 h 412270"/>
                <a:gd name="connsiteX8" fmla="*/ 164412 w 405536"/>
                <a:gd name="connsiteY8" fmla="*/ 404319 h 412270"/>
                <a:gd name="connsiteX9" fmla="*/ 166612 w 405536"/>
                <a:gd name="connsiteY9" fmla="*/ 394127 h 412270"/>
                <a:gd name="connsiteX10" fmla="*/ 165107 w 405536"/>
                <a:gd name="connsiteY10" fmla="*/ 386212 h 412270"/>
                <a:gd name="connsiteX11" fmla="*/ 170956 w 405536"/>
                <a:gd name="connsiteY11" fmla="*/ 381582 h 412270"/>
                <a:gd name="connsiteX12" fmla="*/ 171508 w 405536"/>
                <a:gd name="connsiteY12" fmla="*/ 371867 h 412270"/>
                <a:gd name="connsiteX13" fmla="*/ 169289 w 405536"/>
                <a:gd name="connsiteY13" fmla="*/ 366314 h 412270"/>
                <a:gd name="connsiteX14" fmla="*/ 173775 w 405536"/>
                <a:gd name="connsiteY14" fmla="*/ 362180 h 412270"/>
                <a:gd name="connsiteX15" fmla="*/ 181462 w 405536"/>
                <a:gd name="connsiteY15" fmla="*/ 360247 h 412270"/>
                <a:gd name="connsiteX16" fmla="*/ 188606 w 405536"/>
                <a:gd name="connsiteY16" fmla="*/ 356827 h 412270"/>
                <a:gd name="connsiteX17" fmla="*/ 192272 w 405536"/>
                <a:gd name="connsiteY17" fmla="*/ 352141 h 412270"/>
                <a:gd name="connsiteX18" fmla="*/ 193082 w 405536"/>
                <a:gd name="connsiteY18" fmla="*/ 345968 h 412270"/>
                <a:gd name="connsiteX19" fmla="*/ 190349 w 405536"/>
                <a:gd name="connsiteY19" fmla="*/ 340577 h 412270"/>
                <a:gd name="connsiteX20" fmla="*/ 196768 w 405536"/>
                <a:gd name="connsiteY20" fmla="*/ 338577 h 412270"/>
                <a:gd name="connsiteX21" fmla="*/ 193577 w 405536"/>
                <a:gd name="connsiteY21" fmla="*/ 329643 h 412270"/>
                <a:gd name="connsiteX22" fmla="*/ 198845 w 405536"/>
                <a:gd name="connsiteY22" fmla="*/ 324756 h 412270"/>
                <a:gd name="connsiteX23" fmla="*/ 202883 w 405536"/>
                <a:gd name="connsiteY23" fmla="*/ 318432 h 412270"/>
                <a:gd name="connsiteX24" fmla="*/ 207170 w 405536"/>
                <a:gd name="connsiteY24" fmla="*/ 322670 h 412270"/>
                <a:gd name="connsiteX25" fmla="*/ 212361 w 405536"/>
                <a:gd name="connsiteY25" fmla="*/ 327452 h 412270"/>
                <a:gd name="connsiteX26" fmla="*/ 221066 w 405536"/>
                <a:gd name="connsiteY26" fmla="*/ 324985 h 412270"/>
                <a:gd name="connsiteX27" fmla="*/ 220695 w 405536"/>
                <a:gd name="connsiteY27" fmla="*/ 316746 h 412270"/>
                <a:gd name="connsiteX28" fmla="*/ 229982 w 405536"/>
                <a:gd name="connsiteY28" fmla="*/ 314850 h 412270"/>
                <a:gd name="connsiteX29" fmla="*/ 230934 w 405536"/>
                <a:gd name="connsiteY29" fmla="*/ 305344 h 412270"/>
                <a:gd name="connsiteX30" fmla="*/ 236545 w 405536"/>
                <a:gd name="connsiteY30" fmla="*/ 299791 h 412270"/>
                <a:gd name="connsiteX31" fmla="*/ 244241 w 405536"/>
                <a:gd name="connsiteY31" fmla="*/ 298334 h 412270"/>
                <a:gd name="connsiteX32" fmla="*/ 251613 w 405536"/>
                <a:gd name="connsiteY32" fmla="*/ 299925 h 412270"/>
                <a:gd name="connsiteX33" fmla="*/ 252070 w 405536"/>
                <a:gd name="connsiteY33" fmla="*/ 292038 h 412270"/>
                <a:gd name="connsiteX34" fmla="*/ 259538 w 405536"/>
                <a:gd name="connsiteY34" fmla="*/ 291314 h 412270"/>
                <a:gd name="connsiteX35" fmla="*/ 268396 w 405536"/>
                <a:gd name="connsiteY35" fmla="*/ 284989 h 412270"/>
                <a:gd name="connsiteX36" fmla="*/ 274540 w 405536"/>
                <a:gd name="connsiteY36" fmla="*/ 283456 h 412270"/>
                <a:gd name="connsiteX37" fmla="*/ 283046 w 405536"/>
                <a:gd name="connsiteY37" fmla="*/ 275160 h 412270"/>
                <a:gd name="connsiteX38" fmla="*/ 290247 w 405536"/>
                <a:gd name="connsiteY38" fmla="*/ 275179 h 412270"/>
                <a:gd name="connsiteX39" fmla="*/ 300877 w 405536"/>
                <a:gd name="connsiteY39" fmla="*/ 277588 h 412270"/>
                <a:gd name="connsiteX40" fmla="*/ 317888 w 405536"/>
                <a:gd name="connsiteY40" fmla="*/ 279036 h 412270"/>
                <a:gd name="connsiteX41" fmla="*/ 324679 w 405536"/>
                <a:gd name="connsiteY41" fmla="*/ 278008 h 412270"/>
                <a:gd name="connsiteX42" fmla="*/ 333157 w 405536"/>
                <a:gd name="connsiteY42" fmla="*/ 269768 h 412270"/>
                <a:gd name="connsiteX43" fmla="*/ 375209 w 405536"/>
                <a:gd name="connsiteY43" fmla="*/ 268102 h 412270"/>
                <a:gd name="connsiteX44" fmla="*/ 386916 w 405536"/>
                <a:gd name="connsiteY44" fmla="*/ 267559 h 412270"/>
                <a:gd name="connsiteX45" fmla="*/ 392459 w 405536"/>
                <a:gd name="connsiteY45" fmla="*/ 259196 h 412270"/>
                <a:gd name="connsiteX46" fmla="*/ 397174 w 405536"/>
                <a:gd name="connsiteY46" fmla="*/ 255328 h 412270"/>
                <a:gd name="connsiteX47" fmla="*/ 399946 w 405536"/>
                <a:gd name="connsiteY47" fmla="*/ 244956 h 412270"/>
                <a:gd name="connsiteX48" fmla="*/ 404080 w 405536"/>
                <a:gd name="connsiteY48" fmla="*/ 238765 h 412270"/>
                <a:gd name="connsiteX49" fmla="*/ 404318 w 405536"/>
                <a:gd name="connsiteY49" fmla="*/ 224391 h 412270"/>
                <a:gd name="connsiteX50" fmla="*/ 405270 w 405536"/>
                <a:gd name="connsiteY50" fmla="*/ 162450 h 412270"/>
                <a:gd name="connsiteX51" fmla="*/ 389059 w 405536"/>
                <a:gd name="connsiteY51" fmla="*/ 165965 h 412270"/>
                <a:gd name="connsiteX52" fmla="*/ 381687 w 405536"/>
                <a:gd name="connsiteY52" fmla="*/ 166479 h 412270"/>
                <a:gd name="connsiteX53" fmla="*/ 377400 w 405536"/>
                <a:gd name="connsiteY53" fmla="*/ 161183 h 412270"/>
                <a:gd name="connsiteX54" fmla="*/ 379115 w 405536"/>
                <a:gd name="connsiteY54" fmla="*/ 155440 h 412270"/>
                <a:gd name="connsiteX55" fmla="*/ 380306 w 405536"/>
                <a:gd name="connsiteY55" fmla="*/ 144305 h 412270"/>
                <a:gd name="connsiteX56" fmla="*/ 373647 w 405536"/>
                <a:gd name="connsiteY56" fmla="*/ 140009 h 412270"/>
                <a:gd name="connsiteX57" fmla="*/ 367723 w 405536"/>
                <a:gd name="connsiteY57" fmla="*/ 138885 h 412270"/>
                <a:gd name="connsiteX58" fmla="*/ 361227 w 405536"/>
                <a:gd name="connsiteY58" fmla="*/ 135961 h 412270"/>
                <a:gd name="connsiteX59" fmla="*/ 354950 w 405536"/>
                <a:gd name="connsiteY59" fmla="*/ 129846 h 412270"/>
                <a:gd name="connsiteX60" fmla="*/ 347825 w 405536"/>
                <a:gd name="connsiteY60" fmla="*/ 132475 h 412270"/>
                <a:gd name="connsiteX61" fmla="*/ 341882 w 405536"/>
                <a:gd name="connsiteY61" fmla="*/ 127608 h 412270"/>
                <a:gd name="connsiteX62" fmla="*/ 334690 w 405536"/>
                <a:gd name="connsiteY62" fmla="*/ 120493 h 412270"/>
                <a:gd name="connsiteX63" fmla="*/ 329289 w 405536"/>
                <a:gd name="connsiteY63" fmla="*/ 116559 h 412270"/>
                <a:gd name="connsiteX64" fmla="*/ 329318 w 405536"/>
                <a:gd name="connsiteY64" fmla="*/ 107710 h 412270"/>
                <a:gd name="connsiteX65" fmla="*/ 300877 w 405536"/>
                <a:gd name="connsiteY65" fmla="*/ 86745 h 412270"/>
                <a:gd name="connsiteX66" fmla="*/ 277254 w 405536"/>
                <a:gd name="connsiteY66" fmla="*/ 69305 h 412270"/>
                <a:gd name="connsiteX67" fmla="*/ 232620 w 405536"/>
                <a:gd name="connsiteY67" fmla="*/ 36215 h 412270"/>
                <a:gd name="connsiteX68" fmla="*/ 183909 w 405536"/>
                <a:gd name="connsiteY68" fmla="*/ -65 h 412270"/>
                <a:gd name="connsiteX69" fmla="*/ 141790 w 405536"/>
                <a:gd name="connsiteY69" fmla="*/ -94 h 412270"/>
                <a:gd name="connsiteX70" fmla="*/ 144209 w 405536"/>
                <a:gd name="connsiteY70" fmla="*/ 27662 h 412270"/>
                <a:gd name="connsiteX71" fmla="*/ 146419 w 405536"/>
                <a:gd name="connsiteY71" fmla="*/ 49788 h 412270"/>
                <a:gd name="connsiteX72" fmla="*/ 148124 w 405536"/>
                <a:gd name="connsiteY72" fmla="*/ 69305 h 412270"/>
                <a:gd name="connsiteX73" fmla="*/ 152325 w 405536"/>
                <a:gd name="connsiteY73" fmla="*/ 115654 h 412270"/>
                <a:gd name="connsiteX74" fmla="*/ 156287 w 405536"/>
                <a:gd name="connsiteY74" fmla="*/ 160793 h 412270"/>
                <a:gd name="connsiteX75" fmla="*/ 158354 w 405536"/>
                <a:gd name="connsiteY75" fmla="*/ 182748 h 412270"/>
                <a:gd name="connsiteX76" fmla="*/ 163050 w 405536"/>
                <a:gd name="connsiteY76" fmla="*/ 235850 h 412270"/>
                <a:gd name="connsiteX77" fmla="*/ 169793 w 405536"/>
                <a:gd name="connsiteY77" fmla="*/ 240479 h 412270"/>
                <a:gd name="connsiteX78" fmla="*/ 165517 w 405536"/>
                <a:gd name="connsiteY78" fmla="*/ 263606 h 412270"/>
                <a:gd name="connsiteX79" fmla="*/ 71228 w 405536"/>
                <a:gd name="connsiteY79" fmla="*/ 263568 h 412270"/>
                <a:gd name="connsiteX80" fmla="*/ 59761 w 405536"/>
                <a:gd name="connsiteY80" fmla="*/ 266358 h 412270"/>
                <a:gd name="connsiteX81" fmla="*/ 50712 w 405536"/>
                <a:gd name="connsiteY81" fmla="*/ 266416 h 412270"/>
                <a:gd name="connsiteX82" fmla="*/ 41987 w 405536"/>
                <a:gd name="connsiteY82" fmla="*/ 264958 h 412270"/>
                <a:gd name="connsiteX83" fmla="*/ 33348 w 405536"/>
                <a:gd name="connsiteY83" fmla="*/ 271931 h 412270"/>
                <a:gd name="connsiteX84" fmla="*/ 25052 w 405536"/>
                <a:gd name="connsiteY84" fmla="*/ 266397 h 412270"/>
                <a:gd name="connsiteX85" fmla="*/ 20775 w 405536"/>
                <a:gd name="connsiteY85" fmla="*/ 261110 h 412270"/>
                <a:gd name="connsiteX86" fmla="*/ 14727 w 405536"/>
                <a:gd name="connsiteY86" fmla="*/ 262996 h 412270"/>
                <a:gd name="connsiteX87" fmla="*/ 9917 w 405536"/>
                <a:gd name="connsiteY87" fmla="*/ 271912 h 412270"/>
                <a:gd name="connsiteX88" fmla="*/ 10221 w 405536"/>
                <a:gd name="connsiteY88" fmla="*/ 280417 h 412270"/>
                <a:gd name="connsiteX89" fmla="*/ 3868 w 405536"/>
                <a:gd name="connsiteY89" fmla="*/ 285228 h 412270"/>
                <a:gd name="connsiteX90" fmla="*/ -266 w 405536"/>
                <a:gd name="connsiteY90" fmla="*/ 291105 h 412270"/>
                <a:gd name="connsiteX91" fmla="*/ 5354 w 405536"/>
                <a:gd name="connsiteY91" fmla="*/ 299677 h 412270"/>
                <a:gd name="connsiteX92" fmla="*/ 6630 w 405536"/>
                <a:gd name="connsiteY92" fmla="*/ 307345 h 412270"/>
                <a:gd name="connsiteX93" fmla="*/ 3115 w 405536"/>
                <a:gd name="connsiteY93" fmla="*/ 312983 h 412270"/>
                <a:gd name="connsiteX94" fmla="*/ 8088 w 405536"/>
                <a:gd name="connsiteY94" fmla="*/ 320279 h 412270"/>
                <a:gd name="connsiteX95" fmla="*/ 14764 w 405536"/>
                <a:gd name="connsiteY95" fmla="*/ 322870 h 412270"/>
                <a:gd name="connsiteX96" fmla="*/ 19108 w 405536"/>
                <a:gd name="connsiteY96" fmla="*/ 332995 h 412270"/>
                <a:gd name="connsiteX97" fmla="*/ 20308 w 405536"/>
                <a:gd name="connsiteY97" fmla="*/ 340463 h 412270"/>
                <a:gd name="connsiteX98" fmla="*/ 20356 w 405536"/>
                <a:gd name="connsiteY98" fmla="*/ 346664 h 412270"/>
                <a:gd name="connsiteX99" fmla="*/ 17003 w 405536"/>
                <a:gd name="connsiteY99" fmla="*/ 355170 h 412270"/>
                <a:gd name="connsiteX100" fmla="*/ 22890 w 405536"/>
                <a:gd name="connsiteY100" fmla="*/ 360551 h 412270"/>
                <a:gd name="connsiteX101" fmla="*/ 27824 w 405536"/>
                <a:gd name="connsiteY101" fmla="*/ 355331 h 412270"/>
                <a:gd name="connsiteX102" fmla="*/ 34234 w 405536"/>
                <a:gd name="connsiteY102" fmla="*/ 357551 h 412270"/>
                <a:gd name="connsiteX103" fmla="*/ 37510 w 405536"/>
                <a:gd name="connsiteY103" fmla="*/ 363599 h 412270"/>
                <a:gd name="connsiteX104" fmla="*/ 41111 w 405536"/>
                <a:gd name="connsiteY104" fmla="*/ 357284 h 412270"/>
                <a:gd name="connsiteX105" fmla="*/ 49102 w 405536"/>
                <a:gd name="connsiteY105" fmla="*/ 355198 h 412270"/>
                <a:gd name="connsiteX106" fmla="*/ 60094 w 405536"/>
                <a:gd name="connsiteY106" fmla="*/ 359913 h 412270"/>
                <a:gd name="connsiteX107" fmla="*/ 65371 w 405536"/>
                <a:gd name="connsiteY107" fmla="*/ 355217 h 412270"/>
                <a:gd name="connsiteX108" fmla="*/ 71219 w 405536"/>
                <a:gd name="connsiteY108" fmla="*/ 350702 h 412270"/>
                <a:gd name="connsiteX109" fmla="*/ 78487 w 405536"/>
                <a:gd name="connsiteY109" fmla="*/ 349607 h 412270"/>
                <a:gd name="connsiteX110" fmla="*/ 80649 w 405536"/>
                <a:gd name="connsiteY110" fmla="*/ 355198 h 412270"/>
                <a:gd name="connsiteX111" fmla="*/ 83640 w 405536"/>
                <a:gd name="connsiteY111" fmla="*/ 360751 h 412270"/>
                <a:gd name="connsiteX112" fmla="*/ 82135 w 405536"/>
                <a:gd name="connsiteY112" fmla="*/ 370343 h 412270"/>
                <a:gd name="connsiteX113" fmla="*/ 87859 w 405536"/>
                <a:gd name="connsiteY113" fmla="*/ 375286 h 412270"/>
                <a:gd name="connsiteX114" fmla="*/ 94336 w 405536"/>
                <a:gd name="connsiteY114" fmla="*/ 378077 h 412270"/>
                <a:gd name="connsiteX115" fmla="*/ 89345 w 405536"/>
                <a:gd name="connsiteY115" fmla="*/ 382811 h 412270"/>
                <a:gd name="connsiteX116" fmla="*/ 86240 w 405536"/>
                <a:gd name="connsiteY116" fmla="*/ 388507 h 412270"/>
                <a:gd name="connsiteX117" fmla="*/ 93822 w 405536"/>
                <a:gd name="connsiteY117" fmla="*/ 386507 h 412270"/>
                <a:gd name="connsiteX118" fmla="*/ 95070 w 405536"/>
                <a:gd name="connsiteY118" fmla="*/ 394012 h 412270"/>
                <a:gd name="connsiteX119" fmla="*/ 97127 w 405536"/>
                <a:gd name="connsiteY119" fmla="*/ 404623 h 412270"/>
                <a:gd name="connsiteX120" fmla="*/ 103204 w 405536"/>
                <a:gd name="connsiteY120" fmla="*/ 406747 h 412270"/>
                <a:gd name="connsiteX121" fmla="*/ 110034 w 405536"/>
                <a:gd name="connsiteY121" fmla="*/ 405195 h 412270"/>
                <a:gd name="connsiteX122" fmla="*/ 116291 w 405536"/>
                <a:gd name="connsiteY122" fmla="*/ 403690 h 412270"/>
                <a:gd name="connsiteX123" fmla="*/ 118197 w 405536"/>
                <a:gd name="connsiteY123" fmla="*/ 409443 h 412270"/>
                <a:gd name="connsiteX124" fmla="*/ 125588 w 405536"/>
                <a:gd name="connsiteY124" fmla="*/ 410719 h 412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405536" h="412270">
                  <a:moveTo>
                    <a:pt x="126340" y="412177"/>
                  </a:moveTo>
                  <a:lnTo>
                    <a:pt x="129074" y="406433"/>
                  </a:lnTo>
                  <a:lnTo>
                    <a:pt x="135522" y="406881"/>
                  </a:lnTo>
                  <a:lnTo>
                    <a:pt x="135656" y="399661"/>
                  </a:lnTo>
                  <a:lnTo>
                    <a:pt x="142552" y="399661"/>
                  </a:lnTo>
                  <a:lnTo>
                    <a:pt x="148381" y="402699"/>
                  </a:lnTo>
                  <a:lnTo>
                    <a:pt x="149086" y="410519"/>
                  </a:lnTo>
                  <a:lnTo>
                    <a:pt x="156744" y="405205"/>
                  </a:lnTo>
                  <a:lnTo>
                    <a:pt x="164412" y="404319"/>
                  </a:lnTo>
                  <a:lnTo>
                    <a:pt x="166612" y="394127"/>
                  </a:lnTo>
                  <a:lnTo>
                    <a:pt x="165107" y="386212"/>
                  </a:lnTo>
                  <a:lnTo>
                    <a:pt x="170956" y="381582"/>
                  </a:lnTo>
                  <a:lnTo>
                    <a:pt x="171508" y="371867"/>
                  </a:lnTo>
                  <a:lnTo>
                    <a:pt x="169289" y="366314"/>
                  </a:lnTo>
                  <a:lnTo>
                    <a:pt x="173775" y="362180"/>
                  </a:lnTo>
                  <a:lnTo>
                    <a:pt x="181462" y="360247"/>
                  </a:lnTo>
                  <a:lnTo>
                    <a:pt x="188606" y="356827"/>
                  </a:lnTo>
                  <a:lnTo>
                    <a:pt x="192272" y="352141"/>
                  </a:lnTo>
                  <a:lnTo>
                    <a:pt x="193082" y="345968"/>
                  </a:lnTo>
                  <a:lnTo>
                    <a:pt x="190349" y="340577"/>
                  </a:lnTo>
                  <a:lnTo>
                    <a:pt x="196768" y="338577"/>
                  </a:lnTo>
                  <a:lnTo>
                    <a:pt x="193577" y="329643"/>
                  </a:lnTo>
                  <a:lnTo>
                    <a:pt x="198845" y="324756"/>
                  </a:lnTo>
                  <a:lnTo>
                    <a:pt x="202883" y="318432"/>
                  </a:lnTo>
                  <a:lnTo>
                    <a:pt x="207170" y="322670"/>
                  </a:lnTo>
                  <a:lnTo>
                    <a:pt x="212361" y="327452"/>
                  </a:lnTo>
                  <a:lnTo>
                    <a:pt x="221066" y="324985"/>
                  </a:lnTo>
                  <a:lnTo>
                    <a:pt x="220695" y="316746"/>
                  </a:lnTo>
                  <a:lnTo>
                    <a:pt x="229982" y="314850"/>
                  </a:lnTo>
                  <a:lnTo>
                    <a:pt x="230934" y="305344"/>
                  </a:lnTo>
                  <a:lnTo>
                    <a:pt x="236545" y="299791"/>
                  </a:lnTo>
                  <a:lnTo>
                    <a:pt x="244241" y="298334"/>
                  </a:lnTo>
                  <a:lnTo>
                    <a:pt x="251613" y="299925"/>
                  </a:lnTo>
                  <a:lnTo>
                    <a:pt x="252070" y="292038"/>
                  </a:lnTo>
                  <a:lnTo>
                    <a:pt x="259538" y="291314"/>
                  </a:lnTo>
                  <a:lnTo>
                    <a:pt x="268396" y="284989"/>
                  </a:lnTo>
                  <a:lnTo>
                    <a:pt x="274540" y="283456"/>
                  </a:lnTo>
                  <a:lnTo>
                    <a:pt x="283046" y="275160"/>
                  </a:lnTo>
                  <a:lnTo>
                    <a:pt x="290247" y="275179"/>
                  </a:lnTo>
                  <a:lnTo>
                    <a:pt x="300877" y="277588"/>
                  </a:lnTo>
                  <a:lnTo>
                    <a:pt x="317888" y="279036"/>
                  </a:lnTo>
                  <a:lnTo>
                    <a:pt x="324679" y="278008"/>
                  </a:lnTo>
                  <a:lnTo>
                    <a:pt x="333157" y="269768"/>
                  </a:lnTo>
                  <a:lnTo>
                    <a:pt x="375209" y="268102"/>
                  </a:lnTo>
                  <a:lnTo>
                    <a:pt x="386916" y="267559"/>
                  </a:lnTo>
                  <a:lnTo>
                    <a:pt x="392459" y="259196"/>
                  </a:lnTo>
                  <a:lnTo>
                    <a:pt x="397174" y="255328"/>
                  </a:lnTo>
                  <a:lnTo>
                    <a:pt x="399946" y="244956"/>
                  </a:lnTo>
                  <a:lnTo>
                    <a:pt x="404080" y="238765"/>
                  </a:lnTo>
                  <a:lnTo>
                    <a:pt x="404318" y="224391"/>
                  </a:lnTo>
                  <a:lnTo>
                    <a:pt x="405270" y="162450"/>
                  </a:lnTo>
                  <a:lnTo>
                    <a:pt x="389059" y="165965"/>
                  </a:lnTo>
                  <a:lnTo>
                    <a:pt x="381687" y="166479"/>
                  </a:lnTo>
                  <a:lnTo>
                    <a:pt x="377400" y="161183"/>
                  </a:lnTo>
                  <a:lnTo>
                    <a:pt x="379115" y="155440"/>
                  </a:lnTo>
                  <a:lnTo>
                    <a:pt x="380306" y="144305"/>
                  </a:lnTo>
                  <a:lnTo>
                    <a:pt x="373647" y="140009"/>
                  </a:lnTo>
                  <a:lnTo>
                    <a:pt x="367723" y="138885"/>
                  </a:lnTo>
                  <a:lnTo>
                    <a:pt x="361227" y="135961"/>
                  </a:lnTo>
                  <a:lnTo>
                    <a:pt x="354950" y="129846"/>
                  </a:lnTo>
                  <a:lnTo>
                    <a:pt x="347825" y="132475"/>
                  </a:lnTo>
                  <a:lnTo>
                    <a:pt x="341882" y="127608"/>
                  </a:lnTo>
                  <a:lnTo>
                    <a:pt x="334690" y="120493"/>
                  </a:lnTo>
                  <a:lnTo>
                    <a:pt x="329289" y="116559"/>
                  </a:lnTo>
                  <a:lnTo>
                    <a:pt x="329318" y="107710"/>
                  </a:lnTo>
                  <a:lnTo>
                    <a:pt x="300877" y="86745"/>
                  </a:lnTo>
                  <a:lnTo>
                    <a:pt x="277254" y="69305"/>
                  </a:lnTo>
                  <a:lnTo>
                    <a:pt x="232620" y="36215"/>
                  </a:lnTo>
                  <a:lnTo>
                    <a:pt x="183909" y="-65"/>
                  </a:lnTo>
                  <a:lnTo>
                    <a:pt x="141790" y="-94"/>
                  </a:lnTo>
                  <a:lnTo>
                    <a:pt x="144209" y="27662"/>
                  </a:lnTo>
                  <a:lnTo>
                    <a:pt x="146419" y="49788"/>
                  </a:lnTo>
                  <a:lnTo>
                    <a:pt x="148124" y="69305"/>
                  </a:lnTo>
                  <a:lnTo>
                    <a:pt x="152325" y="115654"/>
                  </a:lnTo>
                  <a:lnTo>
                    <a:pt x="156287" y="160793"/>
                  </a:lnTo>
                  <a:lnTo>
                    <a:pt x="158354" y="182748"/>
                  </a:lnTo>
                  <a:lnTo>
                    <a:pt x="163050" y="235850"/>
                  </a:lnTo>
                  <a:lnTo>
                    <a:pt x="169793" y="240479"/>
                  </a:lnTo>
                  <a:lnTo>
                    <a:pt x="165517" y="263606"/>
                  </a:lnTo>
                  <a:lnTo>
                    <a:pt x="71228" y="263568"/>
                  </a:lnTo>
                  <a:lnTo>
                    <a:pt x="59761" y="266358"/>
                  </a:lnTo>
                  <a:lnTo>
                    <a:pt x="50712" y="266416"/>
                  </a:lnTo>
                  <a:lnTo>
                    <a:pt x="41987" y="264958"/>
                  </a:lnTo>
                  <a:lnTo>
                    <a:pt x="33348" y="271931"/>
                  </a:lnTo>
                  <a:lnTo>
                    <a:pt x="25052" y="266397"/>
                  </a:lnTo>
                  <a:lnTo>
                    <a:pt x="20775" y="261110"/>
                  </a:lnTo>
                  <a:lnTo>
                    <a:pt x="14727" y="262996"/>
                  </a:lnTo>
                  <a:lnTo>
                    <a:pt x="9917" y="271912"/>
                  </a:lnTo>
                  <a:lnTo>
                    <a:pt x="10221" y="280417"/>
                  </a:lnTo>
                  <a:lnTo>
                    <a:pt x="3868" y="285228"/>
                  </a:lnTo>
                  <a:lnTo>
                    <a:pt x="-266" y="291105"/>
                  </a:lnTo>
                  <a:lnTo>
                    <a:pt x="5354" y="299677"/>
                  </a:lnTo>
                  <a:lnTo>
                    <a:pt x="6630" y="307345"/>
                  </a:lnTo>
                  <a:lnTo>
                    <a:pt x="3115" y="312983"/>
                  </a:lnTo>
                  <a:lnTo>
                    <a:pt x="8088" y="320279"/>
                  </a:lnTo>
                  <a:lnTo>
                    <a:pt x="14764" y="322870"/>
                  </a:lnTo>
                  <a:lnTo>
                    <a:pt x="19108" y="332995"/>
                  </a:lnTo>
                  <a:lnTo>
                    <a:pt x="20308" y="340463"/>
                  </a:lnTo>
                  <a:lnTo>
                    <a:pt x="20356" y="346664"/>
                  </a:lnTo>
                  <a:lnTo>
                    <a:pt x="17003" y="355170"/>
                  </a:lnTo>
                  <a:lnTo>
                    <a:pt x="22890" y="360551"/>
                  </a:lnTo>
                  <a:lnTo>
                    <a:pt x="27824" y="355331"/>
                  </a:lnTo>
                  <a:lnTo>
                    <a:pt x="34234" y="357551"/>
                  </a:lnTo>
                  <a:lnTo>
                    <a:pt x="37510" y="363599"/>
                  </a:lnTo>
                  <a:lnTo>
                    <a:pt x="41111" y="357284"/>
                  </a:lnTo>
                  <a:lnTo>
                    <a:pt x="49102" y="355198"/>
                  </a:lnTo>
                  <a:lnTo>
                    <a:pt x="60094" y="359913"/>
                  </a:lnTo>
                  <a:lnTo>
                    <a:pt x="65371" y="355217"/>
                  </a:lnTo>
                  <a:lnTo>
                    <a:pt x="71219" y="350702"/>
                  </a:lnTo>
                  <a:lnTo>
                    <a:pt x="78487" y="349607"/>
                  </a:lnTo>
                  <a:lnTo>
                    <a:pt x="80649" y="355198"/>
                  </a:lnTo>
                  <a:lnTo>
                    <a:pt x="83640" y="360751"/>
                  </a:lnTo>
                  <a:lnTo>
                    <a:pt x="82135" y="370343"/>
                  </a:lnTo>
                  <a:lnTo>
                    <a:pt x="87859" y="375286"/>
                  </a:lnTo>
                  <a:lnTo>
                    <a:pt x="94336" y="378077"/>
                  </a:lnTo>
                  <a:lnTo>
                    <a:pt x="89345" y="382811"/>
                  </a:lnTo>
                  <a:lnTo>
                    <a:pt x="86240" y="388507"/>
                  </a:lnTo>
                  <a:lnTo>
                    <a:pt x="93822" y="386507"/>
                  </a:lnTo>
                  <a:lnTo>
                    <a:pt x="95070" y="394012"/>
                  </a:lnTo>
                  <a:lnTo>
                    <a:pt x="97127" y="404623"/>
                  </a:lnTo>
                  <a:lnTo>
                    <a:pt x="103204" y="406747"/>
                  </a:lnTo>
                  <a:lnTo>
                    <a:pt x="110034" y="405195"/>
                  </a:lnTo>
                  <a:lnTo>
                    <a:pt x="116291" y="403690"/>
                  </a:lnTo>
                  <a:lnTo>
                    <a:pt x="118197" y="409443"/>
                  </a:lnTo>
                  <a:lnTo>
                    <a:pt x="125588" y="410719"/>
                  </a:lnTo>
                  <a:close/>
                </a:path>
              </a:pathLst>
            </a:custGeom>
            <a:solidFill>
              <a:srgbClr val="FF6B0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FF6B00"/>
                </a:solidFill>
                <a:effectLst/>
                <a:uLnTx/>
                <a:uFillTx/>
                <a:latin typeface="Aptos" panose="020B0004020202020204" pitchFamily="34" charset="0"/>
                <a:ea typeface="+mn-ea"/>
                <a:cs typeface="+mn-cs"/>
              </a:endParaRPr>
            </a:p>
          </p:txBody>
        </p:sp>
        <p:sp>
          <p:nvSpPr>
            <p:cNvPr id="33" name="Freeform: Shape 32">
              <a:extLst>
                <a:ext uri="{FF2B5EF4-FFF2-40B4-BE49-F238E27FC236}">
                  <a16:creationId xmlns:a16="http://schemas.microsoft.com/office/drawing/2014/main" id="{296941B1-AAC0-6902-45E7-70BB21D83537}"/>
                </a:ext>
              </a:extLst>
            </p:cNvPr>
            <p:cNvSpPr/>
            <p:nvPr/>
          </p:nvSpPr>
          <p:spPr>
            <a:xfrm>
              <a:off x="3766985" y="-422178"/>
              <a:ext cx="1118582" cy="1192434"/>
            </a:xfrm>
            <a:custGeom>
              <a:avLst/>
              <a:gdLst>
                <a:gd name="connsiteX0" fmla="*/ -124 w 392487"/>
                <a:gd name="connsiteY0" fmla="*/ 418015 h 418109"/>
                <a:gd name="connsiteX1" fmla="*/ 324 w 392487"/>
                <a:gd name="connsiteY1" fmla="*/ 411653 h 418109"/>
                <a:gd name="connsiteX2" fmla="*/ 2801 w 392487"/>
                <a:gd name="connsiteY2" fmla="*/ 402347 h 418109"/>
                <a:gd name="connsiteX3" fmla="*/ 99051 w 392487"/>
                <a:gd name="connsiteY3" fmla="*/ 402280 h 418109"/>
                <a:gd name="connsiteX4" fmla="*/ 97946 w 392487"/>
                <a:gd name="connsiteY4" fmla="*/ 373038 h 418109"/>
                <a:gd name="connsiteX5" fmla="*/ 96232 w 392487"/>
                <a:gd name="connsiteY5" fmla="*/ 362837 h 418109"/>
                <a:gd name="connsiteX6" fmla="*/ 100089 w 392487"/>
                <a:gd name="connsiteY6" fmla="*/ 355427 h 418109"/>
                <a:gd name="connsiteX7" fmla="*/ 110605 w 392487"/>
                <a:gd name="connsiteY7" fmla="*/ 348035 h 418109"/>
                <a:gd name="connsiteX8" fmla="*/ 120777 w 392487"/>
                <a:gd name="connsiteY8" fmla="*/ 344549 h 418109"/>
                <a:gd name="connsiteX9" fmla="*/ 126188 w 392487"/>
                <a:gd name="connsiteY9" fmla="*/ 272836 h 418109"/>
                <a:gd name="connsiteX10" fmla="*/ 144314 w 392487"/>
                <a:gd name="connsiteY10" fmla="*/ 272854 h 418109"/>
                <a:gd name="connsiteX11" fmla="*/ 206674 w 392487"/>
                <a:gd name="connsiteY11" fmla="*/ 272826 h 418109"/>
                <a:gd name="connsiteX12" fmla="*/ 207227 w 392487"/>
                <a:gd name="connsiteY12" fmla="*/ 245565 h 418109"/>
                <a:gd name="connsiteX13" fmla="*/ 207388 w 392487"/>
                <a:gd name="connsiteY13" fmla="*/ 235802 h 418109"/>
                <a:gd name="connsiteX14" fmla="*/ 207560 w 392487"/>
                <a:gd name="connsiteY14" fmla="*/ 228487 h 418109"/>
                <a:gd name="connsiteX15" fmla="*/ 207827 w 392487"/>
                <a:gd name="connsiteY15" fmla="*/ 213847 h 418109"/>
                <a:gd name="connsiteX16" fmla="*/ 208122 w 392487"/>
                <a:gd name="connsiteY16" fmla="*/ 198798 h 418109"/>
                <a:gd name="connsiteX17" fmla="*/ 213237 w 392487"/>
                <a:gd name="connsiteY17" fmla="*/ 195330 h 418109"/>
                <a:gd name="connsiteX18" fmla="*/ 218875 w 392487"/>
                <a:gd name="connsiteY18" fmla="*/ 190368 h 418109"/>
                <a:gd name="connsiteX19" fmla="*/ 225391 w 392487"/>
                <a:gd name="connsiteY19" fmla="*/ 186186 h 418109"/>
                <a:gd name="connsiteX20" fmla="*/ 230820 w 392487"/>
                <a:gd name="connsiteY20" fmla="*/ 181929 h 418109"/>
                <a:gd name="connsiteX21" fmla="*/ 236745 w 392487"/>
                <a:gd name="connsiteY21" fmla="*/ 179567 h 418109"/>
                <a:gd name="connsiteX22" fmla="*/ 242212 w 392487"/>
                <a:gd name="connsiteY22" fmla="*/ 176518 h 418109"/>
                <a:gd name="connsiteX23" fmla="*/ 248755 w 392487"/>
                <a:gd name="connsiteY23" fmla="*/ 175576 h 418109"/>
                <a:gd name="connsiteX24" fmla="*/ 255175 w 392487"/>
                <a:gd name="connsiteY24" fmla="*/ 175519 h 418109"/>
                <a:gd name="connsiteX25" fmla="*/ 261719 w 392487"/>
                <a:gd name="connsiteY25" fmla="*/ 173861 h 418109"/>
                <a:gd name="connsiteX26" fmla="*/ 268491 w 392487"/>
                <a:gd name="connsiteY26" fmla="*/ 173395 h 418109"/>
                <a:gd name="connsiteX27" fmla="*/ 275406 w 392487"/>
                <a:gd name="connsiteY27" fmla="*/ 173175 h 418109"/>
                <a:gd name="connsiteX28" fmla="*/ 281378 w 392487"/>
                <a:gd name="connsiteY28" fmla="*/ 175728 h 418109"/>
                <a:gd name="connsiteX29" fmla="*/ 288818 w 392487"/>
                <a:gd name="connsiteY29" fmla="*/ 167375 h 418109"/>
                <a:gd name="connsiteX30" fmla="*/ 293323 w 392487"/>
                <a:gd name="connsiteY30" fmla="*/ 161831 h 418109"/>
                <a:gd name="connsiteX31" fmla="*/ 298066 w 392487"/>
                <a:gd name="connsiteY31" fmla="*/ 157907 h 418109"/>
                <a:gd name="connsiteX32" fmla="*/ 306486 w 392487"/>
                <a:gd name="connsiteY32" fmla="*/ 153668 h 418109"/>
                <a:gd name="connsiteX33" fmla="*/ 312697 w 392487"/>
                <a:gd name="connsiteY33" fmla="*/ 147325 h 418109"/>
                <a:gd name="connsiteX34" fmla="*/ 321307 w 392487"/>
                <a:gd name="connsiteY34" fmla="*/ 145191 h 418109"/>
                <a:gd name="connsiteX35" fmla="*/ 328937 w 392487"/>
                <a:gd name="connsiteY35" fmla="*/ 142953 h 418109"/>
                <a:gd name="connsiteX36" fmla="*/ 331595 w 392487"/>
                <a:gd name="connsiteY36" fmla="*/ 134580 h 418109"/>
                <a:gd name="connsiteX37" fmla="*/ 327860 w 392487"/>
                <a:gd name="connsiteY37" fmla="*/ 129160 h 418109"/>
                <a:gd name="connsiteX38" fmla="*/ 329242 w 392487"/>
                <a:gd name="connsiteY38" fmla="*/ 123112 h 418109"/>
                <a:gd name="connsiteX39" fmla="*/ 328899 w 392487"/>
                <a:gd name="connsiteY39" fmla="*/ 116463 h 418109"/>
                <a:gd name="connsiteX40" fmla="*/ 348977 w 392487"/>
                <a:gd name="connsiteY40" fmla="*/ 112015 h 418109"/>
                <a:gd name="connsiteX41" fmla="*/ 346424 w 392487"/>
                <a:gd name="connsiteY41" fmla="*/ 105500 h 418109"/>
                <a:gd name="connsiteX42" fmla="*/ 354283 w 392487"/>
                <a:gd name="connsiteY42" fmla="*/ 103157 h 418109"/>
                <a:gd name="connsiteX43" fmla="*/ 361398 w 392487"/>
                <a:gd name="connsiteY43" fmla="*/ 102090 h 418109"/>
                <a:gd name="connsiteX44" fmla="*/ 368161 w 392487"/>
                <a:gd name="connsiteY44" fmla="*/ 101233 h 418109"/>
                <a:gd name="connsiteX45" fmla="*/ 378410 w 392487"/>
                <a:gd name="connsiteY45" fmla="*/ 103719 h 418109"/>
                <a:gd name="connsiteX46" fmla="*/ 386753 w 392487"/>
                <a:gd name="connsiteY46" fmla="*/ 104167 h 418109"/>
                <a:gd name="connsiteX47" fmla="*/ 386392 w 392487"/>
                <a:gd name="connsiteY47" fmla="*/ 97137 h 418109"/>
                <a:gd name="connsiteX48" fmla="*/ 392221 w 392487"/>
                <a:gd name="connsiteY48" fmla="*/ 92241 h 418109"/>
                <a:gd name="connsiteX49" fmla="*/ 382658 w 392487"/>
                <a:gd name="connsiteY49" fmla="*/ 84840 h 418109"/>
                <a:gd name="connsiteX50" fmla="*/ 379429 w 392487"/>
                <a:gd name="connsiteY50" fmla="*/ 79697 h 418109"/>
                <a:gd name="connsiteX51" fmla="*/ 378153 w 392487"/>
                <a:gd name="connsiteY51" fmla="*/ 73039 h 418109"/>
                <a:gd name="connsiteX52" fmla="*/ 378457 w 392487"/>
                <a:gd name="connsiteY52" fmla="*/ 63847 h 418109"/>
                <a:gd name="connsiteX53" fmla="*/ 375962 w 392487"/>
                <a:gd name="connsiteY53" fmla="*/ 57713 h 418109"/>
                <a:gd name="connsiteX54" fmla="*/ 376600 w 392487"/>
                <a:gd name="connsiteY54" fmla="*/ 50893 h 418109"/>
                <a:gd name="connsiteX55" fmla="*/ 375829 w 392487"/>
                <a:gd name="connsiteY55" fmla="*/ 44683 h 418109"/>
                <a:gd name="connsiteX56" fmla="*/ 376248 w 392487"/>
                <a:gd name="connsiteY56" fmla="*/ 37082 h 418109"/>
                <a:gd name="connsiteX57" fmla="*/ 375086 w 392487"/>
                <a:gd name="connsiteY57" fmla="*/ 30148 h 418109"/>
                <a:gd name="connsiteX58" fmla="*/ 369618 w 392487"/>
                <a:gd name="connsiteY58" fmla="*/ 26376 h 418109"/>
                <a:gd name="connsiteX59" fmla="*/ 363884 w 392487"/>
                <a:gd name="connsiteY59" fmla="*/ 21680 h 418109"/>
                <a:gd name="connsiteX60" fmla="*/ 357541 w 392487"/>
                <a:gd name="connsiteY60" fmla="*/ 20242 h 418109"/>
                <a:gd name="connsiteX61" fmla="*/ 351606 w 392487"/>
                <a:gd name="connsiteY61" fmla="*/ 19604 h 418109"/>
                <a:gd name="connsiteX62" fmla="*/ 347558 w 392487"/>
                <a:gd name="connsiteY62" fmla="*/ 15146 h 418109"/>
                <a:gd name="connsiteX63" fmla="*/ 341177 w 392487"/>
                <a:gd name="connsiteY63" fmla="*/ 16689 h 418109"/>
                <a:gd name="connsiteX64" fmla="*/ 335157 w 392487"/>
                <a:gd name="connsiteY64" fmla="*/ 17480 h 418109"/>
                <a:gd name="connsiteX65" fmla="*/ 329013 w 392487"/>
                <a:gd name="connsiteY65" fmla="*/ 15051 h 418109"/>
                <a:gd name="connsiteX66" fmla="*/ 318155 w 392487"/>
                <a:gd name="connsiteY66" fmla="*/ 17480 h 418109"/>
                <a:gd name="connsiteX67" fmla="*/ 307391 w 392487"/>
                <a:gd name="connsiteY67" fmla="*/ 17603 h 418109"/>
                <a:gd name="connsiteX68" fmla="*/ 299019 w 392487"/>
                <a:gd name="connsiteY68" fmla="*/ 12574 h 418109"/>
                <a:gd name="connsiteX69" fmla="*/ 293352 w 392487"/>
                <a:gd name="connsiteY69" fmla="*/ 7840 h 418109"/>
                <a:gd name="connsiteX70" fmla="*/ 290923 w 392487"/>
                <a:gd name="connsiteY70" fmla="*/ 1497 h 418109"/>
                <a:gd name="connsiteX71" fmla="*/ 284474 w 392487"/>
                <a:gd name="connsiteY71" fmla="*/ -94 h 418109"/>
                <a:gd name="connsiteX72" fmla="*/ 277797 w 392487"/>
                <a:gd name="connsiteY72" fmla="*/ 878 h 418109"/>
                <a:gd name="connsiteX73" fmla="*/ 273863 w 392487"/>
                <a:gd name="connsiteY73" fmla="*/ 11612 h 418109"/>
                <a:gd name="connsiteX74" fmla="*/ 271920 w 392487"/>
                <a:gd name="connsiteY74" fmla="*/ 17375 h 418109"/>
                <a:gd name="connsiteX75" fmla="*/ 269472 w 392487"/>
                <a:gd name="connsiteY75" fmla="*/ 22976 h 418109"/>
                <a:gd name="connsiteX76" fmla="*/ 264491 w 392487"/>
                <a:gd name="connsiteY76" fmla="*/ 34101 h 418109"/>
                <a:gd name="connsiteX77" fmla="*/ 258719 w 392487"/>
                <a:gd name="connsiteY77" fmla="*/ 43359 h 418109"/>
                <a:gd name="connsiteX78" fmla="*/ 254966 w 392487"/>
                <a:gd name="connsiteY78" fmla="*/ 49665 h 418109"/>
                <a:gd name="connsiteX79" fmla="*/ 250375 w 392487"/>
                <a:gd name="connsiteY79" fmla="*/ 54170 h 418109"/>
                <a:gd name="connsiteX80" fmla="*/ 243717 w 392487"/>
                <a:gd name="connsiteY80" fmla="*/ 57713 h 418109"/>
                <a:gd name="connsiteX81" fmla="*/ 238287 w 392487"/>
                <a:gd name="connsiteY81" fmla="*/ 61304 h 418109"/>
                <a:gd name="connsiteX82" fmla="*/ 232487 w 392487"/>
                <a:gd name="connsiteY82" fmla="*/ 63552 h 418109"/>
                <a:gd name="connsiteX83" fmla="*/ 226914 w 392487"/>
                <a:gd name="connsiteY83" fmla="*/ 65886 h 418109"/>
                <a:gd name="connsiteX84" fmla="*/ 220571 w 392487"/>
                <a:gd name="connsiteY84" fmla="*/ 68277 h 418109"/>
                <a:gd name="connsiteX85" fmla="*/ 215599 w 392487"/>
                <a:gd name="connsiteY85" fmla="*/ 71715 h 418109"/>
                <a:gd name="connsiteX86" fmla="*/ 211379 w 392487"/>
                <a:gd name="connsiteY86" fmla="*/ 76144 h 418109"/>
                <a:gd name="connsiteX87" fmla="*/ 206617 w 392487"/>
                <a:gd name="connsiteY87" fmla="*/ 81621 h 418109"/>
                <a:gd name="connsiteX88" fmla="*/ 202169 w 392487"/>
                <a:gd name="connsiteY88" fmla="*/ 85660 h 418109"/>
                <a:gd name="connsiteX89" fmla="*/ 196187 w 392487"/>
                <a:gd name="connsiteY89" fmla="*/ 91241 h 418109"/>
                <a:gd name="connsiteX90" fmla="*/ 196606 w 392487"/>
                <a:gd name="connsiteY90" fmla="*/ 97395 h 418109"/>
                <a:gd name="connsiteX91" fmla="*/ 194958 w 392487"/>
                <a:gd name="connsiteY91" fmla="*/ 103157 h 418109"/>
                <a:gd name="connsiteX92" fmla="*/ 191519 w 392487"/>
                <a:gd name="connsiteY92" fmla="*/ 108453 h 418109"/>
                <a:gd name="connsiteX93" fmla="*/ 187557 w 392487"/>
                <a:gd name="connsiteY93" fmla="*/ 113225 h 418109"/>
                <a:gd name="connsiteX94" fmla="*/ 184633 w 392487"/>
                <a:gd name="connsiteY94" fmla="*/ 119016 h 418109"/>
                <a:gd name="connsiteX95" fmla="*/ 183014 w 392487"/>
                <a:gd name="connsiteY95" fmla="*/ 124836 h 418109"/>
                <a:gd name="connsiteX96" fmla="*/ 181823 w 392487"/>
                <a:gd name="connsiteY96" fmla="*/ 130904 h 418109"/>
                <a:gd name="connsiteX97" fmla="*/ 182423 w 392487"/>
                <a:gd name="connsiteY97" fmla="*/ 137076 h 418109"/>
                <a:gd name="connsiteX98" fmla="*/ 180328 w 392487"/>
                <a:gd name="connsiteY98" fmla="*/ 143476 h 418109"/>
                <a:gd name="connsiteX99" fmla="*/ 184938 w 392487"/>
                <a:gd name="connsiteY99" fmla="*/ 147743 h 418109"/>
                <a:gd name="connsiteX100" fmla="*/ 186071 w 392487"/>
                <a:gd name="connsiteY100" fmla="*/ 155297 h 418109"/>
                <a:gd name="connsiteX101" fmla="*/ 183138 w 392487"/>
                <a:gd name="connsiteY101" fmla="*/ 163231 h 418109"/>
                <a:gd name="connsiteX102" fmla="*/ 177689 w 392487"/>
                <a:gd name="connsiteY102" fmla="*/ 170299 h 418109"/>
                <a:gd name="connsiteX103" fmla="*/ 174861 w 392487"/>
                <a:gd name="connsiteY103" fmla="*/ 175699 h 418109"/>
                <a:gd name="connsiteX104" fmla="*/ 171432 w 392487"/>
                <a:gd name="connsiteY104" fmla="*/ 180948 h 418109"/>
                <a:gd name="connsiteX105" fmla="*/ 166364 w 392487"/>
                <a:gd name="connsiteY105" fmla="*/ 185987 h 418109"/>
                <a:gd name="connsiteX106" fmla="*/ 158068 w 392487"/>
                <a:gd name="connsiteY106" fmla="*/ 192721 h 418109"/>
                <a:gd name="connsiteX107" fmla="*/ 150534 w 392487"/>
                <a:gd name="connsiteY107" fmla="*/ 196721 h 418109"/>
                <a:gd name="connsiteX108" fmla="*/ 146181 w 392487"/>
                <a:gd name="connsiteY108" fmla="*/ 201445 h 418109"/>
                <a:gd name="connsiteX109" fmla="*/ 142171 w 392487"/>
                <a:gd name="connsiteY109" fmla="*/ 206199 h 418109"/>
                <a:gd name="connsiteX110" fmla="*/ 132350 w 392487"/>
                <a:gd name="connsiteY110" fmla="*/ 211761 h 418109"/>
                <a:gd name="connsiteX111" fmla="*/ 125845 w 392487"/>
                <a:gd name="connsiteY111" fmla="*/ 214914 h 418109"/>
                <a:gd name="connsiteX112" fmla="*/ 114682 w 392487"/>
                <a:gd name="connsiteY112" fmla="*/ 217314 h 418109"/>
                <a:gd name="connsiteX113" fmla="*/ 105737 w 392487"/>
                <a:gd name="connsiteY113" fmla="*/ 218600 h 418109"/>
                <a:gd name="connsiteX114" fmla="*/ 101880 w 392487"/>
                <a:gd name="connsiteY114" fmla="*/ 224620 h 418109"/>
                <a:gd name="connsiteX115" fmla="*/ 97765 w 392487"/>
                <a:gd name="connsiteY115" fmla="*/ 231164 h 418109"/>
                <a:gd name="connsiteX116" fmla="*/ 93850 w 392487"/>
                <a:gd name="connsiteY116" fmla="*/ 239469 h 418109"/>
                <a:gd name="connsiteX117" fmla="*/ 89945 w 392487"/>
                <a:gd name="connsiteY117" fmla="*/ 250614 h 418109"/>
                <a:gd name="connsiteX118" fmla="*/ 84325 w 392487"/>
                <a:gd name="connsiteY118" fmla="*/ 256176 h 418109"/>
                <a:gd name="connsiteX119" fmla="*/ 78963 w 392487"/>
                <a:gd name="connsiteY119" fmla="*/ 259720 h 418109"/>
                <a:gd name="connsiteX120" fmla="*/ 70542 w 392487"/>
                <a:gd name="connsiteY120" fmla="*/ 264996 h 418109"/>
                <a:gd name="connsiteX121" fmla="*/ 65961 w 392487"/>
                <a:gd name="connsiteY121" fmla="*/ 269283 h 418109"/>
                <a:gd name="connsiteX122" fmla="*/ 63189 w 392487"/>
                <a:gd name="connsiteY122" fmla="*/ 278379 h 418109"/>
                <a:gd name="connsiteX123" fmla="*/ 60980 w 392487"/>
                <a:gd name="connsiteY123" fmla="*/ 283942 h 418109"/>
                <a:gd name="connsiteX124" fmla="*/ 58217 w 392487"/>
                <a:gd name="connsiteY124" fmla="*/ 289476 h 418109"/>
                <a:gd name="connsiteX125" fmla="*/ 57103 w 392487"/>
                <a:gd name="connsiteY125" fmla="*/ 300591 h 418109"/>
                <a:gd name="connsiteX126" fmla="*/ 55407 w 392487"/>
                <a:gd name="connsiteY126" fmla="*/ 308926 h 418109"/>
                <a:gd name="connsiteX127" fmla="*/ 48350 w 392487"/>
                <a:gd name="connsiteY127" fmla="*/ 314888 h 418109"/>
                <a:gd name="connsiteX128" fmla="*/ 41120 w 392487"/>
                <a:gd name="connsiteY128" fmla="*/ 322794 h 418109"/>
                <a:gd name="connsiteX129" fmla="*/ 36148 w 392487"/>
                <a:gd name="connsiteY129" fmla="*/ 328338 h 418109"/>
                <a:gd name="connsiteX130" fmla="*/ 29795 w 392487"/>
                <a:gd name="connsiteY130" fmla="*/ 333900 h 418109"/>
                <a:gd name="connsiteX131" fmla="*/ 28118 w 392487"/>
                <a:gd name="connsiteY131" fmla="*/ 341968 h 418109"/>
                <a:gd name="connsiteX132" fmla="*/ 24442 w 392487"/>
                <a:gd name="connsiteY132" fmla="*/ 350474 h 418109"/>
                <a:gd name="connsiteX133" fmla="*/ 21955 w 392487"/>
                <a:gd name="connsiteY133" fmla="*/ 358332 h 418109"/>
                <a:gd name="connsiteX134" fmla="*/ 18136 w 392487"/>
                <a:gd name="connsiteY134" fmla="*/ 367200 h 418109"/>
                <a:gd name="connsiteX135" fmla="*/ 13898 w 392487"/>
                <a:gd name="connsiteY135" fmla="*/ 375429 h 418109"/>
                <a:gd name="connsiteX136" fmla="*/ 7659 w 392487"/>
                <a:gd name="connsiteY136" fmla="*/ 378277 h 418109"/>
                <a:gd name="connsiteX137" fmla="*/ 5192 w 392487"/>
                <a:gd name="connsiteY137" fmla="*/ 383859 h 418109"/>
                <a:gd name="connsiteX138" fmla="*/ 2781 w 392487"/>
                <a:gd name="connsiteY138" fmla="*/ 389412 h 418109"/>
                <a:gd name="connsiteX139" fmla="*/ 1267 w 392487"/>
                <a:gd name="connsiteY139" fmla="*/ 400518 h 418109"/>
                <a:gd name="connsiteX140" fmla="*/ -266 w 392487"/>
                <a:gd name="connsiteY140" fmla="*/ 411605 h 418109"/>
                <a:gd name="connsiteX141" fmla="*/ -124 w 392487"/>
                <a:gd name="connsiteY141" fmla="*/ 418015 h 4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92487" h="418109">
                  <a:moveTo>
                    <a:pt x="-124" y="418015"/>
                  </a:moveTo>
                  <a:lnTo>
                    <a:pt x="324" y="411653"/>
                  </a:lnTo>
                  <a:lnTo>
                    <a:pt x="2801" y="402347"/>
                  </a:lnTo>
                  <a:lnTo>
                    <a:pt x="99051" y="402280"/>
                  </a:lnTo>
                  <a:lnTo>
                    <a:pt x="97946" y="373038"/>
                  </a:lnTo>
                  <a:lnTo>
                    <a:pt x="96232" y="362837"/>
                  </a:lnTo>
                  <a:lnTo>
                    <a:pt x="100089" y="355427"/>
                  </a:lnTo>
                  <a:lnTo>
                    <a:pt x="110605" y="348035"/>
                  </a:lnTo>
                  <a:lnTo>
                    <a:pt x="120777" y="344549"/>
                  </a:lnTo>
                  <a:lnTo>
                    <a:pt x="126188" y="272836"/>
                  </a:lnTo>
                  <a:lnTo>
                    <a:pt x="144314" y="272854"/>
                  </a:lnTo>
                  <a:lnTo>
                    <a:pt x="206674" y="272826"/>
                  </a:lnTo>
                  <a:lnTo>
                    <a:pt x="207227" y="245565"/>
                  </a:lnTo>
                  <a:lnTo>
                    <a:pt x="207388" y="235802"/>
                  </a:lnTo>
                  <a:lnTo>
                    <a:pt x="207560" y="228487"/>
                  </a:lnTo>
                  <a:lnTo>
                    <a:pt x="207827" y="213847"/>
                  </a:lnTo>
                  <a:lnTo>
                    <a:pt x="208122" y="198798"/>
                  </a:lnTo>
                  <a:lnTo>
                    <a:pt x="213237" y="195330"/>
                  </a:lnTo>
                  <a:lnTo>
                    <a:pt x="218875" y="190368"/>
                  </a:lnTo>
                  <a:lnTo>
                    <a:pt x="225391" y="186186"/>
                  </a:lnTo>
                  <a:lnTo>
                    <a:pt x="230820" y="181929"/>
                  </a:lnTo>
                  <a:lnTo>
                    <a:pt x="236745" y="179567"/>
                  </a:lnTo>
                  <a:lnTo>
                    <a:pt x="242212" y="176518"/>
                  </a:lnTo>
                  <a:lnTo>
                    <a:pt x="248755" y="175576"/>
                  </a:lnTo>
                  <a:lnTo>
                    <a:pt x="255175" y="175519"/>
                  </a:lnTo>
                  <a:lnTo>
                    <a:pt x="261719" y="173861"/>
                  </a:lnTo>
                  <a:lnTo>
                    <a:pt x="268491" y="173395"/>
                  </a:lnTo>
                  <a:lnTo>
                    <a:pt x="275406" y="173175"/>
                  </a:lnTo>
                  <a:lnTo>
                    <a:pt x="281378" y="175728"/>
                  </a:lnTo>
                  <a:lnTo>
                    <a:pt x="288818" y="167375"/>
                  </a:lnTo>
                  <a:lnTo>
                    <a:pt x="293323" y="161831"/>
                  </a:lnTo>
                  <a:lnTo>
                    <a:pt x="298066" y="157907"/>
                  </a:lnTo>
                  <a:lnTo>
                    <a:pt x="306486" y="153668"/>
                  </a:lnTo>
                  <a:lnTo>
                    <a:pt x="312697" y="147325"/>
                  </a:lnTo>
                  <a:lnTo>
                    <a:pt x="321307" y="145191"/>
                  </a:lnTo>
                  <a:lnTo>
                    <a:pt x="328937" y="142953"/>
                  </a:lnTo>
                  <a:lnTo>
                    <a:pt x="331595" y="134580"/>
                  </a:lnTo>
                  <a:lnTo>
                    <a:pt x="327860" y="129160"/>
                  </a:lnTo>
                  <a:lnTo>
                    <a:pt x="329242" y="123112"/>
                  </a:lnTo>
                  <a:lnTo>
                    <a:pt x="328899" y="116463"/>
                  </a:lnTo>
                  <a:lnTo>
                    <a:pt x="348977" y="112015"/>
                  </a:lnTo>
                  <a:lnTo>
                    <a:pt x="346424" y="105500"/>
                  </a:lnTo>
                  <a:lnTo>
                    <a:pt x="354283" y="103157"/>
                  </a:lnTo>
                  <a:lnTo>
                    <a:pt x="361398" y="102090"/>
                  </a:lnTo>
                  <a:lnTo>
                    <a:pt x="368161" y="101233"/>
                  </a:lnTo>
                  <a:lnTo>
                    <a:pt x="378410" y="103719"/>
                  </a:lnTo>
                  <a:lnTo>
                    <a:pt x="386753" y="104167"/>
                  </a:lnTo>
                  <a:lnTo>
                    <a:pt x="386392" y="97137"/>
                  </a:lnTo>
                  <a:lnTo>
                    <a:pt x="392221" y="92241"/>
                  </a:lnTo>
                  <a:lnTo>
                    <a:pt x="382658" y="84840"/>
                  </a:lnTo>
                  <a:lnTo>
                    <a:pt x="379429" y="79697"/>
                  </a:lnTo>
                  <a:lnTo>
                    <a:pt x="378153" y="73039"/>
                  </a:lnTo>
                  <a:lnTo>
                    <a:pt x="378457" y="63847"/>
                  </a:lnTo>
                  <a:lnTo>
                    <a:pt x="375962" y="57713"/>
                  </a:lnTo>
                  <a:lnTo>
                    <a:pt x="376600" y="50893"/>
                  </a:lnTo>
                  <a:lnTo>
                    <a:pt x="375829" y="44683"/>
                  </a:lnTo>
                  <a:lnTo>
                    <a:pt x="376248" y="37082"/>
                  </a:lnTo>
                  <a:lnTo>
                    <a:pt x="375086" y="30148"/>
                  </a:lnTo>
                  <a:lnTo>
                    <a:pt x="369618" y="26376"/>
                  </a:lnTo>
                  <a:lnTo>
                    <a:pt x="363884" y="21680"/>
                  </a:lnTo>
                  <a:lnTo>
                    <a:pt x="357541" y="20242"/>
                  </a:lnTo>
                  <a:lnTo>
                    <a:pt x="351606" y="19604"/>
                  </a:lnTo>
                  <a:lnTo>
                    <a:pt x="347558" y="15146"/>
                  </a:lnTo>
                  <a:lnTo>
                    <a:pt x="341177" y="16689"/>
                  </a:lnTo>
                  <a:lnTo>
                    <a:pt x="335157" y="17480"/>
                  </a:lnTo>
                  <a:lnTo>
                    <a:pt x="329013" y="15051"/>
                  </a:lnTo>
                  <a:lnTo>
                    <a:pt x="318155" y="17480"/>
                  </a:lnTo>
                  <a:lnTo>
                    <a:pt x="307391" y="17603"/>
                  </a:lnTo>
                  <a:lnTo>
                    <a:pt x="299019" y="12574"/>
                  </a:lnTo>
                  <a:lnTo>
                    <a:pt x="293352" y="7840"/>
                  </a:lnTo>
                  <a:lnTo>
                    <a:pt x="290923" y="1497"/>
                  </a:lnTo>
                  <a:lnTo>
                    <a:pt x="284474" y="-94"/>
                  </a:lnTo>
                  <a:lnTo>
                    <a:pt x="277797" y="878"/>
                  </a:lnTo>
                  <a:lnTo>
                    <a:pt x="273863" y="11612"/>
                  </a:lnTo>
                  <a:lnTo>
                    <a:pt x="271920" y="17375"/>
                  </a:lnTo>
                  <a:lnTo>
                    <a:pt x="269472" y="22976"/>
                  </a:lnTo>
                  <a:lnTo>
                    <a:pt x="264491" y="34101"/>
                  </a:lnTo>
                  <a:lnTo>
                    <a:pt x="258719" y="43359"/>
                  </a:lnTo>
                  <a:lnTo>
                    <a:pt x="254966" y="49665"/>
                  </a:lnTo>
                  <a:lnTo>
                    <a:pt x="250375" y="54170"/>
                  </a:lnTo>
                  <a:lnTo>
                    <a:pt x="243717" y="57713"/>
                  </a:lnTo>
                  <a:lnTo>
                    <a:pt x="238287" y="61304"/>
                  </a:lnTo>
                  <a:lnTo>
                    <a:pt x="232487" y="63552"/>
                  </a:lnTo>
                  <a:lnTo>
                    <a:pt x="226914" y="65886"/>
                  </a:lnTo>
                  <a:lnTo>
                    <a:pt x="220571" y="68277"/>
                  </a:lnTo>
                  <a:lnTo>
                    <a:pt x="215599" y="71715"/>
                  </a:lnTo>
                  <a:lnTo>
                    <a:pt x="211379" y="76144"/>
                  </a:lnTo>
                  <a:lnTo>
                    <a:pt x="206617" y="81621"/>
                  </a:lnTo>
                  <a:lnTo>
                    <a:pt x="202169" y="85660"/>
                  </a:lnTo>
                  <a:lnTo>
                    <a:pt x="196187" y="91241"/>
                  </a:lnTo>
                  <a:lnTo>
                    <a:pt x="196606" y="97395"/>
                  </a:lnTo>
                  <a:lnTo>
                    <a:pt x="194958" y="103157"/>
                  </a:lnTo>
                  <a:lnTo>
                    <a:pt x="191519" y="108453"/>
                  </a:lnTo>
                  <a:lnTo>
                    <a:pt x="187557" y="113225"/>
                  </a:lnTo>
                  <a:lnTo>
                    <a:pt x="184633" y="119016"/>
                  </a:lnTo>
                  <a:lnTo>
                    <a:pt x="183014" y="124836"/>
                  </a:lnTo>
                  <a:lnTo>
                    <a:pt x="181823" y="130904"/>
                  </a:lnTo>
                  <a:lnTo>
                    <a:pt x="182423" y="137076"/>
                  </a:lnTo>
                  <a:lnTo>
                    <a:pt x="180328" y="143476"/>
                  </a:lnTo>
                  <a:lnTo>
                    <a:pt x="184938" y="147743"/>
                  </a:lnTo>
                  <a:lnTo>
                    <a:pt x="186071" y="155297"/>
                  </a:lnTo>
                  <a:lnTo>
                    <a:pt x="183138" y="163231"/>
                  </a:lnTo>
                  <a:lnTo>
                    <a:pt x="177689" y="170299"/>
                  </a:lnTo>
                  <a:lnTo>
                    <a:pt x="174861" y="175699"/>
                  </a:lnTo>
                  <a:lnTo>
                    <a:pt x="171432" y="180948"/>
                  </a:lnTo>
                  <a:lnTo>
                    <a:pt x="166364" y="185987"/>
                  </a:lnTo>
                  <a:lnTo>
                    <a:pt x="158068" y="192721"/>
                  </a:lnTo>
                  <a:lnTo>
                    <a:pt x="150534" y="196721"/>
                  </a:lnTo>
                  <a:lnTo>
                    <a:pt x="146181" y="201445"/>
                  </a:lnTo>
                  <a:lnTo>
                    <a:pt x="142171" y="206199"/>
                  </a:lnTo>
                  <a:lnTo>
                    <a:pt x="132350" y="211761"/>
                  </a:lnTo>
                  <a:lnTo>
                    <a:pt x="125845" y="214914"/>
                  </a:lnTo>
                  <a:lnTo>
                    <a:pt x="114682" y="217314"/>
                  </a:lnTo>
                  <a:lnTo>
                    <a:pt x="105737" y="218600"/>
                  </a:lnTo>
                  <a:lnTo>
                    <a:pt x="101880" y="224620"/>
                  </a:lnTo>
                  <a:lnTo>
                    <a:pt x="97765" y="231164"/>
                  </a:lnTo>
                  <a:lnTo>
                    <a:pt x="93850" y="239469"/>
                  </a:lnTo>
                  <a:lnTo>
                    <a:pt x="89945" y="250614"/>
                  </a:lnTo>
                  <a:lnTo>
                    <a:pt x="84325" y="256176"/>
                  </a:lnTo>
                  <a:lnTo>
                    <a:pt x="78963" y="259720"/>
                  </a:lnTo>
                  <a:lnTo>
                    <a:pt x="70542" y="264996"/>
                  </a:lnTo>
                  <a:lnTo>
                    <a:pt x="65961" y="269283"/>
                  </a:lnTo>
                  <a:lnTo>
                    <a:pt x="63189" y="278379"/>
                  </a:lnTo>
                  <a:lnTo>
                    <a:pt x="60980" y="283942"/>
                  </a:lnTo>
                  <a:lnTo>
                    <a:pt x="58217" y="289476"/>
                  </a:lnTo>
                  <a:lnTo>
                    <a:pt x="57103" y="300591"/>
                  </a:lnTo>
                  <a:lnTo>
                    <a:pt x="55407" y="308926"/>
                  </a:lnTo>
                  <a:lnTo>
                    <a:pt x="48350" y="314888"/>
                  </a:lnTo>
                  <a:lnTo>
                    <a:pt x="41120" y="322794"/>
                  </a:lnTo>
                  <a:lnTo>
                    <a:pt x="36148" y="328338"/>
                  </a:lnTo>
                  <a:lnTo>
                    <a:pt x="29795" y="333900"/>
                  </a:lnTo>
                  <a:lnTo>
                    <a:pt x="28118" y="341968"/>
                  </a:lnTo>
                  <a:lnTo>
                    <a:pt x="24442" y="350474"/>
                  </a:lnTo>
                  <a:lnTo>
                    <a:pt x="21955" y="358332"/>
                  </a:lnTo>
                  <a:lnTo>
                    <a:pt x="18136" y="367200"/>
                  </a:lnTo>
                  <a:lnTo>
                    <a:pt x="13898" y="375429"/>
                  </a:lnTo>
                  <a:lnTo>
                    <a:pt x="7659" y="378277"/>
                  </a:lnTo>
                  <a:lnTo>
                    <a:pt x="5192" y="383859"/>
                  </a:lnTo>
                  <a:lnTo>
                    <a:pt x="2781" y="389412"/>
                  </a:lnTo>
                  <a:lnTo>
                    <a:pt x="1267" y="400518"/>
                  </a:lnTo>
                  <a:lnTo>
                    <a:pt x="-266" y="411605"/>
                  </a:lnTo>
                  <a:lnTo>
                    <a:pt x="-124" y="418015"/>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4" name="Freeform: Shape 33">
              <a:extLst>
                <a:ext uri="{FF2B5EF4-FFF2-40B4-BE49-F238E27FC236}">
                  <a16:creationId xmlns:a16="http://schemas.microsoft.com/office/drawing/2014/main" id="{09C64E9E-A128-0D24-6458-E154DD2FC49C}"/>
                </a:ext>
              </a:extLst>
            </p:cNvPr>
            <p:cNvSpPr/>
            <p:nvPr/>
          </p:nvSpPr>
          <p:spPr>
            <a:xfrm>
              <a:off x="8945917" y="3997409"/>
              <a:ext cx="29318" cy="41995"/>
            </a:xfrm>
            <a:custGeom>
              <a:avLst/>
              <a:gdLst>
                <a:gd name="connsiteX0" fmla="*/ 3030 w 10287"/>
                <a:gd name="connsiteY0" fmla="*/ 14631 h 14725"/>
                <a:gd name="connsiteX1" fmla="*/ 7688 w 10287"/>
                <a:gd name="connsiteY1" fmla="*/ 10802 h 14725"/>
                <a:gd name="connsiteX2" fmla="*/ 10021 w 10287"/>
                <a:gd name="connsiteY2" fmla="*/ 5221 h 14725"/>
                <a:gd name="connsiteX3" fmla="*/ 7230 w 10287"/>
                <a:gd name="connsiteY3" fmla="*/ -94 h 14725"/>
                <a:gd name="connsiteX4" fmla="*/ 3220 w 10287"/>
                <a:gd name="connsiteY4" fmla="*/ 4373 h 14725"/>
                <a:gd name="connsiteX5" fmla="*/ -266 w 10287"/>
                <a:gd name="connsiteY5" fmla="*/ 9212 h 14725"/>
                <a:gd name="connsiteX6" fmla="*/ 2591 w 10287"/>
                <a:gd name="connsiteY6" fmla="*/ 14479 h 14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7" h="14725">
                  <a:moveTo>
                    <a:pt x="3030" y="14631"/>
                  </a:moveTo>
                  <a:lnTo>
                    <a:pt x="7688" y="10802"/>
                  </a:lnTo>
                  <a:lnTo>
                    <a:pt x="10021" y="5221"/>
                  </a:lnTo>
                  <a:lnTo>
                    <a:pt x="7230" y="-94"/>
                  </a:lnTo>
                  <a:lnTo>
                    <a:pt x="3220" y="4373"/>
                  </a:lnTo>
                  <a:lnTo>
                    <a:pt x="-266" y="9212"/>
                  </a:lnTo>
                  <a:lnTo>
                    <a:pt x="2591" y="14479"/>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5" name="Freeform: Shape 34">
              <a:extLst>
                <a:ext uri="{FF2B5EF4-FFF2-40B4-BE49-F238E27FC236}">
                  <a16:creationId xmlns:a16="http://schemas.microsoft.com/office/drawing/2014/main" id="{D7D10AC7-FCC5-6409-CD0C-31246DB721D1}"/>
                </a:ext>
              </a:extLst>
            </p:cNvPr>
            <p:cNvSpPr/>
            <p:nvPr/>
          </p:nvSpPr>
          <p:spPr>
            <a:xfrm>
              <a:off x="3767446" y="252113"/>
              <a:ext cx="852171" cy="996980"/>
            </a:xfrm>
            <a:custGeom>
              <a:avLst/>
              <a:gdLst>
                <a:gd name="connsiteX0" fmla="*/ 118740 w 299009"/>
                <a:gd name="connsiteY0" fmla="*/ 349483 h 349576"/>
                <a:gd name="connsiteX1" fmla="*/ 125093 w 299009"/>
                <a:gd name="connsiteY1" fmla="*/ 344673 h 349576"/>
                <a:gd name="connsiteX2" fmla="*/ 124940 w 299009"/>
                <a:gd name="connsiteY2" fmla="*/ 337881 h 349576"/>
                <a:gd name="connsiteX3" fmla="*/ 126550 w 299009"/>
                <a:gd name="connsiteY3" fmla="*/ 330661 h 349576"/>
                <a:gd name="connsiteX4" fmla="*/ 132446 w 299009"/>
                <a:gd name="connsiteY4" fmla="*/ 325118 h 349576"/>
                <a:gd name="connsiteX5" fmla="*/ 138846 w 299009"/>
                <a:gd name="connsiteY5" fmla="*/ 330138 h 349576"/>
                <a:gd name="connsiteX6" fmla="*/ 145390 w 299009"/>
                <a:gd name="connsiteY6" fmla="*/ 336110 h 349576"/>
                <a:gd name="connsiteX7" fmla="*/ 151563 w 299009"/>
                <a:gd name="connsiteY7" fmla="*/ 332205 h 349576"/>
                <a:gd name="connsiteX8" fmla="*/ 156859 w 299009"/>
                <a:gd name="connsiteY8" fmla="*/ 329214 h 349576"/>
                <a:gd name="connsiteX9" fmla="*/ 164964 w 299009"/>
                <a:gd name="connsiteY9" fmla="*/ 330623 h 349576"/>
                <a:gd name="connsiteX10" fmla="*/ 171375 w 299009"/>
                <a:gd name="connsiteY10" fmla="*/ 330909 h 349576"/>
                <a:gd name="connsiteX11" fmla="*/ 184367 w 299009"/>
                <a:gd name="connsiteY11" fmla="*/ 329566 h 349576"/>
                <a:gd name="connsiteX12" fmla="*/ 186186 w 299009"/>
                <a:gd name="connsiteY12" fmla="*/ 322232 h 349576"/>
                <a:gd name="connsiteX13" fmla="*/ 277312 w 299009"/>
                <a:gd name="connsiteY13" fmla="*/ 327861 h 349576"/>
                <a:gd name="connsiteX14" fmla="*/ 284665 w 299009"/>
                <a:gd name="connsiteY14" fmla="*/ 304735 h 349576"/>
                <a:gd name="connsiteX15" fmla="*/ 277921 w 299009"/>
                <a:gd name="connsiteY15" fmla="*/ 300105 h 349576"/>
                <a:gd name="connsiteX16" fmla="*/ 277045 w 299009"/>
                <a:gd name="connsiteY16" fmla="*/ 289694 h 349576"/>
                <a:gd name="connsiteX17" fmla="*/ 273282 w 299009"/>
                <a:gd name="connsiteY17" fmla="*/ 247613 h 349576"/>
                <a:gd name="connsiteX18" fmla="*/ 271206 w 299009"/>
                <a:gd name="connsiteY18" fmla="*/ 225525 h 349576"/>
                <a:gd name="connsiteX19" fmla="*/ 267415 w 299009"/>
                <a:gd name="connsiteY19" fmla="*/ 182348 h 349576"/>
                <a:gd name="connsiteX20" fmla="*/ 264796 w 299009"/>
                <a:gd name="connsiteY20" fmla="*/ 153077 h 349576"/>
                <a:gd name="connsiteX21" fmla="*/ 262996 w 299009"/>
                <a:gd name="connsiteY21" fmla="*/ 133561 h 349576"/>
                <a:gd name="connsiteX22" fmla="*/ 261738 w 299009"/>
                <a:gd name="connsiteY22" fmla="*/ 119683 h 349576"/>
                <a:gd name="connsiteX23" fmla="*/ 259090 w 299009"/>
                <a:gd name="connsiteY23" fmla="*/ 92079 h 349576"/>
                <a:gd name="connsiteX24" fmla="*/ 256661 w 299009"/>
                <a:gd name="connsiteY24" fmla="*/ 64161 h 349576"/>
                <a:gd name="connsiteX25" fmla="*/ 279579 w 299009"/>
                <a:gd name="connsiteY25" fmla="*/ 64142 h 349576"/>
                <a:gd name="connsiteX26" fmla="*/ 298743 w 299009"/>
                <a:gd name="connsiteY26" fmla="*/ 64161 h 349576"/>
                <a:gd name="connsiteX27" fmla="*/ 292399 w 299009"/>
                <a:gd name="connsiteY27" fmla="*/ 59618 h 349576"/>
                <a:gd name="connsiteX28" fmla="*/ 279759 w 299009"/>
                <a:gd name="connsiteY28" fmla="*/ 50646 h 349576"/>
                <a:gd name="connsiteX29" fmla="*/ 252137 w 299009"/>
                <a:gd name="connsiteY29" fmla="*/ 31091 h 349576"/>
                <a:gd name="connsiteX30" fmla="*/ 231163 w 299009"/>
                <a:gd name="connsiteY30" fmla="*/ 16451 h 349576"/>
                <a:gd name="connsiteX31" fmla="*/ 207217 w 299009"/>
                <a:gd name="connsiteY31" fmla="*/ -94 h 349576"/>
                <a:gd name="connsiteX32" fmla="*/ 207093 w 299009"/>
                <a:gd name="connsiteY32" fmla="*/ 7726 h 349576"/>
                <a:gd name="connsiteX33" fmla="*/ 206512 w 299009"/>
                <a:gd name="connsiteY33" fmla="*/ 36396 h 349576"/>
                <a:gd name="connsiteX34" fmla="*/ 157411 w 299009"/>
                <a:gd name="connsiteY34" fmla="*/ 36396 h 349576"/>
                <a:gd name="connsiteX35" fmla="*/ 144152 w 299009"/>
                <a:gd name="connsiteY35" fmla="*/ 36425 h 349576"/>
                <a:gd name="connsiteX36" fmla="*/ 126026 w 299009"/>
                <a:gd name="connsiteY36" fmla="*/ 36406 h 349576"/>
                <a:gd name="connsiteX37" fmla="*/ 124417 w 299009"/>
                <a:gd name="connsiteY37" fmla="*/ 107062 h 349576"/>
                <a:gd name="connsiteX38" fmla="*/ 115463 w 299009"/>
                <a:gd name="connsiteY38" fmla="*/ 110834 h 349576"/>
                <a:gd name="connsiteX39" fmla="*/ 106976 w 299009"/>
                <a:gd name="connsiteY39" fmla="*/ 114044 h 349576"/>
                <a:gd name="connsiteX40" fmla="*/ 99690 w 299009"/>
                <a:gd name="connsiteY40" fmla="*/ 119292 h 349576"/>
                <a:gd name="connsiteX41" fmla="*/ 96070 w 299009"/>
                <a:gd name="connsiteY41" fmla="*/ 126407 h 349576"/>
                <a:gd name="connsiteX42" fmla="*/ 97622 w 299009"/>
                <a:gd name="connsiteY42" fmla="*/ 133561 h 349576"/>
                <a:gd name="connsiteX43" fmla="*/ 98890 w 299009"/>
                <a:gd name="connsiteY43" fmla="*/ 165851 h 349576"/>
                <a:gd name="connsiteX44" fmla="*/ 72991 w 299009"/>
                <a:gd name="connsiteY44" fmla="*/ 165689 h 349576"/>
                <a:gd name="connsiteX45" fmla="*/ 4430 w 299009"/>
                <a:gd name="connsiteY45" fmla="*/ 165889 h 349576"/>
                <a:gd name="connsiteX46" fmla="*/ 953 w 299009"/>
                <a:gd name="connsiteY46" fmla="*/ 172594 h 349576"/>
                <a:gd name="connsiteX47" fmla="*/ -266 w 299009"/>
                <a:gd name="connsiteY47" fmla="*/ 181576 h 349576"/>
                <a:gd name="connsiteX48" fmla="*/ 1048 w 299009"/>
                <a:gd name="connsiteY48" fmla="*/ 174699 h 349576"/>
                <a:gd name="connsiteX49" fmla="*/ 6392 w 299009"/>
                <a:gd name="connsiteY49" fmla="*/ 177385 h 349576"/>
                <a:gd name="connsiteX50" fmla="*/ 8754 w 299009"/>
                <a:gd name="connsiteY50" fmla="*/ 184091 h 349576"/>
                <a:gd name="connsiteX51" fmla="*/ 14708 w 299009"/>
                <a:gd name="connsiteY51" fmla="*/ 185186 h 349576"/>
                <a:gd name="connsiteX52" fmla="*/ 16270 w 299009"/>
                <a:gd name="connsiteY52" fmla="*/ 191187 h 349576"/>
                <a:gd name="connsiteX53" fmla="*/ 20003 w 299009"/>
                <a:gd name="connsiteY53" fmla="*/ 197359 h 349576"/>
                <a:gd name="connsiteX54" fmla="*/ 19146 w 299009"/>
                <a:gd name="connsiteY54" fmla="*/ 203674 h 349576"/>
                <a:gd name="connsiteX55" fmla="*/ 17774 w 299009"/>
                <a:gd name="connsiteY55" fmla="*/ 209980 h 349576"/>
                <a:gd name="connsiteX56" fmla="*/ 14155 w 299009"/>
                <a:gd name="connsiteY56" fmla="*/ 215933 h 349576"/>
                <a:gd name="connsiteX57" fmla="*/ 12859 w 299009"/>
                <a:gd name="connsiteY57" fmla="*/ 223610 h 349576"/>
                <a:gd name="connsiteX58" fmla="*/ 17336 w 299009"/>
                <a:gd name="connsiteY58" fmla="*/ 227630 h 349576"/>
                <a:gd name="connsiteX59" fmla="*/ 20613 w 299009"/>
                <a:gd name="connsiteY59" fmla="*/ 239936 h 349576"/>
                <a:gd name="connsiteX60" fmla="*/ 22747 w 299009"/>
                <a:gd name="connsiteY60" fmla="*/ 250661 h 349576"/>
                <a:gd name="connsiteX61" fmla="*/ 22956 w 299009"/>
                <a:gd name="connsiteY61" fmla="*/ 256995 h 349576"/>
                <a:gd name="connsiteX62" fmla="*/ 21861 w 299009"/>
                <a:gd name="connsiteY62" fmla="*/ 268920 h 349576"/>
                <a:gd name="connsiteX63" fmla="*/ 20241 w 299009"/>
                <a:gd name="connsiteY63" fmla="*/ 275121 h 349576"/>
                <a:gd name="connsiteX64" fmla="*/ 14479 w 299009"/>
                <a:gd name="connsiteY64" fmla="*/ 289694 h 349576"/>
                <a:gd name="connsiteX65" fmla="*/ 11774 w 299009"/>
                <a:gd name="connsiteY65" fmla="*/ 297295 h 349576"/>
                <a:gd name="connsiteX66" fmla="*/ 9735 w 299009"/>
                <a:gd name="connsiteY66" fmla="*/ 306049 h 349576"/>
                <a:gd name="connsiteX67" fmla="*/ 9840 w 299009"/>
                <a:gd name="connsiteY67" fmla="*/ 312145 h 349576"/>
                <a:gd name="connsiteX68" fmla="*/ 14402 w 299009"/>
                <a:gd name="connsiteY68" fmla="*/ 302896 h 349576"/>
                <a:gd name="connsiteX69" fmla="*/ 19784 w 299009"/>
                <a:gd name="connsiteY69" fmla="*/ 298572 h 349576"/>
                <a:gd name="connsiteX70" fmla="*/ 29938 w 299009"/>
                <a:gd name="connsiteY70" fmla="*/ 300934 h 349576"/>
                <a:gd name="connsiteX71" fmla="*/ 35720 w 299009"/>
                <a:gd name="connsiteY71" fmla="*/ 297581 h 349576"/>
                <a:gd name="connsiteX72" fmla="*/ 45054 w 299009"/>
                <a:gd name="connsiteY72" fmla="*/ 297343 h 349576"/>
                <a:gd name="connsiteX73" fmla="*/ 52436 w 299009"/>
                <a:gd name="connsiteY73" fmla="*/ 296534 h 349576"/>
                <a:gd name="connsiteX74" fmla="*/ 58437 w 299009"/>
                <a:gd name="connsiteY74" fmla="*/ 296114 h 349576"/>
                <a:gd name="connsiteX75" fmla="*/ 64971 w 299009"/>
                <a:gd name="connsiteY75" fmla="*/ 297762 h 349576"/>
                <a:gd name="connsiteX76" fmla="*/ 70009 w 299009"/>
                <a:gd name="connsiteY76" fmla="*/ 302810 h 349576"/>
                <a:gd name="connsiteX77" fmla="*/ 73639 w 299009"/>
                <a:gd name="connsiteY77" fmla="*/ 308411 h 349576"/>
                <a:gd name="connsiteX78" fmla="*/ 79430 w 299009"/>
                <a:gd name="connsiteY78" fmla="*/ 311364 h 349576"/>
                <a:gd name="connsiteX79" fmla="*/ 86859 w 299009"/>
                <a:gd name="connsiteY79" fmla="*/ 312469 h 349576"/>
                <a:gd name="connsiteX80" fmla="*/ 89117 w 299009"/>
                <a:gd name="connsiteY80" fmla="*/ 319479 h 349576"/>
                <a:gd name="connsiteX81" fmla="*/ 92565 w 299009"/>
                <a:gd name="connsiteY81" fmla="*/ 325070 h 349576"/>
                <a:gd name="connsiteX82" fmla="*/ 96775 w 299009"/>
                <a:gd name="connsiteY82" fmla="*/ 329423 h 349576"/>
                <a:gd name="connsiteX83" fmla="*/ 99337 w 299009"/>
                <a:gd name="connsiteY83" fmla="*/ 336186 h 349576"/>
                <a:gd name="connsiteX84" fmla="*/ 108357 w 299009"/>
                <a:gd name="connsiteY84" fmla="*/ 341701 h 349576"/>
                <a:gd name="connsiteX85" fmla="*/ 112624 w 299009"/>
                <a:gd name="connsiteY85" fmla="*/ 347226 h 349576"/>
                <a:gd name="connsiteX86" fmla="*/ 118740 w 299009"/>
                <a:gd name="connsiteY86" fmla="*/ 349483 h 349576"/>
                <a:gd name="connsiteX87" fmla="*/ 13936 w 299009"/>
                <a:gd name="connsiteY87" fmla="*/ 214085 h 349576"/>
                <a:gd name="connsiteX88" fmla="*/ 16079 w 299009"/>
                <a:gd name="connsiteY88" fmla="*/ 208513 h 349576"/>
                <a:gd name="connsiteX89" fmla="*/ 13936 w 299009"/>
                <a:gd name="connsiteY89" fmla="*/ 214085 h 34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99009" h="349576">
                  <a:moveTo>
                    <a:pt x="118740" y="349483"/>
                  </a:moveTo>
                  <a:lnTo>
                    <a:pt x="125093" y="344673"/>
                  </a:lnTo>
                  <a:lnTo>
                    <a:pt x="124940" y="337881"/>
                  </a:lnTo>
                  <a:lnTo>
                    <a:pt x="126550" y="330661"/>
                  </a:lnTo>
                  <a:lnTo>
                    <a:pt x="132446" y="325118"/>
                  </a:lnTo>
                  <a:lnTo>
                    <a:pt x="138846" y="330138"/>
                  </a:lnTo>
                  <a:lnTo>
                    <a:pt x="145390" y="336110"/>
                  </a:lnTo>
                  <a:lnTo>
                    <a:pt x="151563" y="332205"/>
                  </a:lnTo>
                  <a:lnTo>
                    <a:pt x="156859" y="329214"/>
                  </a:lnTo>
                  <a:lnTo>
                    <a:pt x="164964" y="330623"/>
                  </a:lnTo>
                  <a:lnTo>
                    <a:pt x="171375" y="330909"/>
                  </a:lnTo>
                  <a:lnTo>
                    <a:pt x="184367" y="329566"/>
                  </a:lnTo>
                  <a:lnTo>
                    <a:pt x="186186" y="322232"/>
                  </a:lnTo>
                  <a:lnTo>
                    <a:pt x="277312" y="327861"/>
                  </a:lnTo>
                  <a:lnTo>
                    <a:pt x="284665" y="304735"/>
                  </a:lnTo>
                  <a:lnTo>
                    <a:pt x="277921" y="300105"/>
                  </a:lnTo>
                  <a:lnTo>
                    <a:pt x="277045" y="289694"/>
                  </a:lnTo>
                  <a:lnTo>
                    <a:pt x="273282" y="247613"/>
                  </a:lnTo>
                  <a:lnTo>
                    <a:pt x="271206" y="225525"/>
                  </a:lnTo>
                  <a:lnTo>
                    <a:pt x="267415" y="182348"/>
                  </a:lnTo>
                  <a:lnTo>
                    <a:pt x="264796" y="153077"/>
                  </a:lnTo>
                  <a:lnTo>
                    <a:pt x="262996" y="133561"/>
                  </a:lnTo>
                  <a:lnTo>
                    <a:pt x="261738" y="119683"/>
                  </a:lnTo>
                  <a:lnTo>
                    <a:pt x="259090" y="92079"/>
                  </a:lnTo>
                  <a:lnTo>
                    <a:pt x="256661" y="64161"/>
                  </a:lnTo>
                  <a:lnTo>
                    <a:pt x="279579" y="64142"/>
                  </a:lnTo>
                  <a:lnTo>
                    <a:pt x="298743" y="64161"/>
                  </a:lnTo>
                  <a:lnTo>
                    <a:pt x="292399" y="59618"/>
                  </a:lnTo>
                  <a:lnTo>
                    <a:pt x="279759" y="50646"/>
                  </a:lnTo>
                  <a:lnTo>
                    <a:pt x="252137" y="31091"/>
                  </a:lnTo>
                  <a:lnTo>
                    <a:pt x="231163" y="16451"/>
                  </a:lnTo>
                  <a:lnTo>
                    <a:pt x="207217" y="-94"/>
                  </a:lnTo>
                  <a:lnTo>
                    <a:pt x="207093" y="7726"/>
                  </a:lnTo>
                  <a:lnTo>
                    <a:pt x="206512" y="36396"/>
                  </a:lnTo>
                  <a:lnTo>
                    <a:pt x="157411" y="36396"/>
                  </a:lnTo>
                  <a:lnTo>
                    <a:pt x="144152" y="36425"/>
                  </a:lnTo>
                  <a:lnTo>
                    <a:pt x="126026" y="36406"/>
                  </a:lnTo>
                  <a:lnTo>
                    <a:pt x="124417" y="107062"/>
                  </a:lnTo>
                  <a:lnTo>
                    <a:pt x="115463" y="110834"/>
                  </a:lnTo>
                  <a:lnTo>
                    <a:pt x="106976" y="114044"/>
                  </a:lnTo>
                  <a:lnTo>
                    <a:pt x="99690" y="119292"/>
                  </a:lnTo>
                  <a:lnTo>
                    <a:pt x="96070" y="126407"/>
                  </a:lnTo>
                  <a:lnTo>
                    <a:pt x="97622" y="133561"/>
                  </a:lnTo>
                  <a:lnTo>
                    <a:pt x="98890" y="165851"/>
                  </a:lnTo>
                  <a:lnTo>
                    <a:pt x="72991" y="165689"/>
                  </a:lnTo>
                  <a:lnTo>
                    <a:pt x="4430" y="165889"/>
                  </a:lnTo>
                  <a:lnTo>
                    <a:pt x="953" y="172594"/>
                  </a:lnTo>
                  <a:lnTo>
                    <a:pt x="-266" y="181576"/>
                  </a:lnTo>
                  <a:lnTo>
                    <a:pt x="1048" y="174699"/>
                  </a:lnTo>
                  <a:lnTo>
                    <a:pt x="6392" y="177385"/>
                  </a:lnTo>
                  <a:lnTo>
                    <a:pt x="8754" y="184091"/>
                  </a:lnTo>
                  <a:lnTo>
                    <a:pt x="14708" y="185186"/>
                  </a:lnTo>
                  <a:lnTo>
                    <a:pt x="16270" y="191187"/>
                  </a:lnTo>
                  <a:lnTo>
                    <a:pt x="20003" y="197359"/>
                  </a:lnTo>
                  <a:lnTo>
                    <a:pt x="19146" y="203674"/>
                  </a:lnTo>
                  <a:lnTo>
                    <a:pt x="17774" y="209980"/>
                  </a:lnTo>
                  <a:lnTo>
                    <a:pt x="14155" y="215933"/>
                  </a:lnTo>
                  <a:lnTo>
                    <a:pt x="12859" y="223610"/>
                  </a:lnTo>
                  <a:lnTo>
                    <a:pt x="17336" y="227630"/>
                  </a:lnTo>
                  <a:lnTo>
                    <a:pt x="20613" y="239936"/>
                  </a:lnTo>
                  <a:lnTo>
                    <a:pt x="22747" y="250661"/>
                  </a:lnTo>
                  <a:lnTo>
                    <a:pt x="22956" y="256995"/>
                  </a:lnTo>
                  <a:lnTo>
                    <a:pt x="21861" y="268920"/>
                  </a:lnTo>
                  <a:lnTo>
                    <a:pt x="20241" y="275121"/>
                  </a:lnTo>
                  <a:lnTo>
                    <a:pt x="14479" y="289694"/>
                  </a:lnTo>
                  <a:lnTo>
                    <a:pt x="11774" y="297295"/>
                  </a:lnTo>
                  <a:lnTo>
                    <a:pt x="9735" y="306049"/>
                  </a:lnTo>
                  <a:lnTo>
                    <a:pt x="9840" y="312145"/>
                  </a:lnTo>
                  <a:lnTo>
                    <a:pt x="14402" y="302896"/>
                  </a:lnTo>
                  <a:lnTo>
                    <a:pt x="19784" y="298572"/>
                  </a:lnTo>
                  <a:lnTo>
                    <a:pt x="29938" y="300934"/>
                  </a:lnTo>
                  <a:lnTo>
                    <a:pt x="35720" y="297581"/>
                  </a:lnTo>
                  <a:lnTo>
                    <a:pt x="45054" y="297343"/>
                  </a:lnTo>
                  <a:lnTo>
                    <a:pt x="52436" y="296534"/>
                  </a:lnTo>
                  <a:lnTo>
                    <a:pt x="58437" y="296114"/>
                  </a:lnTo>
                  <a:lnTo>
                    <a:pt x="64971" y="297762"/>
                  </a:lnTo>
                  <a:lnTo>
                    <a:pt x="70009" y="302810"/>
                  </a:lnTo>
                  <a:lnTo>
                    <a:pt x="73639" y="308411"/>
                  </a:lnTo>
                  <a:lnTo>
                    <a:pt x="79430" y="311364"/>
                  </a:lnTo>
                  <a:lnTo>
                    <a:pt x="86859" y="312469"/>
                  </a:lnTo>
                  <a:lnTo>
                    <a:pt x="89117" y="319479"/>
                  </a:lnTo>
                  <a:lnTo>
                    <a:pt x="92565" y="325070"/>
                  </a:lnTo>
                  <a:lnTo>
                    <a:pt x="96775" y="329423"/>
                  </a:lnTo>
                  <a:lnTo>
                    <a:pt x="99337" y="336186"/>
                  </a:lnTo>
                  <a:lnTo>
                    <a:pt x="108357" y="341701"/>
                  </a:lnTo>
                  <a:lnTo>
                    <a:pt x="112624" y="347226"/>
                  </a:lnTo>
                  <a:lnTo>
                    <a:pt x="118740" y="349483"/>
                  </a:lnTo>
                  <a:close/>
                  <a:moveTo>
                    <a:pt x="13936" y="214085"/>
                  </a:moveTo>
                  <a:lnTo>
                    <a:pt x="16079" y="208513"/>
                  </a:lnTo>
                  <a:lnTo>
                    <a:pt x="13936" y="214085"/>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6" name="Freeform: Shape 35">
              <a:extLst>
                <a:ext uri="{FF2B5EF4-FFF2-40B4-BE49-F238E27FC236}">
                  <a16:creationId xmlns:a16="http://schemas.microsoft.com/office/drawing/2014/main" id="{8018246C-FD5A-981B-6350-6BF848AE2F1F}"/>
                </a:ext>
              </a:extLst>
            </p:cNvPr>
            <p:cNvSpPr/>
            <p:nvPr/>
          </p:nvSpPr>
          <p:spPr>
            <a:xfrm>
              <a:off x="5908324" y="-432525"/>
              <a:ext cx="11428" cy="12631"/>
            </a:xfrm>
            <a:custGeom>
              <a:avLst/>
              <a:gdLst>
                <a:gd name="connsiteX0" fmla="*/ 3744 w 4010"/>
                <a:gd name="connsiteY0" fmla="*/ 4335 h 4429"/>
                <a:gd name="connsiteX1" fmla="*/ -266 w 4010"/>
                <a:gd name="connsiteY1" fmla="*/ -94 h 4429"/>
                <a:gd name="connsiteX2" fmla="*/ 3744 w 4010"/>
                <a:gd name="connsiteY2" fmla="*/ 4335 h 4429"/>
              </a:gdLst>
              <a:ahLst/>
              <a:cxnLst>
                <a:cxn ang="0">
                  <a:pos x="connsiteX0" y="connsiteY0"/>
                </a:cxn>
                <a:cxn ang="0">
                  <a:pos x="connsiteX1" y="connsiteY1"/>
                </a:cxn>
                <a:cxn ang="0">
                  <a:pos x="connsiteX2" y="connsiteY2"/>
                </a:cxn>
              </a:cxnLst>
              <a:rect l="l" t="t" r="r" b="b"/>
              <a:pathLst>
                <a:path w="4010" h="4429">
                  <a:moveTo>
                    <a:pt x="3744" y="4335"/>
                  </a:moveTo>
                  <a:lnTo>
                    <a:pt x="-266" y="-94"/>
                  </a:lnTo>
                  <a:lnTo>
                    <a:pt x="3744" y="4335"/>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7" name="Freeform: Shape 36">
              <a:extLst>
                <a:ext uri="{FF2B5EF4-FFF2-40B4-BE49-F238E27FC236}">
                  <a16:creationId xmlns:a16="http://schemas.microsoft.com/office/drawing/2014/main" id="{410F5D1F-4E0C-66D2-5DCB-F7E7E934B018}"/>
                </a:ext>
              </a:extLst>
            </p:cNvPr>
            <p:cNvSpPr/>
            <p:nvPr/>
          </p:nvSpPr>
          <p:spPr>
            <a:xfrm>
              <a:off x="7074058" y="3253629"/>
              <a:ext cx="746354" cy="1287893"/>
            </a:xfrm>
            <a:custGeom>
              <a:avLst/>
              <a:gdLst>
                <a:gd name="connsiteX0" fmla="*/ 42920 w 261880"/>
                <a:gd name="connsiteY0" fmla="*/ 451486 h 451580"/>
                <a:gd name="connsiteX1" fmla="*/ 48378 w 261880"/>
                <a:gd name="connsiteY1" fmla="*/ 444895 h 451580"/>
                <a:gd name="connsiteX2" fmla="*/ 49474 w 261880"/>
                <a:gd name="connsiteY2" fmla="*/ 438513 h 451580"/>
                <a:gd name="connsiteX3" fmla="*/ 51065 w 261880"/>
                <a:gd name="connsiteY3" fmla="*/ 429693 h 451580"/>
                <a:gd name="connsiteX4" fmla="*/ 49007 w 261880"/>
                <a:gd name="connsiteY4" fmla="*/ 436780 h 451580"/>
                <a:gd name="connsiteX5" fmla="*/ 44045 w 261880"/>
                <a:gd name="connsiteY5" fmla="*/ 432712 h 451580"/>
                <a:gd name="connsiteX6" fmla="*/ 41597 w 261880"/>
                <a:gd name="connsiteY6" fmla="*/ 426559 h 451580"/>
                <a:gd name="connsiteX7" fmla="*/ 46178 w 261880"/>
                <a:gd name="connsiteY7" fmla="*/ 421911 h 451580"/>
                <a:gd name="connsiteX8" fmla="*/ 48655 w 261880"/>
                <a:gd name="connsiteY8" fmla="*/ 416282 h 451580"/>
                <a:gd name="connsiteX9" fmla="*/ 55960 w 261880"/>
                <a:gd name="connsiteY9" fmla="*/ 410738 h 451580"/>
                <a:gd name="connsiteX10" fmla="*/ 66733 w 261880"/>
                <a:gd name="connsiteY10" fmla="*/ 405186 h 451580"/>
                <a:gd name="connsiteX11" fmla="*/ 72238 w 261880"/>
                <a:gd name="connsiteY11" fmla="*/ 402766 h 451580"/>
                <a:gd name="connsiteX12" fmla="*/ 80573 w 261880"/>
                <a:gd name="connsiteY12" fmla="*/ 399623 h 451580"/>
                <a:gd name="connsiteX13" fmla="*/ 86879 w 261880"/>
                <a:gd name="connsiteY13" fmla="*/ 397289 h 451580"/>
                <a:gd name="connsiteX14" fmla="*/ 98413 w 261880"/>
                <a:gd name="connsiteY14" fmla="*/ 392727 h 451580"/>
                <a:gd name="connsiteX15" fmla="*/ 106338 w 261880"/>
                <a:gd name="connsiteY15" fmla="*/ 388535 h 451580"/>
                <a:gd name="connsiteX16" fmla="*/ 110557 w 261880"/>
                <a:gd name="connsiteY16" fmla="*/ 382982 h 451580"/>
                <a:gd name="connsiteX17" fmla="*/ 114653 w 261880"/>
                <a:gd name="connsiteY17" fmla="*/ 377430 h 451580"/>
                <a:gd name="connsiteX18" fmla="*/ 117320 w 261880"/>
                <a:gd name="connsiteY18" fmla="*/ 369819 h 451580"/>
                <a:gd name="connsiteX19" fmla="*/ 113529 w 261880"/>
                <a:gd name="connsiteY19" fmla="*/ 365181 h 451580"/>
                <a:gd name="connsiteX20" fmla="*/ 115491 w 261880"/>
                <a:gd name="connsiteY20" fmla="*/ 357903 h 451580"/>
                <a:gd name="connsiteX21" fmla="*/ 117482 w 261880"/>
                <a:gd name="connsiteY21" fmla="*/ 351578 h 451580"/>
                <a:gd name="connsiteX22" fmla="*/ 119882 w 261880"/>
                <a:gd name="connsiteY22" fmla="*/ 344139 h 451580"/>
                <a:gd name="connsiteX23" fmla="*/ 118749 w 261880"/>
                <a:gd name="connsiteY23" fmla="*/ 338158 h 451580"/>
                <a:gd name="connsiteX24" fmla="*/ 119006 w 261880"/>
                <a:gd name="connsiteY24" fmla="*/ 331795 h 451580"/>
                <a:gd name="connsiteX25" fmla="*/ 120006 w 261880"/>
                <a:gd name="connsiteY25" fmla="*/ 323280 h 451580"/>
                <a:gd name="connsiteX26" fmla="*/ 115301 w 261880"/>
                <a:gd name="connsiteY26" fmla="*/ 316889 h 451580"/>
                <a:gd name="connsiteX27" fmla="*/ 114768 w 261880"/>
                <a:gd name="connsiteY27" fmla="*/ 306421 h 451580"/>
                <a:gd name="connsiteX28" fmla="*/ 111691 w 261880"/>
                <a:gd name="connsiteY28" fmla="*/ 299734 h 451580"/>
                <a:gd name="connsiteX29" fmla="*/ 110177 w 261880"/>
                <a:gd name="connsiteY29" fmla="*/ 293124 h 451580"/>
                <a:gd name="connsiteX30" fmla="*/ 112482 w 261880"/>
                <a:gd name="connsiteY30" fmla="*/ 286771 h 451580"/>
                <a:gd name="connsiteX31" fmla="*/ 109605 w 261880"/>
                <a:gd name="connsiteY31" fmla="*/ 280627 h 451580"/>
                <a:gd name="connsiteX32" fmla="*/ 103604 w 261880"/>
                <a:gd name="connsiteY32" fmla="*/ 275112 h 451580"/>
                <a:gd name="connsiteX33" fmla="*/ 104014 w 261880"/>
                <a:gd name="connsiteY33" fmla="*/ 267206 h 451580"/>
                <a:gd name="connsiteX34" fmla="*/ 104776 w 261880"/>
                <a:gd name="connsiteY34" fmla="*/ 260958 h 451580"/>
                <a:gd name="connsiteX35" fmla="*/ 110281 w 261880"/>
                <a:gd name="connsiteY35" fmla="*/ 255472 h 451580"/>
                <a:gd name="connsiteX36" fmla="*/ 117177 w 261880"/>
                <a:gd name="connsiteY36" fmla="*/ 249775 h 451580"/>
                <a:gd name="connsiteX37" fmla="*/ 122645 w 261880"/>
                <a:gd name="connsiteY37" fmla="*/ 244184 h 451580"/>
                <a:gd name="connsiteX38" fmla="*/ 127102 w 261880"/>
                <a:gd name="connsiteY38" fmla="*/ 238650 h 451580"/>
                <a:gd name="connsiteX39" fmla="*/ 132999 w 261880"/>
                <a:gd name="connsiteY39" fmla="*/ 233078 h 451580"/>
                <a:gd name="connsiteX40" fmla="*/ 143667 w 261880"/>
                <a:gd name="connsiteY40" fmla="*/ 229839 h 451580"/>
                <a:gd name="connsiteX41" fmla="*/ 147610 w 261880"/>
                <a:gd name="connsiteY41" fmla="*/ 222534 h 451580"/>
                <a:gd name="connsiteX42" fmla="*/ 153258 w 261880"/>
                <a:gd name="connsiteY42" fmla="*/ 216429 h 451580"/>
                <a:gd name="connsiteX43" fmla="*/ 158106 w 261880"/>
                <a:gd name="connsiteY43" fmla="*/ 211104 h 451580"/>
                <a:gd name="connsiteX44" fmla="*/ 162402 w 261880"/>
                <a:gd name="connsiteY44" fmla="*/ 205370 h 451580"/>
                <a:gd name="connsiteX45" fmla="*/ 166822 w 261880"/>
                <a:gd name="connsiteY45" fmla="*/ 199779 h 451580"/>
                <a:gd name="connsiteX46" fmla="*/ 174737 w 261880"/>
                <a:gd name="connsiteY46" fmla="*/ 194216 h 451580"/>
                <a:gd name="connsiteX47" fmla="*/ 184424 w 261880"/>
                <a:gd name="connsiteY47" fmla="*/ 188692 h 451580"/>
                <a:gd name="connsiteX48" fmla="*/ 196530 w 261880"/>
                <a:gd name="connsiteY48" fmla="*/ 183110 h 451580"/>
                <a:gd name="connsiteX49" fmla="*/ 205170 w 261880"/>
                <a:gd name="connsiteY49" fmla="*/ 179767 h 451580"/>
                <a:gd name="connsiteX50" fmla="*/ 215019 w 261880"/>
                <a:gd name="connsiteY50" fmla="*/ 177576 h 451580"/>
                <a:gd name="connsiteX51" fmla="*/ 219552 w 261880"/>
                <a:gd name="connsiteY51" fmla="*/ 172023 h 451580"/>
                <a:gd name="connsiteX52" fmla="*/ 228420 w 261880"/>
                <a:gd name="connsiteY52" fmla="*/ 166460 h 451580"/>
                <a:gd name="connsiteX53" fmla="*/ 236402 w 261880"/>
                <a:gd name="connsiteY53" fmla="*/ 160917 h 451580"/>
                <a:gd name="connsiteX54" fmla="*/ 239060 w 261880"/>
                <a:gd name="connsiteY54" fmla="*/ 155364 h 451580"/>
                <a:gd name="connsiteX55" fmla="*/ 242469 w 261880"/>
                <a:gd name="connsiteY55" fmla="*/ 149830 h 451580"/>
                <a:gd name="connsiteX56" fmla="*/ 246689 w 261880"/>
                <a:gd name="connsiteY56" fmla="*/ 144257 h 451580"/>
                <a:gd name="connsiteX57" fmla="*/ 250766 w 261880"/>
                <a:gd name="connsiteY57" fmla="*/ 138704 h 451580"/>
                <a:gd name="connsiteX58" fmla="*/ 254585 w 261880"/>
                <a:gd name="connsiteY58" fmla="*/ 133180 h 451580"/>
                <a:gd name="connsiteX59" fmla="*/ 255633 w 261880"/>
                <a:gd name="connsiteY59" fmla="*/ 126084 h 451580"/>
                <a:gd name="connsiteX60" fmla="*/ 258948 w 261880"/>
                <a:gd name="connsiteY60" fmla="*/ 120264 h 451580"/>
                <a:gd name="connsiteX61" fmla="*/ 261615 w 261880"/>
                <a:gd name="connsiteY61" fmla="*/ 114473 h 451580"/>
                <a:gd name="connsiteX62" fmla="*/ 261148 w 261880"/>
                <a:gd name="connsiteY62" fmla="*/ 105653 h 451580"/>
                <a:gd name="connsiteX63" fmla="*/ 256557 w 261880"/>
                <a:gd name="connsiteY63" fmla="*/ 110891 h 451580"/>
                <a:gd name="connsiteX64" fmla="*/ 256776 w 261880"/>
                <a:gd name="connsiteY64" fmla="*/ 103367 h 451580"/>
                <a:gd name="connsiteX65" fmla="*/ 255947 w 261880"/>
                <a:gd name="connsiteY65" fmla="*/ 96452 h 451580"/>
                <a:gd name="connsiteX66" fmla="*/ 256367 w 261880"/>
                <a:gd name="connsiteY66" fmla="*/ 88736 h 451580"/>
                <a:gd name="connsiteX67" fmla="*/ 256947 w 261880"/>
                <a:gd name="connsiteY67" fmla="*/ 82269 h 451580"/>
                <a:gd name="connsiteX68" fmla="*/ 256404 w 261880"/>
                <a:gd name="connsiteY68" fmla="*/ 72096 h 451580"/>
                <a:gd name="connsiteX69" fmla="*/ 257271 w 261880"/>
                <a:gd name="connsiteY69" fmla="*/ 65552 h 451580"/>
                <a:gd name="connsiteX70" fmla="*/ 258662 w 261880"/>
                <a:gd name="connsiteY70" fmla="*/ 59495 h 451580"/>
                <a:gd name="connsiteX71" fmla="*/ 256176 w 261880"/>
                <a:gd name="connsiteY71" fmla="*/ 53618 h 451580"/>
                <a:gd name="connsiteX72" fmla="*/ 255442 w 261880"/>
                <a:gd name="connsiteY72" fmla="*/ 46407 h 451580"/>
                <a:gd name="connsiteX73" fmla="*/ 256166 w 261880"/>
                <a:gd name="connsiteY73" fmla="*/ 40235 h 451580"/>
                <a:gd name="connsiteX74" fmla="*/ 255528 w 261880"/>
                <a:gd name="connsiteY74" fmla="*/ 33263 h 451580"/>
                <a:gd name="connsiteX75" fmla="*/ 254595 w 261880"/>
                <a:gd name="connsiteY75" fmla="*/ 25738 h 451580"/>
                <a:gd name="connsiteX76" fmla="*/ 254661 w 261880"/>
                <a:gd name="connsiteY76" fmla="*/ 19489 h 451580"/>
                <a:gd name="connsiteX77" fmla="*/ 258881 w 261880"/>
                <a:gd name="connsiteY77" fmla="*/ 12193 h 451580"/>
                <a:gd name="connsiteX78" fmla="*/ 260452 w 261880"/>
                <a:gd name="connsiteY78" fmla="*/ 6345 h 451580"/>
                <a:gd name="connsiteX79" fmla="*/ 259872 w 261880"/>
                <a:gd name="connsiteY79" fmla="*/ -27 h 451580"/>
                <a:gd name="connsiteX80" fmla="*/ 251118 w 261880"/>
                <a:gd name="connsiteY80" fmla="*/ -94 h 451580"/>
                <a:gd name="connsiteX81" fmla="*/ 245393 w 261880"/>
                <a:gd name="connsiteY81" fmla="*/ 5450 h 451580"/>
                <a:gd name="connsiteX82" fmla="*/ 232744 w 261880"/>
                <a:gd name="connsiteY82" fmla="*/ 11003 h 451580"/>
                <a:gd name="connsiteX83" fmla="*/ 226153 w 261880"/>
                <a:gd name="connsiteY83" fmla="*/ 15879 h 451580"/>
                <a:gd name="connsiteX84" fmla="*/ 217181 w 261880"/>
                <a:gd name="connsiteY84" fmla="*/ 15784 h 451580"/>
                <a:gd name="connsiteX85" fmla="*/ 210808 w 261880"/>
                <a:gd name="connsiteY85" fmla="*/ 19071 h 451580"/>
                <a:gd name="connsiteX86" fmla="*/ 200569 w 261880"/>
                <a:gd name="connsiteY86" fmla="*/ 18546 h 451580"/>
                <a:gd name="connsiteX87" fmla="*/ 193873 w 261880"/>
                <a:gd name="connsiteY87" fmla="*/ 18194 h 451580"/>
                <a:gd name="connsiteX88" fmla="*/ 188843 w 261880"/>
                <a:gd name="connsiteY88" fmla="*/ 26195 h 451580"/>
                <a:gd name="connsiteX89" fmla="*/ 182576 w 261880"/>
                <a:gd name="connsiteY89" fmla="*/ 28062 h 451580"/>
                <a:gd name="connsiteX90" fmla="*/ 175575 w 261880"/>
                <a:gd name="connsiteY90" fmla="*/ 29205 h 451580"/>
                <a:gd name="connsiteX91" fmla="*/ 169841 w 261880"/>
                <a:gd name="connsiteY91" fmla="*/ 27110 h 451580"/>
                <a:gd name="connsiteX92" fmla="*/ 161593 w 261880"/>
                <a:gd name="connsiteY92" fmla="*/ 31139 h 451580"/>
                <a:gd name="connsiteX93" fmla="*/ 154944 w 261880"/>
                <a:gd name="connsiteY93" fmla="*/ 29853 h 451580"/>
                <a:gd name="connsiteX94" fmla="*/ 150048 w 261880"/>
                <a:gd name="connsiteY94" fmla="*/ 26224 h 451580"/>
                <a:gd name="connsiteX95" fmla="*/ 144229 w 261880"/>
                <a:gd name="connsiteY95" fmla="*/ 22747 h 451580"/>
                <a:gd name="connsiteX96" fmla="*/ 138456 w 261880"/>
                <a:gd name="connsiteY96" fmla="*/ 24271 h 451580"/>
                <a:gd name="connsiteX97" fmla="*/ 132532 w 261880"/>
                <a:gd name="connsiteY97" fmla="*/ 26557 h 451580"/>
                <a:gd name="connsiteX98" fmla="*/ 111806 w 261880"/>
                <a:gd name="connsiteY98" fmla="*/ 27157 h 451580"/>
                <a:gd name="connsiteX99" fmla="*/ 110929 w 261880"/>
                <a:gd name="connsiteY99" fmla="*/ 33205 h 451580"/>
                <a:gd name="connsiteX100" fmla="*/ 104843 w 261880"/>
                <a:gd name="connsiteY100" fmla="*/ 43540 h 451580"/>
                <a:gd name="connsiteX101" fmla="*/ 105919 w 261880"/>
                <a:gd name="connsiteY101" fmla="*/ 49674 h 451580"/>
                <a:gd name="connsiteX102" fmla="*/ 107881 w 261880"/>
                <a:gd name="connsiteY102" fmla="*/ 57713 h 451580"/>
                <a:gd name="connsiteX103" fmla="*/ 108252 w 261880"/>
                <a:gd name="connsiteY103" fmla="*/ 66400 h 451580"/>
                <a:gd name="connsiteX104" fmla="*/ 108624 w 261880"/>
                <a:gd name="connsiteY104" fmla="*/ 77582 h 451580"/>
                <a:gd name="connsiteX105" fmla="*/ 115682 w 261880"/>
                <a:gd name="connsiteY105" fmla="*/ 79945 h 451580"/>
                <a:gd name="connsiteX106" fmla="*/ 122540 w 261880"/>
                <a:gd name="connsiteY106" fmla="*/ 88384 h 451580"/>
                <a:gd name="connsiteX107" fmla="*/ 130322 w 261880"/>
                <a:gd name="connsiteY107" fmla="*/ 99023 h 451580"/>
                <a:gd name="connsiteX108" fmla="*/ 139332 w 261880"/>
                <a:gd name="connsiteY108" fmla="*/ 113044 h 451580"/>
                <a:gd name="connsiteX109" fmla="*/ 139123 w 261880"/>
                <a:gd name="connsiteY109" fmla="*/ 119140 h 451580"/>
                <a:gd name="connsiteX110" fmla="*/ 136770 w 261880"/>
                <a:gd name="connsiteY110" fmla="*/ 126760 h 451580"/>
                <a:gd name="connsiteX111" fmla="*/ 137428 w 261880"/>
                <a:gd name="connsiteY111" fmla="*/ 138104 h 451580"/>
                <a:gd name="connsiteX112" fmla="*/ 136694 w 261880"/>
                <a:gd name="connsiteY112" fmla="*/ 144210 h 451580"/>
                <a:gd name="connsiteX113" fmla="*/ 136132 w 261880"/>
                <a:gd name="connsiteY113" fmla="*/ 150782 h 451580"/>
                <a:gd name="connsiteX114" fmla="*/ 129731 w 261880"/>
                <a:gd name="connsiteY114" fmla="*/ 153182 h 451580"/>
                <a:gd name="connsiteX115" fmla="*/ 123912 w 261880"/>
                <a:gd name="connsiteY115" fmla="*/ 155354 h 451580"/>
                <a:gd name="connsiteX116" fmla="*/ 121978 w 261880"/>
                <a:gd name="connsiteY116" fmla="*/ 162993 h 451580"/>
                <a:gd name="connsiteX117" fmla="*/ 122311 w 261880"/>
                <a:gd name="connsiteY117" fmla="*/ 169518 h 451580"/>
                <a:gd name="connsiteX118" fmla="*/ 121368 w 261880"/>
                <a:gd name="connsiteY118" fmla="*/ 175900 h 451580"/>
                <a:gd name="connsiteX119" fmla="*/ 117044 w 261880"/>
                <a:gd name="connsiteY119" fmla="*/ 181157 h 451580"/>
                <a:gd name="connsiteX120" fmla="*/ 118711 w 261880"/>
                <a:gd name="connsiteY120" fmla="*/ 174175 h 451580"/>
                <a:gd name="connsiteX121" fmla="*/ 113196 w 261880"/>
                <a:gd name="connsiteY121" fmla="*/ 170546 h 451580"/>
                <a:gd name="connsiteX122" fmla="*/ 109405 w 261880"/>
                <a:gd name="connsiteY122" fmla="*/ 164041 h 451580"/>
                <a:gd name="connsiteX123" fmla="*/ 105204 w 261880"/>
                <a:gd name="connsiteY123" fmla="*/ 158526 h 451580"/>
                <a:gd name="connsiteX124" fmla="*/ 102233 w 261880"/>
                <a:gd name="connsiteY124" fmla="*/ 151544 h 451580"/>
                <a:gd name="connsiteX125" fmla="*/ 97927 w 261880"/>
                <a:gd name="connsiteY125" fmla="*/ 145476 h 451580"/>
                <a:gd name="connsiteX126" fmla="*/ 102747 w 261880"/>
                <a:gd name="connsiteY126" fmla="*/ 140495 h 451580"/>
                <a:gd name="connsiteX127" fmla="*/ 103214 w 261880"/>
                <a:gd name="connsiteY127" fmla="*/ 133799 h 451580"/>
                <a:gd name="connsiteX128" fmla="*/ 106872 w 261880"/>
                <a:gd name="connsiteY128" fmla="*/ 127617 h 451580"/>
                <a:gd name="connsiteX129" fmla="*/ 106929 w 261880"/>
                <a:gd name="connsiteY129" fmla="*/ 119235 h 451580"/>
                <a:gd name="connsiteX130" fmla="*/ 106023 w 261880"/>
                <a:gd name="connsiteY130" fmla="*/ 113320 h 451580"/>
                <a:gd name="connsiteX131" fmla="*/ 103195 w 261880"/>
                <a:gd name="connsiteY131" fmla="*/ 105577 h 451580"/>
                <a:gd name="connsiteX132" fmla="*/ 95499 w 261880"/>
                <a:gd name="connsiteY132" fmla="*/ 107015 h 451580"/>
                <a:gd name="connsiteX133" fmla="*/ 88459 w 261880"/>
                <a:gd name="connsiteY133" fmla="*/ 109605 h 451580"/>
                <a:gd name="connsiteX134" fmla="*/ 80420 w 261880"/>
                <a:gd name="connsiteY134" fmla="*/ 105395 h 451580"/>
                <a:gd name="connsiteX135" fmla="*/ 77239 w 261880"/>
                <a:gd name="connsiteY135" fmla="*/ 99842 h 451580"/>
                <a:gd name="connsiteX136" fmla="*/ 75115 w 261880"/>
                <a:gd name="connsiteY136" fmla="*/ 94251 h 451580"/>
                <a:gd name="connsiteX137" fmla="*/ 60551 w 261880"/>
                <a:gd name="connsiteY137" fmla="*/ 99804 h 451580"/>
                <a:gd name="connsiteX138" fmla="*/ 45721 w 261880"/>
                <a:gd name="connsiteY138" fmla="*/ 105053 h 451580"/>
                <a:gd name="connsiteX139" fmla="*/ 36263 w 261880"/>
                <a:gd name="connsiteY139" fmla="*/ 108472 h 451580"/>
                <a:gd name="connsiteX140" fmla="*/ 14269 w 261880"/>
                <a:gd name="connsiteY140" fmla="*/ 116178 h 451580"/>
                <a:gd name="connsiteX141" fmla="*/ -266 w 261880"/>
                <a:gd name="connsiteY141" fmla="*/ 121969 h 451580"/>
                <a:gd name="connsiteX142" fmla="*/ 839 w 261880"/>
                <a:gd name="connsiteY142" fmla="*/ 128998 h 451580"/>
                <a:gd name="connsiteX143" fmla="*/ 3725 w 261880"/>
                <a:gd name="connsiteY143" fmla="*/ 135266 h 451580"/>
                <a:gd name="connsiteX144" fmla="*/ 3973 w 261880"/>
                <a:gd name="connsiteY144" fmla="*/ 142781 h 451580"/>
                <a:gd name="connsiteX145" fmla="*/ 3659 w 261880"/>
                <a:gd name="connsiteY145" fmla="*/ 149801 h 451580"/>
                <a:gd name="connsiteX146" fmla="*/ 15813 w 261880"/>
                <a:gd name="connsiteY146" fmla="*/ 149801 h 451580"/>
                <a:gd name="connsiteX147" fmla="*/ 22318 w 261880"/>
                <a:gd name="connsiteY147" fmla="*/ 149525 h 451580"/>
                <a:gd name="connsiteX148" fmla="*/ 27595 w 261880"/>
                <a:gd name="connsiteY148" fmla="*/ 153611 h 451580"/>
                <a:gd name="connsiteX149" fmla="*/ 34643 w 261880"/>
                <a:gd name="connsiteY149" fmla="*/ 155354 h 451580"/>
                <a:gd name="connsiteX150" fmla="*/ 39482 w 261880"/>
                <a:gd name="connsiteY150" fmla="*/ 159088 h 451580"/>
                <a:gd name="connsiteX151" fmla="*/ 50302 w 261880"/>
                <a:gd name="connsiteY151" fmla="*/ 162269 h 451580"/>
                <a:gd name="connsiteX152" fmla="*/ 59180 w 261880"/>
                <a:gd name="connsiteY152" fmla="*/ 166422 h 451580"/>
                <a:gd name="connsiteX153" fmla="*/ 65885 w 261880"/>
                <a:gd name="connsiteY153" fmla="*/ 169165 h 451580"/>
                <a:gd name="connsiteX154" fmla="*/ 61713 w 261880"/>
                <a:gd name="connsiteY154" fmla="*/ 175423 h 451580"/>
                <a:gd name="connsiteX155" fmla="*/ 65228 w 261880"/>
                <a:gd name="connsiteY155" fmla="*/ 183033 h 451580"/>
                <a:gd name="connsiteX156" fmla="*/ 64266 w 261880"/>
                <a:gd name="connsiteY156" fmla="*/ 191997 h 451580"/>
                <a:gd name="connsiteX157" fmla="*/ 65495 w 261880"/>
                <a:gd name="connsiteY157" fmla="*/ 198331 h 451580"/>
                <a:gd name="connsiteX158" fmla="*/ 62923 w 261880"/>
                <a:gd name="connsiteY158" fmla="*/ 204932 h 451580"/>
                <a:gd name="connsiteX159" fmla="*/ 64352 w 261880"/>
                <a:gd name="connsiteY159" fmla="*/ 213124 h 451580"/>
                <a:gd name="connsiteX160" fmla="*/ 60733 w 261880"/>
                <a:gd name="connsiteY160" fmla="*/ 219734 h 451580"/>
                <a:gd name="connsiteX161" fmla="*/ 61933 w 261880"/>
                <a:gd name="connsiteY161" fmla="*/ 226620 h 451580"/>
                <a:gd name="connsiteX162" fmla="*/ 56122 w 261880"/>
                <a:gd name="connsiteY162" fmla="*/ 228754 h 451580"/>
                <a:gd name="connsiteX163" fmla="*/ 59341 w 261880"/>
                <a:gd name="connsiteY163" fmla="*/ 233764 h 451580"/>
                <a:gd name="connsiteX164" fmla="*/ 59113 w 261880"/>
                <a:gd name="connsiteY164" fmla="*/ 241232 h 451580"/>
                <a:gd name="connsiteX165" fmla="*/ 58732 w 261880"/>
                <a:gd name="connsiteY165" fmla="*/ 249718 h 451580"/>
                <a:gd name="connsiteX166" fmla="*/ 63695 w 261880"/>
                <a:gd name="connsiteY166" fmla="*/ 254624 h 451580"/>
                <a:gd name="connsiteX167" fmla="*/ 62495 w 261880"/>
                <a:gd name="connsiteY167" fmla="*/ 260749 h 451580"/>
                <a:gd name="connsiteX168" fmla="*/ 58561 w 261880"/>
                <a:gd name="connsiteY168" fmla="*/ 266035 h 451580"/>
                <a:gd name="connsiteX169" fmla="*/ 55941 w 261880"/>
                <a:gd name="connsiteY169" fmla="*/ 271807 h 451580"/>
                <a:gd name="connsiteX170" fmla="*/ 50465 w 261880"/>
                <a:gd name="connsiteY170" fmla="*/ 276236 h 451580"/>
                <a:gd name="connsiteX171" fmla="*/ 48416 w 261880"/>
                <a:gd name="connsiteY171" fmla="*/ 282656 h 451580"/>
                <a:gd name="connsiteX172" fmla="*/ 44616 w 261880"/>
                <a:gd name="connsiteY172" fmla="*/ 292524 h 451580"/>
                <a:gd name="connsiteX173" fmla="*/ 43797 w 261880"/>
                <a:gd name="connsiteY173" fmla="*/ 299286 h 451580"/>
                <a:gd name="connsiteX174" fmla="*/ 38558 w 261880"/>
                <a:gd name="connsiteY174" fmla="*/ 305220 h 451580"/>
                <a:gd name="connsiteX175" fmla="*/ 18803 w 261880"/>
                <a:gd name="connsiteY175" fmla="*/ 326928 h 451580"/>
                <a:gd name="connsiteX176" fmla="*/ 20499 w 261880"/>
                <a:gd name="connsiteY176" fmla="*/ 342425 h 451580"/>
                <a:gd name="connsiteX177" fmla="*/ 22166 w 261880"/>
                <a:gd name="connsiteY177" fmla="*/ 349616 h 451580"/>
                <a:gd name="connsiteX178" fmla="*/ 21690 w 261880"/>
                <a:gd name="connsiteY178" fmla="*/ 357484 h 451580"/>
                <a:gd name="connsiteX179" fmla="*/ 24652 w 261880"/>
                <a:gd name="connsiteY179" fmla="*/ 364152 h 451580"/>
                <a:gd name="connsiteX180" fmla="*/ 28757 w 261880"/>
                <a:gd name="connsiteY180" fmla="*/ 370552 h 451580"/>
                <a:gd name="connsiteX181" fmla="*/ 29090 w 261880"/>
                <a:gd name="connsiteY181" fmla="*/ 376915 h 451580"/>
                <a:gd name="connsiteX182" fmla="*/ 31138 w 261880"/>
                <a:gd name="connsiteY182" fmla="*/ 384574 h 451580"/>
                <a:gd name="connsiteX183" fmla="*/ 30566 w 261880"/>
                <a:gd name="connsiteY183" fmla="*/ 393774 h 451580"/>
                <a:gd name="connsiteX184" fmla="*/ 30509 w 261880"/>
                <a:gd name="connsiteY184" fmla="*/ 404709 h 451580"/>
                <a:gd name="connsiteX185" fmla="*/ 28595 w 261880"/>
                <a:gd name="connsiteY185" fmla="*/ 412777 h 451580"/>
                <a:gd name="connsiteX186" fmla="*/ 28167 w 261880"/>
                <a:gd name="connsiteY186" fmla="*/ 418882 h 451580"/>
                <a:gd name="connsiteX187" fmla="*/ 27557 w 261880"/>
                <a:gd name="connsiteY187" fmla="*/ 426074 h 451580"/>
                <a:gd name="connsiteX188" fmla="*/ 30262 w 261880"/>
                <a:gd name="connsiteY188" fmla="*/ 431874 h 451580"/>
                <a:gd name="connsiteX189" fmla="*/ 29081 w 261880"/>
                <a:gd name="connsiteY189" fmla="*/ 438647 h 451580"/>
                <a:gd name="connsiteX190" fmla="*/ 29805 w 261880"/>
                <a:gd name="connsiteY190" fmla="*/ 447334 h 451580"/>
                <a:gd name="connsiteX191" fmla="*/ 34244 w 261880"/>
                <a:gd name="connsiteY191" fmla="*/ 451372 h 451580"/>
                <a:gd name="connsiteX192" fmla="*/ 42920 w 261880"/>
                <a:gd name="connsiteY192" fmla="*/ 451486 h 451580"/>
                <a:gd name="connsiteX193" fmla="*/ 118949 w 261880"/>
                <a:gd name="connsiteY193" fmla="*/ 310640 h 451580"/>
                <a:gd name="connsiteX194" fmla="*/ 120321 w 261880"/>
                <a:gd name="connsiteY194" fmla="*/ 303392 h 451580"/>
                <a:gd name="connsiteX195" fmla="*/ 118949 w 261880"/>
                <a:gd name="connsiteY195" fmla="*/ 310640 h 45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61880" h="451580">
                  <a:moveTo>
                    <a:pt x="42920" y="451486"/>
                  </a:moveTo>
                  <a:lnTo>
                    <a:pt x="48378" y="444895"/>
                  </a:lnTo>
                  <a:lnTo>
                    <a:pt x="49474" y="438513"/>
                  </a:lnTo>
                  <a:lnTo>
                    <a:pt x="51065" y="429693"/>
                  </a:lnTo>
                  <a:lnTo>
                    <a:pt x="49007" y="436780"/>
                  </a:lnTo>
                  <a:lnTo>
                    <a:pt x="44045" y="432712"/>
                  </a:lnTo>
                  <a:lnTo>
                    <a:pt x="41597" y="426559"/>
                  </a:lnTo>
                  <a:lnTo>
                    <a:pt x="46178" y="421911"/>
                  </a:lnTo>
                  <a:lnTo>
                    <a:pt x="48655" y="416282"/>
                  </a:lnTo>
                  <a:lnTo>
                    <a:pt x="55960" y="410738"/>
                  </a:lnTo>
                  <a:lnTo>
                    <a:pt x="66733" y="405186"/>
                  </a:lnTo>
                  <a:lnTo>
                    <a:pt x="72238" y="402766"/>
                  </a:lnTo>
                  <a:lnTo>
                    <a:pt x="80573" y="399623"/>
                  </a:lnTo>
                  <a:lnTo>
                    <a:pt x="86879" y="397289"/>
                  </a:lnTo>
                  <a:lnTo>
                    <a:pt x="98413" y="392727"/>
                  </a:lnTo>
                  <a:lnTo>
                    <a:pt x="106338" y="388535"/>
                  </a:lnTo>
                  <a:lnTo>
                    <a:pt x="110557" y="382982"/>
                  </a:lnTo>
                  <a:lnTo>
                    <a:pt x="114653" y="377430"/>
                  </a:lnTo>
                  <a:lnTo>
                    <a:pt x="117320" y="369819"/>
                  </a:lnTo>
                  <a:lnTo>
                    <a:pt x="113529" y="365181"/>
                  </a:lnTo>
                  <a:lnTo>
                    <a:pt x="115491" y="357903"/>
                  </a:lnTo>
                  <a:lnTo>
                    <a:pt x="117482" y="351578"/>
                  </a:lnTo>
                  <a:lnTo>
                    <a:pt x="119882" y="344139"/>
                  </a:lnTo>
                  <a:lnTo>
                    <a:pt x="118749" y="338158"/>
                  </a:lnTo>
                  <a:lnTo>
                    <a:pt x="119006" y="331795"/>
                  </a:lnTo>
                  <a:lnTo>
                    <a:pt x="120006" y="323280"/>
                  </a:lnTo>
                  <a:lnTo>
                    <a:pt x="115301" y="316889"/>
                  </a:lnTo>
                  <a:lnTo>
                    <a:pt x="114768" y="306421"/>
                  </a:lnTo>
                  <a:lnTo>
                    <a:pt x="111691" y="299734"/>
                  </a:lnTo>
                  <a:lnTo>
                    <a:pt x="110177" y="293124"/>
                  </a:lnTo>
                  <a:lnTo>
                    <a:pt x="112482" y="286771"/>
                  </a:lnTo>
                  <a:lnTo>
                    <a:pt x="109605" y="280627"/>
                  </a:lnTo>
                  <a:lnTo>
                    <a:pt x="103604" y="275112"/>
                  </a:lnTo>
                  <a:lnTo>
                    <a:pt x="104014" y="267206"/>
                  </a:lnTo>
                  <a:lnTo>
                    <a:pt x="104776" y="260958"/>
                  </a:lnTo>
                  <a:lnTo>
                    <a:pt x="110281" y="255472"/>
                  </a:lnTo>
                  <a:lnTo>
                    <a:pt x="117177" y="249775"/>
                  </a:lnTo>
                  <a:lnTo>
                    <a:pt x="122645" y="244184"/>
                  </a:lnTo>
                  <a:lnTo>
                    <a:pt x="127102" y="238650"/>
                  </a:lnTo>
                  <a:lnTo>
                    <a:pt x="132999" y="233078"/>
                  </a:lnTo>
                  <a:lnTo>
                    <a:pt x="143667" y="229839"/>
                  </a:lnTo>
                  <a:lnTo>
                    <a:pt x="147610" y="222534"/>
                  </a:lnTo>
                  <a:lnTo>
                    <a:pt x="153258" y="216429"/>
                  </a:lnTo>
                  <a:lnTo>
                    <a:pt x="158106" y="211104"/>
                  </a:lnTo>
                  <a:lnTo>
                    <a:pt x="162402" y="205370"/>
                  </a:lnTo>
                  <a:lnTo>
                    <a:pt x="166822" y="199779"/>
                  </a:lnTo>
                  <a:lnTo>
                    <a:pt x="174737" y="194216"/>
                  </a:lnTo>
                  <a:lnTo>
                    <a:pt x="184424" y="188692"/>
                  </a:lnTo>
                  <a:lnTo>
                    <a:pt x="196530" y="183110"/>
                  </a:lnTo>
                  <a:lnTo>
                    <a:pt x="205170" y="179767"/>
                  </a:lnTo>
                  <a:lnTo>
                    <a:pt x="215019" y="177576"/>
                  </a:lnTo>
                  <a:lnTo>
                    <a:pt x="219552" y="172023"/>
                  </a:lnTo>
                  <a:lnTo>
                    <a:pt x="228420" y="166460"/>
                  </a:lnTo>
                  <a:lnTo>
                    <a:pt x="236402" y="160917"/>
                  </a:lnTo>
                  <a:lnTo>
                    <a:pt x="239060" y="155364"/>
                  </a:lnTo>
                  <a:lnTo>
                    <a:pt x="242469" y="149830"/>
                  </a:lnTo>
                  <a:lnTo>
                    <a:pt x="246689" y="144257"/>
                  </a:lnTo>
                  <a:lnTo>
                    <a:pt x="250766" y="138704"/>
                  </a:lnTo>
                  <a:lnTo>
                    <a:pt x="254585" y="133180"/>
                  </a:lnTo>
                  <a:lnTo>
                    <a:pt x="255633" y="126084"/>
                  </a:lnTo>
                  <a:lnTo>
                    <a:pt x="258948" y="120264"/>
                  </a:lnTo>
                  <a:lnTo>
                    <a:pt x="261615" y="114473"/>
                  </a:lnTo>
                  <a:lnTo>
                    <a:pt x="261148" y="105653"/>
                  </a:lnTo>
                  <a:lnTo>
                    <a:pt x="256557" y="110891"/>
                  </a:lnTo>
                  <a:lnTo>
                    <a:pt x="256776" y="103367"/>
                  </a:lnTo>
                  <a:lnTo>
                    <a:pt x="255947" y="96452"/>
                  </a:lnTo>
                  <a:lnTo>
                    <a:pt x="256367" y="88736"/>
                  </a:lnTo>
                  <a:lnTo>
                    <a:pt x="256947" y="82269"/>
                  </a:lnTo>
                  <a:lnTo>
                    <a:pt x="256404" y="72096"/>
                  </a:lnTo>
                  <a:lnTo>
                    <a:pt x="257271" y="65552"/>
                  </a:lnTo>
                  <a:lnTo>
                    <a:pt x="258662" y="59495"/>
                  </a:lnTo>
                  <a:lnTo>
                    <a:pt x="256176" y="53618"/>
                  </a:lnTo>
                  <a:lnTo>
                    <a:pt x="255442" y="46407"/>
                  </a:lnTo>
                  <a:lnTo>
                    <a:pt x="256166" y="40235"/>
                  </a:lnTo>
                  <a:lnTo>
                    <a:pt x="255528" y="33263"/>
                  </a:lnTo>
                  <a:lnTo>
                    <a:pt x="254595" y="25738"/>
                  </a:lnTo>
                  <a:lnTo>
                    <a:pt x="254661" y="19489"/>
                  </a:lnTo>
                  <a:lnTo>
                    <a:pt x="258881" y="12193"/>
                  </a:lnTo>
                  <a:lnTo>
                    <a:pt x="260452" y="6345"/>
                  </a:lnTo>
                  <a:lnTo>
                    <a:pt x="259872" y="-27"/>
                  </a:lnTo>
                  <a:lnTo>
                    <a:pt x="251118" y="-94"/>
                  </a:lnTo>
                  <a:lnTo>
                    <a:pt x="245393" y="5450"/>
                  </a:lnTo>
                  <a:lnTo>
                    <a:pt x="232744" y="11003"/>
                  </a:lnTo>
                  <a:lnTo>
                    <a:pt x="226153" y="15879"/>
                  </a:lnTo>
                  <a:lnTo>
                    <a:pt x="217181" y="15784"/>
                  </a:lnTo>
                  <a:lnTo>
                    <a:pt x="210808" y="19071"/>
                  </a:lnTo>
                  <a:lnTo>
                    <a:pt x="200569" y="18546"/>
                  </a:lnTo>
                  <a:lnTo>
                    <a:pt x="193873" y="18194"/>
                  </a:lnTo>
                  <a:lnTo>
                    <a:pt x="188843" y="26195"/>
                  </a:lnTo>
                  <a:lnTo>
                    <a:pt x="182576" y="28062"/>
                  </a:lnTo>
                  <a:lnTo>
                    <a:pt x="175575" y="29205"/>
                  </a:lnTo>
                  <a:lnTo>
                    <a:pt x="169841" y="27110"/>
                  </a:lnTo>
                  <a:lnTo>
                    <a:pt x="161593" y="31139"/>
                  </a:lnTo>
                  <a:lnTo>
                    <a:pt x="154944" y="29853"/>
                  </a:lnTo>
                  <a:lnTo>
                    <a:pt x="150048" y="26224"/>
                  </a:lnTo>
                  <a:lnTo>
                    <a:pt x="144229" y="22747"/>
                  </a:lnTo>
                  <a:lnTo>
                    <a:pt x="138456" y="24271"/>
                  </a:lnTo>
                  <a:lnTo>
                    <a:pt x="132532" y="26557"/>
                  </a:lnTo>
                  <a:lnTo>
                    <a:pt x="111806" y="27157"/>
                  </a:lnTo>
                  <a:lnTo>
                    <a:pt x="110929" y="33205"/>
                  </a:lnTo>
                  <a:lnTo>
                    <a:pt x="104843" y="43540"/>
                  </a:lnTo>
                  <a:lnTo>
                    <a:pt x="105919" y="49674"/>
                  </a:lnTo>
                  <a:lnTo>
                    <a:pt x="107881" y="57713"/>
                  </a:lnTo>
                  <a:lnTo>
                    <a:pt x="108252" y="66400"/>
                  </a:lnTo>
                  <a:lnTo>
                    <a:pt x="108624" y="77582"/>
                  </a:lnTo>
                  <a:lnTo>
                    <a:pt x="115682" y="79945"/>
                  </a:lnTo>
                  <a:lnTo>
                    <a:pt x="122540" y="88384"/>
                  </a:lnTo>
                  <a:lnTo>
                    <a:pt x="130322" y="99023"/>
                  </a:lnTo>
                  <a:lnTo>
                    <a:pt x="139332" y="113044"/>
                  </a:lnTo>
                  <a:lnTo>
                    <a:pt x="139123" y="119140"/>
                  </a:lnTo>
                  <a:lnTo>
                    <a:pt x="136770" y="126760"/>
                  </a:lnTo>
                  <a:lnTo>
                    <a:pt x="137428" y="138104"/>
                  </a:lnTo>
                  <a:lnTo>
                    <a:pt x="136694" y="144210"/>
                  </a:lnTo>
                  <a:lnTo>
                    <a:pt x="136132" y="150782"/>
                  </a:lnTo>
                  <a:lnTo>
                    <a:pt x="129731" y="153182"/>
                  </a:lnTo>
                  <a:lnTo>
                    <a:pt x="123912" y="155354"/>
                  </a:lnTo>
                  <a:lnTo>
                    <a:pt x="121978" y="162993"/>
                  </a:lnTo>
                  <a:lnTo>
                    <a:pt x="122311" y="169518"/>
                  </a:lnTo>
                  <a:lnTo>
                    <a:pt x="121368" y="175900"/>
                  </a:lnTo>
                  <a:lnTo>
                    <a:pt x="117044" y="181157"/>
                  </a:lnTo>
                  <a:lnTo>
                    <a:pt x="118711" y="174175"/>
                  </a:lnTo>
                  <a:lnTo>
                    <a:pt x="113196" y="170546"/>
                  </a:lnTo>
                  <a:lnTo>
                    <a:pt x="109405" y="164041"/>
                  </a:lnTo>
                  <a:lnTo>
                    <a:pt x="105204" y="158526"/>
                  </a:lnTo>
                  <a:lnTo>
                    <a:pt x="102233" y="151544"/>
                  </a:lnTo>
                  <a:lnTo>
                    <a:pt x="97927" y="145476"/>
                  </a:lnTo>
                  <a:lnTo>
                    <a:pt x="102747" y="140495"/>
                  </a:lnTo>
                  <a:lnTo>
                    <a:pt x="103214" y="133799"/>
                  </a:lnTo>
                  <a:lnTo>
                    <a:pt x="106872" y="127617"/>
                  </a:lnTo>
                  <a:lnTo>
                    <a:pt x="106929" y="119235"/>
                  </a:lnTo>
                  <a:lnTo>
                    <a:pt x="106023" y="113320"/>
                  </a:lnTo>
                  <a:lnTo>
                    <a:pt x="103195" y="105577"/>
                  </a:lnTo>
                  <a:lnTo>
                    <a:pt x="95499" y="107015"/>
                  </a:lnTo>
                  <a:lnTo>
                    <a:pt x="88459" y="109605"/>
                  </a:lnTo>
                  <a:lnTo>
                    <a:pt x="80420" y="105395"/>
                  </a:lnTo>
                  <a:lnTo>
                    <a:pt x="77239" y="99842"/>
                  </a:lnTo>
                  <a:lnTo>
                    <a:pt x="75115" y="94251"/>
                  </a:lnTo>
                  <a:lnTo>
                    <a:pt x="60551" y="99804"/>
                  </a:lnTo>
                  <a:lnTo>
                    <a:pt x="45721" y="105053"/>
                  </a:lnTo>
                  <a:lnTo>
                    <a:pt x="36263" y="108472"/>
                  </a:lnTo>
                  <a:lnTo>
                    <a:pt x="14269" y="116178"/>
                  </a:lnTo>
                  <a:lnTo>
                    <a:pt x="-266" y="121969"/>
                  </a:lnTo>
                  <a:lnTo>
                    <a:pt x="839" y="128998"/>
                  </a:lnTo>
                  <a:lnTo>
                    <a:pt x="3725" y="135266"/>
                  </a:lnTo>
                  <a:lnTo>
                    <a:pt x="3973" y="142781"/>
                  </a:lnTo>
                  <a:lnTo>
                    <a:pt x="3659" y="149801"/>
                  </a:lnTo>
                  <a:lnTo>
                    <a:pt x="15813" y="149801"/>
                  </a:lnTo>
                  <a:lnTo>
                    <a:pt x="22318" y="149525"/>
                  </a:lnTo>
                  <a:lnTo>
                    <a:pt x="27595" y="153611"/>
                  </a:lnTo>
                  <a:lnTo>
                    <a:pt x="34643" y="155354"/>
                  </a:lnTo>
                  <a:lnTo>
                    <a:pt x="39482" y="159088"/>
                  </a:lnTo>
                  <a:lnTo>
                    <a:pt x="50302" y="162269"/>
                  </a:lnTo>
                  <a:lnTo>
                    <a:pt x="59180" y="166422"/>
                  </a:lnTo>
                  <a:lnTo>
                    <a:pt x="65885" y="169165"/>
                  </a:lnTo>
                  <a:lnTo>
                    <a:pt x="61713" y="175423"/>
                  </a:lnTo>
                  <a:lnTo>
                    <a:pt x="65228" y="183033"/>
                  </a:lnTo>
                  <a:lnTo>
                    <a:pt x="64266" y="191997"/>
                  </a:lnTo>
                  <a:lnTo>
                    <a:pt x="65495" y="198331"/>
                  </a:lnTo>
                  <a:lnTo>
                    <a:pt x="62923" y="204932"/>
                  </a:lnTo>
                  <a:lnTo>
                    <a:pt x="64352" y="213124"/>
                  </a:lnTo>
                  <a:lnTo>
                    <a:pt x="60733" y="219734"/>
                  </a:lnTo>
                  <a:lnTo>
                    <a:pt x="61933" y="226620"/>
                  </a:lnTo>
                  <a:lnTo>
                    <a:pt x="56122" y="228754"/>
                  </a:lnTo>
                  <a:lnTo>
                    <a:pt x="59341" y="233764"/>
                  </a:lnTo>
                  <a:lnTo>
                    <a:pt x="59113" y="241232"/>
                  </a:lnTo>
                  <a:lnTo>
                    <a:pt x="58732" y="249718"/>
                  </a:lnTo>
                  <a:lnTo>
                    <a:pt x="63695" y="254624"/>
                  </a:lnTo>
                  <a:lnTo>
                    <a:pt x="62495" y="260749"/>
                  </a:lnTo>
                  <a:lnTo>
                    <a:pt x="58561" y="266035"/>
                  </a:lnTo>
                  <a:lnTo>
                    <a:pt x="55941" y="271807"/>
                  </a:lnTo>
                  <a:lnTo>
                    <a:pt x="50465" y="276236"/>
                  </a:lnTo>
                  <a:lnTo>
                    <a:pt x="48416" y="282656"/>
                  </a:lnTo>
                  <a:lnTo>
                    <a:pt x="44616" y="292524"/>
                  </a:lnTo>
                  <a:lnTo>
                    <a:pt x="43797" y="299286"/>
                  </a:lnTo>
                  <a:lnTo>
                    <a:pt x="38558" y="305220"/>
                  </a:lnTo>
                  <a:lnTo>
                    <a:pt x="18803" y="326928"/>
                  </a:lnTo>
                  <a:lnTo>
                    <a:pt x="20499" y="342425"/>
                  </a:lnTo>
                  <a:lnTo>
                    <a:pt x="22166" y="349616"/>
                  </a:lnTo>
                  <a:lnTo>
                    <a:pt x="21690" y="357484"/>
                  </a:lnTo>
                  <a:lnTo>
                    <a:pt x="24652" y="364152"/>
                  </a:lnTo>
                  <a:lnTo>
                    <a:pt x="28757" y="370552"/>
                  </a:lnTo>
                  <a:lnTo>
                    <a:pt x="29090" y="376915"/>
                  </a:lnTo>
                  <a:lnTo>
                    <a:pt x="31138" y="384574"/>
                  </a:lnTo>
                  <a:lnTo>
                    <a:pt x="30566" y="393774"/>
                  </a:lnTo>
                  <a:lnTo>
                    <a:pt x="30509" y="404709"/>
                  </a:lnTo>
                  <a:lnTo>
                    <a:pt x="28595" y="412777"/>
                  </a:lnTo>
                  <a:lnTo>
                    <a:pt x="28167" y="418882"/>
                  </a:lnTo>
                  <a:lnTo>
                    <a:pt x="27557" y="426074"/>
                  </a:lnTo>
                  <a:lnTo>
                    <a:pt x="30262" y="431874"/>
                  </a:lnTo>
                  <a:lnTo>
                    <a:pt x="29081" y="438647"/>
                  </a:lnTo>
                  <a:lnTo>
                    <a:pt x="29805" y="447334"/>
                  </a:lnTo>
                  <a:lnTo>
                    <a:pt x="34244" y="451372"/>
                  </a:lnTo>
                  <a:lnTo>
                    <a:pt x="42920" y="451486"/>
                  </a:lnTo>
                  <a:close/>
                  <a:moveTo>
                    <a:pt x="118949" y="310640"/>
                  </a:moveTo>
                  <a:lnTo>
                    <a:pt x="120321" y="303392"/>
                  </a:lnTo>
                  <a:lnTo>
                    <a:pt x="118949" y="310640"/>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8" name="Freeform: Shape 37">
              <a:extLst>
                <a:ext uri="{FF2B5EF4-FFF2-40B4-BE49-F238E27FC236}">
                  <a16:creationId xmlns:a16="http://schemas.microsoft.com/office/drawing/2014/main" id="{1B7572D7-A87E-5C8B-7EF2-914518A6A86C}"/>
                </a:ext>
              </a:extLst>
            </p:cNvPr>
            <p:cNvSpPr/>
            <p:nvPr/>
          </p:nvSpPr>
          <p:spPr>
            <a:xfrm>
              <a:off x="8425852" y="338554"/>
              <a:ext cx="10072" cy="33793"/>
            </a:xfrm>
            <a:custGeom>
              <a:avLst/>
              <a:gdLst>
                <a:gd name="connsiteX0" fmla="*/ 2658 w 3534"/>
                <a:gd name="connsiteY0" fmla="*/ 11755 h 11849"/>
                <a:gd name="connsiteX1" fmla="*/ 3268 w 3534"/>
                <a:gd name="connsiteY1" fmla="*/ 5821 h 11849"/>
                <a:gd name="connsiteX2" fmla="*/ 2468 w 3534"/>
                <a:gd name="connsiteY2" fmla="*/ -94 h 11849"/>
                <a:gd name="connsiteX3" fmla="*/ -266 w 3534"/>
                <a:gd name="connsiteY3" fmla="*/ 5259 h 11849"/>
                <a:gd name="connsiteX4" fmla="*/ 2239 w 3534"/>
                <a:gd name="connsiteY4" fmla="*/ 11003 h 11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4" h="11849">
                  <a:moveTo>
                    <a:pt x="2658" y="11755"/>
                  </a:moveTo>
                  <a:lnTo>
                    <a:pt x="3268" y="5821"/>
                  </a:lnTo>
                  <a:lnTo>
                    <a:pt x="2468" y="-94"/>
                  </a:lnTo>
                  <a:lnTo>
                    <a:pt x="-266" y="5259"/>
                  </a:lnTo>
                  <a:lnTo>
                    <a:pt x="2239" y="11003"/>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9" name="Freeform: Shape 38">
              <a:extLst>
                <a:ext uri="{FF2B5EF4-FFF2-40B4-BE49-F238E27FC236}">
                  <a16:creationId xmlns:a16="http://schemas.microsoft.com/office/drawing/2014/main" id="{4B931BF2-B65E-F523-8471-70FEE707E024}"/>
                </a:ext>
              </a:extLst>
            </p:cNvPr>
            <p:cNvSpPr/>
            <p:nvPr/>
          </p:nvSpPr>
          <p:spPr>
            <a:xfrm>
              <a:off x="4964944" y="552748"/>
              <a:ext cx="1101397" cy="936022"/>
            </a:xfrm>
            <a:custGeom>
              <a:avLst/>
              <a:gdLst>
                <a:gd name="connsiteX0" fmla="*/ 84782 w 386457"/>
                <a:gd name="connsiteY0" fmla="*/ 328109 h 328202"/>
                <a:gd name="connsiteX1" fmla="*/ 85021 w 386457"/>
                <a:gd name="connsiteY1" fmla="*/ 321813 h 328202"/>
                <a:gd name="connsiteX2" fmla="*/ 86144 w 386457"/>
                <a:gd name="connsiteY2" fmla="*/ 312421 h 328202"/>
                <a:gd name="connsiteX3" fmla="*/ 85792 w 386457"/>
                <a:gd name="connsiteY3" fmla="*/ 305096 h 328202"/>
                <a:gd name="connsiteX4" fmla="*/ 92888 w 386457"/>
                <a:gd name="connsiteY4" fmla="*/ 298877 h 328202"/>
                <a:gd name="connsiteX5" fmla="*/ 96898 w 386457"/>
                <a:gd name="connsiteY5" fmla="*/ 292009 h 328202"/>
                <a:gd name="connsiteX6" fmla="*/ 97736 w 386457"/>
                <a:gd name="connsiteY6" fmla="*/ 278579 h 328202"/>
                <a:gd name="connsiteX7" fmla="*/ 105709 w 386457"/>
                <a:gd name="connsiteY7" fmla="*/ 272931 h 328202"/>
                <a:gd name="connsiteX8" fmla="*/ 115767 w 386457"/>
                <a:gd name="connsiteY8" fmla="*/ 270168 h 328202"/>
                <a:gd name="connsiteX9" fmla="*/ 123959 w 386457"/>
                <a:gd name="connsiteY9" fmla="*/ 271416 h 328202"/>
                <a:gd name="connsiteX10" fmla="*/ 130007 w 386457"/>
                <a:gd name="connsiteY10" fmla="*/ 267663 h 328202"/>
                <a:gd name="connsiteX11" fmla="*/ 147400 w 386457"/>
                <a:gd name="connsiteY11" fmla="*/ 273950 h 328202"/>
                <a:gd name="connsiteX12" fmla="*/ 154125 w 386457"/>
                <a:gd name="connsiteY12" fmla="*/ 275178 h 328202"/>
                <a:gd name="connsiteX13" fmla="*/ 160802 w 386457"/>
                <a:gd name="connsiteY13" fmla="*/ 282427 h 328202"/>
                <a:gd name="connsiteX14" fmla="*/ 166945 w 386457"/>
                <a:gd name="connsiteY14" fmla="*/ 291752 h 328202"/>
                <a:gd name="connsiteX15" fmla="*/ 173794 w 386457"/>
                <a:gd name="connsiteY15" fmla="*/ 288266 h 328202"/>
                <a:gd name="connsiteX16" fmla="*/ 182633 w 386457"/>
                <a:gd name="connsiteY16" fmla="*/ 286304 h 328202"/>
                <a:gd name="connsiteX17" fmla="*/ 188414 w 386457"/>
                <a:gd name="connsiteY17" fmla="*/ 282341 h 328202"/>
                <a:gd name="connsiteX18" fmla="*/ 194672 w 386457"/>
                <a:gd name="connsiteY18" fmla="*/ 283132 h 328202"/>
                <a:gd name="connsiteX19" fmla="*/ 203293 w 386457"/>
                <a:gd name="connsiteY19" fmla="*/ 290257 h 328202"/>
                <a:gd name="connsiteX20" fmla="*/ 208989 w 386457"/>
                <a:gd name="connsiteY20" fmla="*/ 293409 h 328202"/>
                <a:gd name="connsiteX21" fmla="*/ 217209 w 386457"/>
                <a:gd name="connsiteY21" fmla="*/ 296467 h 328202"/>
                <a:gd name="connsiteX22" fmla="*/ 233258 w 386457"/>
                <a:gd name="connsiteY22" fmla="*/ 297191 h 328202"/>
                <a:gd name="connsiteX23" fmla="*/ 238535 w 386457"/>
                <a:gd name="connsiteY23" fmla="*/ 291066 h 328202"/>
                <a:gd name="connsiteX24" fmla="*/ 243364 w 386457"/>
                <a:gd name="connsiteY24" fmla="*/ 286427 h 328202"/>
                <a:gd name="connsiteX25" fmla="*/ 253803 w 386457"/>
                <a:gd name="connsiteY25" fmla="*/ 283865 h 328202"/>
                <a:gd name="connsiteX26" fmla="*/ 273139 w 386457"/>
                <a:gd name="connsiteY26" fmla="*/ 281351 h 328202"/>
                <a:gd name="connsiteX27" fmla="*/ 288789 w 386457"/>
                <a:gd name="connsiteY27" fmla="*/ 284742 h 328202"/>
                <a:gd name="connsiteX28" fmla="*/ 295704 w 386457"/>
                <a:gd name="connsiteY28" fmla="*/ 289133 h 328202"/>
                <a:gd name="connsiteX29" fmla="*/ 303429 w 386457"/>
                <a:gd name="connsiteY29" fmla="*/ 290314 h 328202"/>
                <a:gd name="connsiteX30" fmla="*/ 306239 w 386457"/>
                <a:gd name="connsiteY30" fmla="*/ 284456 h 328202"/>
                <a:gd name="connsiteX31" fmla="*/ 311068 w 386457"/>
                <a:gd name="connsiteY31" fmla="*/ 280741 h 328202"/>
                <a:gd name="connsiteX32" fmla="*/ 317345 w 386457"/>
                <a:gd name="connsiteY32" fmla="*/ 277369 h 328202"/>
                <a:gd name="connsiteX33" fmla="*/ 324565 w 386457"/>
                <a:gd name="connsiteY33" fmla="*/ 271816 h 328202"/>
                <a:gd name="connsiteX34" fmla="*/ 331823 w 386457"/>
                <a:gd name="connsiteY34" fmla="*/ 272188 h 328202"/>
                <a:gd name="connsiteX35" fmla="*/ 327746 w 386457"/>
                <a:gd name="connsiteY35" fmla="*/ 253204 h 328202"/>
                <a:gd name="connsiteX36" fmla="*/ 333051 w 386457"/>
                <a:gd name="connsiteY36" fmla="*/ 248794 h 328202"/>
                <a:gd name="connsiteX37" fmla="*/ 335376 w 386457"/>
                <a:gd name="connsiteY37" fmla="*/ 241955 h 328202"/>
                <a:gd name="connsiteX38" fmla="*/ 339662 w 386457"/>
                <a:gd name="connsiteY38" fmla="*/ 231811 h 328202"/>
                <a:gd name="connsiteX39" fmla="*/ 346996 w 386457"/>
                <a:gd name="connsiteY39" fmla="*/ 219791 h 328202"/>
                <a:gd name="connsiteX40" fmla="*/ 351045 w 386457"/>
                <a:gd name="connsiteY40" fmla="*/ 214171 h 328202"/>
                <a:gd name="connsiteX41" fmla="*/ 359827 w 386457"/>
                <a:gd name="connsiteY41" fmla="*/ 203693 h 328202"/>
                <a:gd name="connsiteX42" fmla="*/ 363684 w 386457"/>
                <a:gd name="connsiteY42" fmla="*/ 198921 h 328202"/>
                <a:gd name="connsiteX43" fmla="*/ 375790 w 386457"/>
                <a:gd name="connsiteY43" fmla="*/ 184281 h 328202"/>
                <a:gd name="connsiteX44" fmla="*/ 376495 w 386457"/>
                <a:gd name="connsiteY44" fmla="*/ 170251 h 328202"/>
                <a:gd name="connsiteX45" fmla="*/ 377162 w 386457"/>
                <a:gd name="connsiteY45" fmla="*/ 145248 h 328202"/>
                <a:gd name="connsiteX46" fmla="*/ 377581 w 386457"/>
                <a:gd name="connsiteY46" fmla="*/ 131208 h 328202"/>
                <a:gd name="connsiteX47" fmla="*/ 380553 w 386457"/>
                <a:gd name="connsiteY47" fmla="*/ 99414 h 328202"/>
                <a:gd name="connsiteX48" fmla="*/ 386192 w 386457"/>
                <a:gd name="connsiteY48" fmla="*/ 87736 h 328202"/>
                <a:gd name="connsiteX49" fmla="*/ 380476 w 386457"/>
                <a:gd name="connsiteY49" fmla="*/ 81012 h 328202"/>
                <a:gd name="connsiteX50" fmla="*/ 375314 w 386457"/>
                <a:gd name="connsiteY50" fmla="*/ 75458 h 328202"/>
                <a:gd name="connsiteX51" fmla="*/ 368027 w 386457"/>
                <a:gd name="connsiteY51" fmla="*/ 57418 h 328202"/>
                <a:gd name="connsiteX52" fmla="*/ 365465 w 386457"/>
                <a:gd name="connsiteY52" fmla="*/ 42054 h 328202"/>
                <a:gd name="connsiteX53" fmla="*/ 362732 w 386457"/>
                <a:gd name="connsiteY53" fmla="*/ 28148 h 328202"/>
                <a:gd name="connsiteX54" fmla="*/ 359998 w 386457"/>
                <a:gd name="connsiteY54" fmla="*/ 14232 h 328202"/>
                <a:gd name="connsiteX55" fmla="*/ 341681 w 386457"/>
                <a:gd name="connsiteY55" fmla="*/ 24995 h 328202"/>
                <a:gd name="connsiteX56" fmla="*/ 330051 w 386457"/>
                <a:gd name="connsiteY56" fmla="*/ 14270 h 328202"/>
                <a:gd name="connsiteX57" fmla="*/ 322536 w 386457"/>
                <a:gd name="connsiteY57" fmla="*/ 8745 h 328202"/>
                <a:gd name="connsiteX58" fmla="*/ 302867 w 386457"/>
                <a:gd name="connsiteY58" fmla="*/ 3744 h 328202"/>
                <a:gd name="connsiteX59" fmla="*/ 286789 w 386457"/>
                <a:gd name="connsiteY59" fmla="*/ -94 h 328202"/>
                <a:gd name="connsiteX60" fmla="*/ 273559 w 386457"/>
                <a:gd name="connsiteY60" fmla="*/ 8631 h 328202"/>
                <a:gd name="connsiteX61" fmla="*/ 265577 w 386457"/>
                <a:gd name="connsiteY61" fmla="*/ 14117 h 328202"/>
                <a:gd name="connsiteX62" fmla="*/ 244726 w 386457"/>
                <a:gd name="connsiteY62" fmla="*/ 28148 h 328202"/>
                <a:gd name="connsiteX63" fmla="*/ 232963 w 386457"/>
                <a:gd name="connsiteY63" fmla="*/ 36168 h 328202"/>
                <a:gd name="connsiteX64" fmla="*/ 216027 w 386457"/>
                <a:gd name="connsiteY64" fmla="*/ 47550 h 328202"/>
                <a:gd name="connsiteX65" fmla="*/ 201178 w 386457"/>
                <a:gd name="connsiteY65" fmla="*/ 57532 h 328202"/>
                <a:gd name="connsiteX66" fmla="*/ 191634 w 386457"/>
                <a:gd name="connsiteY66" fmla="*/ 64209 h 328202"/>
                <a:gd name="connsiteX67" fmla="*/ 183862 w 386457"/>
                <a:gd name="connsiteY67" fmla="*/ 69772 h 328202"/>
                <a:gd name="connsiteX68" fmla="*/ 176365 w 386457"/>
                <a:gd name="connsiteY68" fmla="*/ 75325 h 328202"/>
                <a:gd name="connsiteX69" fmla="*/ 171460 w 386457"/>
                <a:gd name="connsiteY69" fmla="*/ 80011 h 328202"/>
                <a:gd name="connsiteX70" fmla="*/ 159554 w 386457"/>
                <a:gd name="connsiteY70" fmla="*/ 91575 h 328202"/>
                <a:gd name="connsiteX71" fmla="*/ 147876 w 386457"/>
                <a:gd name="connsiteY71" fmla="*/ 103062 h 328202"/>
                <a:gd name="connsiteX72" fmla="*/ 142238 w 386457"/>
                <a:gd name="connsiteY72" fmla="*/ 108472 h 328202"/>
                <a:gd name="connsiteX73" fmla="*/ 137703 w 386457"/>
                <a:gd name="connsiteY73" fmla="*/ 112968 h 328202"/>
                <a:gd name="connsiteX74" fmla="*/ 99965 w 386457"/>
                <a:gd name="connsiteY74" fmla="*/ 121292 h 328202"/>
                <a:gd name="connsiteX75" fmla="*/ 100318 w 386457"/>
                <a:gd name="connsiteY75" fmla="*/ 180767 h 328202"/>
                <a:gd name="connsiteX76" fmla="*/ 98774 w 386457"/>
                <a:gd name="connsiteY76" fmla="*/ 197607 h 328202"/>
                <a:gd name="connsiteX77" fmla="*/ 93574 w 386457"/>
                <a:gd name="connsiteY77" fmla="*/ 206332 h 328202"/>
                <a:gd name="connsiteX78" fmla="*/ 92184 w 386457"/>
                <a:gd name="connsiteY78" fmla="*/ 212333 h 328202"/>
                <a:gd name="connsiteX79" fmla="*/ 87154 w 386457"/>
                <a:gd name="connsiteY79" fmla="*/ 218038 h 328202"/>
                <a:gd name="connsiteX80" fmla="*/ 82611 w 386457"/>
                <a:gd name="connsiteY80" fmla="*/ 222858 h 328202"/>
                <a:gd name="connsiteX81" fmla="*/ 70181 w 386457"/>
                <a:gd name="connsiteY81" fmla="*/ 224429 h 328202"/>
                <a:gd name="connsiteX82" fmla="*/ 60474 w 386457"/>
                <a:gd name="connsiteY82" fmla="*/ 226706 h 328202"/>
                <a:gd name="connsiteX83" fmla="*/ 27851 w 386457"/>
                <a:gd name="connsiteY83" fmla="*/ 228611 h 328202"/>
                <a:gd name="connsiteX84" fmla="*/ 20193 w 386457"/>
                <a:gd name="connsiteY84" fmla="*/ 236326 h 328202"/>
                <a:gd name="connsiteX85" fmla="*/ 12506 w 386457"/>
                <a:gd name="connsiteY85" fmla="*/ 237879 h 328202"/>
                <a:gd name="connsiteX86" fmla="*/ 5287 w 386457"/>
                <a:gd name="connsiteY86" fmla="*/ 237326 h 328202"/>
                <a:gd name="connsiteX87" fmla="*/ 400 w 386457"/>
                <a:gd name="connsiteY87" fmla="*/ 241155 h 328202"/>
                <a:gd name="connsiteX88" fmla="*/ -266 w 386457"/>
                <a:gd name="connsiteY88" fmla="*/ 249594 h 328202"/>
                <a:gd name="connsiteX89" fmla="*/ 4830 w 386457"/>
                <a:gd name="connsiteY89" fmla="*/ 262348 h 328202"/>
                <a:gd name="connsiteX90" fmla="*/ 10773 w 386457"/>
                <a:gd name="connsiteY90" fmla="*/ 270244 h 328202"/>
                <a:gd name="connsiteX91" fmla="*/ 17898 w 386457"/>
                <a:gd name="connsiteY91" fmla="*/ 274607 h 328202"/>
                <a:gd name="connsiteX92" fmla="*/ 27156 w 386457"/>
                <a:gd name="connsiteY92" fmla="*/ 281560 h 328202"/>
                <a:gd name="connsiteX93" fmla="*/ 20069 w 386457"/>
                <a:gd name="connsiteY93" fmla="*/ 281446 h 328202"/>
                <a:gd name="connsiteX94" fmla="*/ 20022 w 386457"/>
                <a:gd name="connsiteY94" fmla="*/ 288961 h 328202"/>
                <a:gd name="connsiteX95" fmla="*/ 41663 w 386457"/>
                <a:gd name="connsiteY95" fmla="*/ 302801 h 328202"/>
                <a:gd name="connsiteX96" fmla="*/ 47568 w 386457"/>
                <a:gd name="connsiteY96" fmla="*/ 299420 h 328202"/>
                <a:gd name="connsiteX97" fmla="*/ 51483 w 386457"/>
                <a:gd name="connsiteY97" fmla="*/ 308040 h 328202"/>
                <a:gd name="connsiteX98" fmla="*/ 55103 w 386457"/>
                <a:gd name="connsiteY98" fmla="*/ 322308 h 328202"/>
                <a:gd name="connsiteX99" fmla="*/ 54198 w 386457"/>
                <a:gd name="connsiteY99" fmla="*/ 312888 h 328202"/>
                <a:gd name="connsiteX100" fmla="*/ 61360 w 386457"/>
                <a:gd name="connsiteY100" fmla="*/ 311088 h 328202"/>
                <a:gd name="connsiteX101" fmla="*/ 70038 w 386457"/>
                <a:gd name="connsiteY101" fmla="*/ 312221 h 328202"/>
                <a:gd name="connsiteX102" fmla="*/ 75991 w 386457"/>
                <a:gd name="connsiteY102" fmla="*/ 318755 h 328202"/>
                <a:gd name="connsiteX103" fmla="*/ 81677 w 386457"/>
                <a:gd name="connsiteY103" fmla="*/ 323537 h 32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86457" h="328202">
                  <a:moveTo>
                    <a:pt x="84782" y="328109"/>
                  </a:moveTo>
                  <a:lnTo>
                    <a:pt x="85021" y="321813"/>
                  </a:lnTo>
                  <a:lnTo>
                    <a:pt x="86144" y="312421"/>
                  </a:lnTo>
                  <a:lnTo>
                    <a:pt x="85792" y="305096"/>
                  </a:lnTo>
                  <a:lnTo>
                    <a:pt x="92888" y="298877"/>
                  </a:lnTo>
                  <a:lnTo>
                    <a:pt x="96898" y="292009"/>
                  </a:lnTo>
                  <a:lnTo>
                    <a:pt x="97736" y="278579"/>
                  </a:lnTo>
                  <a:lnTo>
                    <a:pt x="105709" y="272931"/>
                  </a:lnTo>
                  <a:lnTo>
                    <a:pt x="115767" y="270168"/>
                  </a:lnTo>
                  <a:lnTo>
                    <a:pt x="123959" y="271416"/>
                  </a:lnTo>
                  <a:lnTo>
                    <a:pt x="130007" y="267663"/>
                  </a:lnTo>
                  <a:lnTo>
                    <a:pt x="147400" y="273950"/>
                  </a:lnTo>
                  <a:lnTo>
                    <a:pt x="154125" y="275178"/>
                  </a:lnTo>
                  <a:lnTo>
                    <a:pt x="160802" y="282427"/>
                  </a:lnTo>
                  <a:lnTo>
                    <a:pt x="166945" y="291752"/>
                  </a:lnTo>
                  <a:lnTo>
                    <a:pt x="173794" y="288266"/>
                  </a:lnTo>
                  <a:lnTo>
                    <a:pt x="182633" y="286304"/>
                  </a:lnTo>
                  <a:lnTo>
                    <a:pt x="188414" y="282341"/>
                  </a:lnTo>
                  <a:lnTo>
                    <a:pt x="194672" y="283132"/>
                  </a:lnTo>
                  <a:lnTo>
                    <a:pt x="203293" y="290257"/>
                  </a:lnTo>
                  <a:lnTo>
                    <a:pt x="208989" y="293409"/>
                  </a:lnTo>
                  <a:lnTo>
                    <a:pt x="217209" y="296467"/>
                  </a:lnTo>
                  <a:lnTo>
                    <a:pt x="233258" y="297191"/>
                  </a:lnTo>
                  <a:lnTo>
                    <a:pt x="238535" y="291066"/>
                  </a:lnTo>
                  <a:lnTo>
                    <a:pt x="243364" y="286427"/>
                  </a:lnTo>
                  <a:lnTo>
                    <a:pt x="253803" y="283865"/>
                  </a:lnTo>
                  <a:lnTo>
                    <a:pt x="273139" y="281351"/>
                  </a:lnTo>
                  <a:lnTo>
                    <a:pt x="288789" y="284742"/>
                  </a:lnTo>
                  <a:lnTo>
                    <a:pt x="295704" y="289133"/>
                  </a:lnTo>
                  <a:lnTo>
                    <a:pt x="303429" y="290314"/>
                  </a:lnTo>
                  <a:lnTo>
                    <a:pt x="306239" y="284456"/>
                  </a:lnTo>
                  <a:lnTo>
                    <a:pt x="311068" y="280741"/>
                  </a:lnTo>
                  <a:lnTo>
                    <a:pt x="317345" y="277369"/>
                  </a:lnTo>
                  <a:lnTo>
                    <a:pt x="324565" y="271816"/>
                  </a:lnTo>
                  <a:lnTo>
                    <a:pt x="331823" y="272188"/>
                  </a:lnTo>
                  <a:lnTo>
                    <a:pt x="327746" y="253204"/>
                  </a:lnTo>
                  <a:lnTo>
                    <a:pt x="333051" y="248794"/>
                  </a:lnTo>
                  <a:lnTo>
                    <a:pt x="335376" y="241955"/>
                  </a:lnTo>
                  <a:lnTo>
                    <a:pt x="339662" y="231811"/>
                  </a:lnTo>
                  <a:lnTo>
                    <a:pt x="346996" y="219791"/>
                  </a:lnTo>
                  <a:lnTo>
                    <a:pt x="351045" y="214171"/>
                  </a:lnTo>
                  <a:lnTo>
                    <a:pt x="359827" y="203693"/>
                  </a:lnTo>
                  <a:lnTo>
                    <a:pt x="363684" y="198921"/>
                  </a:lnTo>
                  <a:lnTo>
                    <a:pt x="375790" y="184281"/>
                  </a:lnTo>
                  <a:lnTo>
                    <a:pt x="376495" y="170251"/>
                  </a:lnTo>
                  <a:lnTo>
                    <a:pt x="377162" y="145248"/>
                  </a:lnTo>
                  <a:lnTo>
                    <a:pt x="377581" y="131208"/>
                  </a:lnTo>
                  <a:lnTo>
                    <a:pt x="380553" y="99414"/>
                  </a:lnTo>
                  <a:lnTo>
                    <a:pt x="386192" y="87736"/>
                  </a:lnTo>
                  <a:lnTo>
                    <a:pt x="380476" y="81012"/>
                  </a:lnTo>
                  <a:lnTo>
                    <a:pt x="375314" y="75458"/>
                  </a:lnTo>
                  <a:lnTo>
                    <a:pt x="368027" y="57418"/>
                  </a:lnTo>
                  <a:lnTo>
                    <a:pt x="365465" y="42054"/>
                  </a:lnTo>
                  <a:lnTo>
                    <a:pt x="362732" y="28148"/>
                  </a:lnTo>
                  <a:lnTo>
                    <a:pt x="359998" y="14232"/>
                  </a:lnTo>
                  <a:lnTo>
                    <a:pt x="341681" y="24995"/>
                  </a:lnTo>
                  <a:lnTo>
                    <a:pt x="330051" y="14270"/>
                  </a:lnTo>
                  <a:lnTo>
                    <a:pt x="322536" y="8745"/>
                  </a:lnTo>
                  <a:lnTo>
                    <a:pt x="302867" y="3744"/>
                  </a:lnTo>
                  <a:lnTo>
                    <a:pt x="286789" y="-94"/>
                  </a:lnTo>
                  <a:lnTo>
                    <a:pt x="273559" y="8631"/>
                  </a:lnTo>
                  <a:lnTo>
                    <a:pt x="265577" y="14117"/>
                  </a:lnTo>
                  <a:lnTo>
                    <a:pt x="244726" y="28148"/>
                  </a:lnTo>
                  <a:lnTo>
                    <a:pt x="232963" y="36168"/>
                  </a:lnTo>
                  <a:lnTo>
                    <a:pt x="216027" y="47550"/>
                  </a:lnTo>
                  <a:lnTo>
                    <a:pt x="201178" y="57532"/>
                  </a:lnTo>
                  <a:lnTo>
                    <a:pt x="191634" y="64209"/>
                  </a:lnTo>
                  <a:lnTo>
                    <a:pt x="183862" y="69772"/>
                  </a:lnTo>
                  <a:lnTo>
                    <a:pt x="176365" y="75325"/>
                  </a:lnTo>
                  <a:lnTo>
                    <a:pt x="171460" y="80011"/>
                  </a:lnTo>
                  <a:lnTo>
                    <a:pt x="159554" y="91575"/>
                  </a:lnTo>
                  <a:lnTo>
                    <a:pt x="147876" y="103062"/>
                  </a:lnTo>
                  <a:lnTo>
                    <a:pt x="142238" y="108472"/>
                  </a:lnTo>
                  <a:lnTo>
                    <a:pt x="137703" y="112968"/>
                  </a:lnTo>
                  <a:lnTo>
                    <a:pt x="99965" y="121292"/>
                  </a:lnTo>
                  <a:lnTo>
                    <a:pt x="100318" y="180767"/>
                  </a:lnTo>
                  <a:lnTo>
                    <a:pt x="98774" y="197607"/>
                  </a:lnTo>
                  <a:lnTo>
                    <a:pt x="93574" y="206332"/>
                  </a:lnTo>
                  <a:lnTo>
                    <a:pt x="92184" y="212333"/>
                  </a:lnTo>
                  <a:lnTo>
                    <a:pt x="87154" y="218038"/>
                  </a:lnTo>
                  <a:lnTo>
                    <a:pt x="82611" y="222858"/>
                  </a:lnTo>
                  <a:lnTo>
                    <a:pt x="70181" y="224429"/>
                  </a:lnTo>
                  <a:lnTo>
                    <a:pt x="60474" y="226706"/>
                  </a:lnTo>
                  <a:lnTo>
                    <a:pt x="27851" y="228611"/>
                  </a:lnTo>
                  <a:lnTo>
                    <a:pt x="20193" y="236326"/>
                  </a:lnTo>
                  <a:lnTo>
                    <a:pt x="12506" y="237879"/>
                  </a:lnTo>
                  <a:lnTo>
                    <a:pt x="5287" y="237326"/>
                  </a:lnTo>
                  <a:lnTo>
                    <a:pt x="400" y="241155"/>
                  </a:lnTo>
                  <a:lnTo>
                    <a:pt x="-266" y="249594"/>
                  </a:lnTo>
                  <a:lnTo>
                    <a:pt x="4830" y="262348"/>
                  </a:lnTo>
                  <a:lnTo>
                    <a:pt x="10773" y="270244"/>
                  </a:lnTo>
                  <a:lnTo>
                    <a:pt x="17898" y="274607"/>
                  </a:lnTo>
                  <a:lnTo>
                    <a:pt x="27156" y="281560"/>
                  </a:lnTo>
                  <a:lnTo>
                    <a:pt x="20069" y="281446"/>
                  </a:lnTo>
                  <a:lnTo>
                    <a:pt x="20022" y="288961"/>
                  </a:lnTo>
                  <a:lnTo>
                    <a:pt x="41663" y="302801"/>
                  </a:lnTo>
                  <a:lnTo>
                    <a:pt x="47568" y="299420"/>
                  </a:lnTo>
                  <a:lnTo>
                    <a:pt x="51483" y="308040"/>
                  </a:lnTo>
                  <a:lnTo>
                    <a:pt x="55103" y="322308"/>
                  </a:lnTo>
                  <a:lnTo>
                    <a:pt x="54198" y="312888"/>
                  </a:lnTo>
                  <a:lnTo>
                    <a:pt x="61360" y="311088"/>
                  </a:lnTo>
                  <a:lnTo>
                    <a:pt x="70038" y="312221"/>
                  </a:lnTo>
                  <a:lnTo>
                    <a:pt x="75991" y="318755"/>
                  </a:lnTo>
                  <a:lnTo>
                    <a:pt x="81677" y="323537"/>
                  </a:lnTo>
                  <a:close/>
                </a:path>
              </a:pathLst>
            </a:custGeom>
            <a:solidFill>
              <a:srgbClr val="FF6B0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40" name="Freeform: Shape 39">
              <a:extLst>
                <a:ext uri="{FF2B5EF4-FFF2-40B4-BE49-F238E27FC236}">
                  <a16:creationId xmlns:a16="http://schemas.microsoft.com/office/drawing/2014/main" id="{9C5AF492-27D6-47C2-B11F-18ABCE128BF9}"/>
                </a:ext>
              </a:extLst>
            </p:cNvPr>
            <p:cNvSpPr/>
            <p:nvPr/>
          </p:nvSpPr>
          <p:spPr>
            <a:xfrm>
              <a:off x="5142262" y="1318884"/>
              <a:ext cx="842803" cy="757549"/>
            </a:xfrm>
            <a:custGeom>
              <a:avLst/>
              <a:gdLst>
                <a:gd name="connsiteX0" fmla="*/ 84601 w 295722"/>
                <a:gd name="connsiteY0" fmla="*/ 265530 h 265623"/>
                <a:gd name="connsiteX1" fmla="*/ 97670 w 295722"/>
                <a:gd name="connsiteY1" fmla="*/ 263691 h 265623"/>
                <a:gd name="connsiteX2" fmla="*/ 104099 w 295722"/>
                <a:gd name="connsiteY2" fmla="*/ 263120 h 265623"/>
                <a:gd name="connsiteX3" fmla="*/ 110519 w 295722"/>
                <a:gd name="connsiteY3" fmla="*/ 260110 h 265623"/>
                <a:gd name="connsiteX4" fmla="*/ 121692 w 295722"/>
                <a:gd name="connsiteY4" fmla="*/ 260481 h 265623"/>
                <a:gd name="connsiteX5" fmla="*/ 139237 w 295722"/>
                <a:gd name="connsiteY5" fmla="*/ 258167 h 265623"/>
                <a:gd name="connsiteX6" fmla="*/ 139675 w 295722"/>
                <a:gd name="connsiteY6" fmla="*/ 251766 h 265623"/>
                <a:gd name="connsiteX7" fmla="*/ 145581 w 295722"/>
                <a:gd name="connsiteY7" fmla="*/ 250852 h 265623"/>
                <a:gd name="connsiteX8" fmla="*/ 149438 w 295722"/>
                <a:gd name="connsiteY8" fmla="*/ 245651 h 265623"/>
                <a:gd name="connsiteX9" fmla="*/ 152448 w 295722"/>
                <a:gd name="connsiteY9" fmla="*/ 240060 h 265623"/>
                <a:gd name="connsiteX10" fmla="*/ 152953 w 295722"/>
                <a:gd name="connsiteY10" fmla="*/ 232649 h 265623"/>
                <a:gd name="connsiteX11" fmla="*/ 152667 w 295722"/>
                <a:gd name="connsiteY11" fmla="*/ 225715 h 265623"/>
                <a:gd name="connsiteX12" fmla="*/ 158106 w 295722"/>
                <a:gd name="connsiteY12" fmla="*/ 217552 h 265623"/>
                <a:gd name="connsiteX13" fmla="*/ 163335 w 295722"/>
                <a:gd name="connsiteY13" fmla="*/ 212485 h 265623"/>
                <a:gd name="connsiteX14" fmla="*/ 168298 w 295722"/>
                <a:gd name="connsiteY14" fmla="*/ 204874 h 265623"/>
                <a:gd name="connsiteX15" fmla="*/ 174241 w 295722"/>
                <a:gd name="connsiteY15" fmla="*/ 203312 h 265623"/>
                <a:gd name="connsiteX16" fmla="*/ 176023 w 295722"/>
                <a:gd name="connsiteY16" fmla="*/ 195464 h 265623"/>
                <a:gd name="connsiteX17" fmla="*/ 185243 w 295722"/>
                <a:gd name="connsiteY17" fmla="*/ 188682 h 265623"/>
                <a:gd name="connsiteX18" fmla="*/ 193606 w 295722"/>
                <a:gd name="connsiteY18" fmla="*/ 192540 h 265623"/>
                <a:gd name="connsiteX19" fmla="*/ 195616 w 295722"/>
                <a:gd name="connsiteY19" fmla="*/ 185253 h 265623"/>
                <a:gd name="connsiteX20" fmla="*/ 202264 w 295722"/>
                <a:gd name="connsiteY20" fmla="*/ 191473 h 265623"/>
                <a:gd name="connsiteX21" fmla="*/ 204988 w 295722"/>
                <a:gd name="connsiteY21" fmla="*/ 198445 h 265623"/>
                <a:gd name="connsiteX22" fmla="*/ 209217 w 295722"/>
                <a:gd name="connsiteY22" fmla="*/ 203255 h 265623"/>
                <a:gd name="connsiteX23" fmla="*/ 215209 w 295722"/>
                <a:gd name="connsiteY23" fmla="*/ 202931 h 265623"/>
                <a:gd name="connsiteX24" fmla="*/ 220076 w 295722"/>
                <a:gd name="connsiteY24" fmla="*/ 199007 h 265623"/>
                <a:gd name="connsiteX25" fmla="*/ 220257 w 295722"/>
                <a:gd name="connsiteY25" fmla="*/ 193016 h 265623"/>
                <a:gd name="connsiteX26" fmla="*/ 224381 w 295722"/>
                <a:gd name="connsiteY26" fmla="*/ 188368 h 265623"/>
                <a:gd name="connsiteX27" fmla="*/ 228067 w 295722"/>
                <a:gd name="connsiteY27" fmla="*/ 182862 h 265623"/>
                <a:gd name="connsiteX28" fmla="*/ 229077 w 295722"/>
                <a:gd name="connsiteY28" fmla="*/ 176490 h 265623"/>
                <a:gd name="connsiteX29" fmla="*/ 232763 w 295722"/>
                <a:gd name="connsiteY29" fmla="*/ 167575 h 265623"/>
                <a:gd name="connsiteX30" fmla="*/ 235935 w 295722"/>
                <a:gd name="connsiteY30" fmla="*/ 162003 h 265623"/>
                <a:gd name="connsiteX31" fmla="*/ 236964 w 295722"/>
                <a:gd name="connsiteY31" fmla="*/ 150915 h 265623"/>
                <a:gd name="connsiteX32" fmla="*/ 242231 w 295722"/>
                <a:gd name="connsiteY32" fmla="*/ 147086 h 265623"/>
                <a:gd name="connsiteX33" fmla="*/ 247460 w 295722"/>
                <a:gd name="connsiteY33" fmla="*/ 144038 h 265623"/>
                <a:gd name="connsiteX34" fmla="*/ 251327 w 295722"/>
                <a:gd name="connsiteY34" fmla="*/ 134570 h 265623"/>
                <a:gd name="connsiteX35" fmla="*/ 252946 w 295722"/>
                <a:gd name="connsiteY35" fmla="*/ 128703 h 265623"/>
                <a:gd name="connsiteX36" fmla="*/ 256242 w 295722"/>
                <a:gd name="connsiteY36" fmla="*/ 120178 h 265623"/>
                <a:gd name="connsiteX37" fmla="*/ 262328 w 295722"/>
                <a:gd name="connsiteY37" fmla="*/ 112034 h 265623"/>
                <a:gd name="connsiteX38" fmla="*/ 261385 w 295722"/>
                <a:gd name="connsiteY38" fmla="*/ 105510 h 265623"/>
                <a:gd name="connsiteX39" fmla="*/ 267177 w 295722"/>
                <a:gd name="connsiteY39" fmla="*/ 101043 h 265623"/>
                <a:gd name="connsiteX40" fmla="*/ 268244 w 295722"/>
                <a:gd name="connsiteY40" fmla="*/ 93480 h 265623"/>
                <a:gd name="connsiteX41" fmla="*/ 269587 w 295722"/>
                <a:gd name="connsiteY41" fmla="*/ 87117 h 265623"/>
                <a:gd name="connsiteX42" fmla="*/ 273016 w 295722"/>
                <a:gd name="connsiteY42" fmla="*/ 78725 h 265623"/>
                <a:gd name="connsiteX43" fmla="*/ 277759 w 295722"/>
                <a:gd name="connsiteY43" fmla="*/ 73182 h 265623"/>
                <a:gd name="connsiteX44" fmla="*/ 283989 w 295722"/>
                <a:gd name="connsiteY44" fmla="*/ 72077 h 265623"/>
                <a:gd name="connsiteX45" fmla="*/ 289684 w 295722"/>
                <a:gd name="connsiteY45" fmla="*/ 67648 h 265623"/>
                <a:gd name="connsiteX46" fmla="*/ 295457 w 295722"/>
                <a:gd name="connsiteY46" fmla="*/ 62114 h 265623"/>
                <a:gd name="connsiteX47" fmla="*/ 294295 w 295722"/>
                <a:gd name="connsiteY47" fmla="*/ 54551 h 265623"/>
                <a:gd name="connsiteX48" fmla="*/ 294961 w 295722"/>
                <a:gd name="connsiteY48" fmla="*/ 48436 h 265623"/>
                <a:gd name="connsiteX49" fmla="*/ 291133 w 295722"/>
                <a:gd name="connsiteY49" fmla="*/ 41206 h 265623"/>
                <a:gd name="connsiteX50" fmla="*/ 284646 w 295722"/>
                <a:gd name="connsiteY50" fmla="*/ 40921 h 265623"/>
                <a:gd name="connsiteX51" fmla="*/ 283417 w 295722"/>
                <a:gd name="connsiteY51" fmla="*/ 32758 h 265623"/>
                <a:gd name="connsiteX52" fmla="*/ 280407 w 295722"/>
                <a:gd name="connsiteY52" fmla="*/ 20089 h 265623"/>
                <a:gd name="connsiteX53" fmla="*/ 269606 w 295722"/>
                <a:gd name="connsiteY53" fmla="*/ 3554 h 265623"/>
                <a:gd name="connsiteX54" fmla="*/ 262328 w 295722"/>
                <a:gd name="connsiteY54" fmla="*/ 3183 h 265623"/>
                <a:gd name="connsiteX55" fmla="*/ 258938 w 295722"/>
                <a:gd name="connsiteY55" fmla="*/ 8955 h 265623"/>
                <a:gd name="connsiteX56" fmla="*/ 252956 w 295722"/>
                <a:gd name="connsiteY56" fmla="*/ 8745 h 265623"/>
                <a:gd name="connsiteX57" fmla="*/ 247213 w 295722"/>
                <a:gd name="connsiteY57" fmla="*/ 14622 h 265623"/>
                <a:gd name="connsiteX58" fmla="*/ 242869 w 295722"/>
                <a:gd name="connsiteY58" fmla="*/ 19251 h 265623"/>
                <a:gd name="connsiteX59" fmla="*/ 236278 w 295722"/>
                <a:gd name="connsiteY59" fmla="*/ 20956 h 265623"/>
                <a:gd name="connsiteX60" fmla="*/ 229715 w 295722"/>
                <a:gd name="connsiteY60" fmla="*/ 18432 h 265623"/>
                <a:gd name="connsiteX61" fmla="*/ 221514 w 295722"/>
                <a:gd name="connsiteY61" fmla="*/ 14908 h 265623"/>
                <a:gd name="connsiteX62" fmla="*/ 210922 w 295722"/>
                <a:gd name="connsiteY62" fmla="*/ 12717 h 265623"/>
                <a:gd name="connsiteX63" fmla="*/ 196187 w 295722"/>
                <a:gd name="connsiteY63" fmla="*/ 13241 h 265623"/>
                <a:gd name="connsiteX64" fmla="*/ 185138 w 295722"/>
                <a:gd name="connsiteY64" fmla="*/ 15698 h 265623"/>
                <a:gd name="connsiteX65" fmla="*/ 175966 w 295722"/>
                <a:gd name="connsiteY65" fmla="*/ 22995 h 265623"/>
                <a:gd name="connsiteX66" fmla="*/ 171803 w 295722"/>
                <a:gd name="connsiteY66" fmla="*/ 28548 h 265623"/>
                <a:gd name="connsiteX67" fmla="*/ 154991 w 295722"/>
                <a:gd name="connsiteY67" fmla="*/ 27833 h 265623"/>
                <a:gd name="connsiteX68" fmla="*/ 146772 w 295722"/>
                <a:gd name="connsiteY68" fmla="*/ 24776 h 265623"/>
                <a:gd name="connsiteX69" fmla="*/ 141075 w 295722"/>
                <a:gd name="connsiteY69" fmla="*/ 21623 h 265623"/>
                <a:gd name="connsiteX70" fmla="*/ 132455 w 295722"/>
                <a:gd name="connsiteY70" fmla="*/ 14498 h 265623"/>
                <a:gd name="connsiteX71" fmla="*/ 126197 w 295722"/>
                <a:gd name="connsiteY71" fmla="*/ 13708 h 265623"/>
                <a:gd name="connsiteX72" fmla="*/ 121149 w 295722"/>
                <a:gd name="connsiteY72" fmla="*/ 17165 h 265623"/>
                <a:gd name="connsiteX73" fmla="*/ 115710 w 295722"/>
                <a:gd name="connsiteY73" fmla="*/ 20480 h 265623"/>
                <a:gd name="connsiteX74" fmla="*/ 109128 w 295722"/>
                <a:gd name="connsiteY74" fmla="*/ 22642 h 265623"/>
                <a:gd name="connsiteX75" fmla="*/ 101661 w 295722"/>
                <a:gd name="connsiteY75" fmla="*/ 19232 h 265623"/>
                <a:gd name="connsiteX76" fmla="*/ 98584 w 295722"/>
                <a:gd name="connsiteY76" fmla="*/ 13794 h 265623"/>
                <a:gd name="connsiteX77" fmla="*/ 91907 w 295722"/>
                <a:gd name="connsiteY77" fmla="*/ 6545 h 265623"/>
                <a:gd name="connsiteX78" fmla="*/ 85183 w 295722"/>
                <a:gd name="connsiteY78" fmla="*/ 5316 h 265623"/>
                <a:gd name="connsiteX79" fmla="*/ 72067 w 295722"/>
                <a:gd name="connsiteY79" fmla="*/ -94 h 265623"/>
                <a:gd name="connsiteX80" fmla="*/ 65304 w 295722"/>
                <a:gd name="connsiteY80" fmla="*/ 49 h 265623"/>
                <a:gd name="connsiteX81" fmla="*/ 55417 w 295722"/>
                <a:gd name="connsiteY81" fmla="*/ 2821 h 265623"/>
                <a:gd name="connsiteX82" fmla="*/ 43492 w 295722"/>
                <a:gd name="connsiteY82" fmla="*/ 4297 h 265623"/>
                <a:gd name="connsiteX83" fmla="*/ 37815 w 295722"/>
                <a:gd name="connsiteY83" fmla="*/ 9945 h 265623"/>
                <a:gd name="connsiteX84" fmla="*/ 35605 w 295722"/>
                <a:gd name="connsiteY84" fmla="*/ 17508 h 265623"/>
                <a:gd name="connsiteX85" fmla="*/ 30671 w 295722"/>
                <a:gd name="connsiteY85" fmla="*/ 30243 h 265623"/>
                <a:gd name="connsiteX86" fmla="*/ 23575 w 295722"/>
                <a:gd name="connsiteY86" fmla="*/ 36463 h 265623"/>
                <a:gd name="connsiteX87" fmla="*/ 23927 w 295722"/>
                <a:gd name="connsiteY87" fmla="*/ 43788 h 265623"/>
                <a:gd name="connsiteX88" fmla="*/ 24070 w 295722"/>
                <a:gd name="connsiteY88" fmla="*/ 50074 h 265623"/>
                <a:gd name="connsiteX89" fmla="*/ 24032 w 295722"/>
                <a:gd name="connsiteY89" fmla="*/ 56227 h 265623"/>
                <a:gd name="connsiteX90" fmla="*/ 20918 w 295722"/>
                <a:gd name="connsiteY90" fmla="*/ 62028 h 265623"/>
                <a:gd name="connsiteX91" fmla="*/ 22632 w 295722"/>
                <a:gd name="connsiteY91" fmla="*/ 71791 h 265623"/>
                <a:gd name="connsiteX92" fmla="*/ 25489 w 295722"/>
                <a:gd name="connsiteY92" fmla="*/ 77963 h 265623"/>
                <a:gd name="connsiteX93" fmla="*/ 26175 w 295722"/>
                <a:gd name="connsiteY93" fmla="*/ 83983 h 265623"/>
                <a:gd name="connsiteX94" fmla="*/ 28499 w 295722"/>
                <a:gd name="connsiteY94" fmla="*/ 89822 h 265623"/>
                <a:gd name="connsiteX95" fmla="*/ 22680 w 295722"/>
                <a:gd name="connsiteY95" fmla="*/ 95318 h 265623"/>
                <a:gd name="connsiteX96" fmla="*/ 24442 w 295722"/>
                <a:gd name="connsiteY96" fmla="*/ 101576 h 265623"/>
                <a:gd name="connsiteX97" fmla="*/ 22451 w 295722"/>
                <a:gd name="connsiteY97" fmla="*/ 107672 h 265623"/>
                <a:gd name="connsiteX98" fmla="*/ 15869 w 295722"/>
                <a:gd name="connsiteY98" fmla="*/ 111882 h 265623"/>
                <a:gd name="connsiteX99" fmla="*/ 13859 w 295722"/>
                <a:gd name="connsiteY99" fmla="*/ 117549 h 265623"/>
                <a:gd name="connsiteX100" fmla="*/ 11583 w 295722"/>
                <a:gd name="connsiteY100" fmla="*/ 126360 h 265623"/>
                <a:gd name="connsiteX101" fmla="*/ 2229 w 295722"/>
                <a:gd name="connsiteY101" fmla="*/ 132380 h 265623"/>
                <a:gd name="connsiteX102" fmla="*/ 1905 w 295722"/>
                <a:gd name="connsiteY102" fmla="*/ 139466 h 265623"/>
                <a:gd name="connsiteX103" fmla="*/ 1982 w 295722"/>
                <a:gd name="connsiteY103" fmla="*/ 147467 h 265623"/>
                <a:gd name="connsiteX104" fmla="*/ 1563 w 295722"/>
                <a:gd name="connsiteY104" fmla="*/ 156440 h 265623"/>
                <a:gd name="connsiteX105" fmla="*/ -266 w 295722"/>
                <a:gd name="connsiteY105" fmla="*/ 165289 h 265623"/>
                <a:gd name="connsiteX106" fmla="*/ 1058 w 295722"/>
                <a:gd name="connsiteY106" fmla="*/ 173099 h 265623"/>
                <a:gd name="connsiteX107" fmla="*/ 1753 w 295722"/>
                <a:gd name="connsiteY107" fmla="*/ 182777 h 265623"/>
                <a:gd name="connsiteX108" fmla="*/ 972 w 295722"/>
                <a:gd name="connsiteY108" fmla="*/ 189749 h 265623"/>
                <a:gd name="connsiteX109" fmla="*/ 1220 w 295722"/>
                <a:gd name="connsiteY109" fmla="*/ 195768 h 265623"/>
                <a:gd name="connsiteX110" fmla="*/ 477 w 295722"/>
                <a:gd name="connsiteY110" fmla="*/ 203303 h 265623"/>
                <a:gd name="connsiteX111" fmla="*/ 9754 w 295722"/>
                <a:gd name="connsiteY111" fmla="*/ 206418 h 265623"/>
                <a:gd name="connsiteX112" fmla="*/ 17803 w 295722"/>
                <a:gd name="connsiteY112" fmla="*/ 206398 h 265623"/>
                <a:gd name="connsiteX113" fmla="*/ 27881 w 295722"/>
                <a:gd name="connsiteY113" fmla="*/ 205332 h 265623"/>
                <a:gd name="connsiteX114" fmla="*/ 36205 w 295722"/>
                <a:gd name="connsiteY114" fmla="*/ 206398 h 265623"/>
                <a:gd name="connsiteX115" fmla="*/ 46006 w 295722"/>
                <a:gd name="connsiteY115" fmla="*/ 209313 h 265623"/>
                <a:gd name="connsiteX116" fmla="*/ 54493 w 295722"/>
                <a:gd name="connsiteY116" fmla="*/ 217514 h 265623"/>
                <a:gd name="connsiteX117" fmla="*/ 58398 w 295722"/>
                <a:gd name="connsiteY117" fmla="*/ 223067 h 265623"/>
                <a:gd name="connsiteX118" fmla="*/ 61703 w 295722"/>
                <a:gd name="connsiteY118" fmla="*/ 228601 h 265623"/>
                <a:gd name="connsiteX119" fmla="*/ 65514 w 295722"/>
                <a:gd name="connsiteY119" fmla="*/ 234050 h 265623"/>
                <a:gd name="connsiteX120" fmla="*/ 68343 w 295722"/>
                <a:gd name="connsiteY120" fmla="*/ 245222 h 265623"/>
                <a:gd name="connsiteX121" fmla="*/ 73105 w 295722"/>
                <a:gd name="connsiteY121" fmla="*/ 255948 h 265623"/>
                <a:gd name="connsiteX122" fmla="*/ 78629 w 295722"/>
                <a:gd name="connsiteY122" fmla="*/ 261929 h 265623"/>
                <a:gd name="connsiteX123" fmla="*/ 84601 w 295722"/>
                <a:gd name="connsiteY123" fmla="*/ 265530 h 26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95722" h="265623">
                  <a:moveTo>
                    <a:pt x="84601" y="265530"/>
                  </a:moveTo>
                  <a:lnTo>
                    <a:pt x="97670" y="263691"/>
                  </a:lnTo>
                  <a:lnTo>
                    <a:pt x="104099" y="263120"/>
                  </a:lnTo>
                  <a:lnTo>
                    <a:pt x="110519" y="260110"/>
                  </a:lnTo>
                  <a:lnTo>
                    <a:pt x="121692" y="260481"/>
                  </a:lnTo>
                  <a:lnTo>
                    <a:pt x="139237" y="258167"/>
                  </a:lnTo>
                  <a:lnTo>
                    <a:pt x="139675" y="251766"/>
                  </a:lnTo>
                  <a:lnTo>
                    <a:pt x="145581" y="250852"/>
                  </a:lnTo>
                  <a:lnTo>
                    <a:pt x="149438" y="245651"/>
                  </a:lnTo>
                  <a:lnTo>
                    <a:pt x="152448" y="240060"/>
                  </a:lnTo>
                  <a:lnTo>
                    <a:pt x="152953" y="232649"/>
                  </a:lnTo>
                  <a:lnTo>
                    <a:pt x="152667" y="225715"/>
                  </a:lnTo>
                  <a:lnTo>
                    <a:pt x="158106" y="217552"/>
                  </a:lnTo>
                  <a:lnTo>
                    <a:pt x="163335" y="212485"/>
                  </a:lnTo>
                  <a:lnTo>
                    <a:pt x="168298" y="204874"/>
                  </a:lnTo>
                  <a:lnTo>
                    <a:pt x="174241" y="203312"/>
                  </a:lnTo>
                  <a:lnTo>
                    <a:pt x="176023" y="195464"/>
                  </a:lnTo>
                  <a:lnTo>
                    <a:pt x="185243" y="188682"/>
                  </a:lnTo>
                  <a:lnTo>
                    <a:pt x="193606" y="192540"/>
                  </a:lnTo>
                  <a:lnTo>
                    <a:pt x="195616" y="185253"/>
                  </a:lnTo>
                  <a:lnTo>
                    <a:pt x="202264" y="191473"/>
                  </a:lnTo>
                  <a:lnTo>
                    <a:pt x="204988" y="198445"/>
                  </a:lnTo>
                  <a:lnTo>
                    <a:pt x="209217" y="203255"/>
                  </a:lnTo>
                  <a:lnTo>
                    <a:pt x="215209" y="202931"/>
                  </a:lnTo>
                  <a:lnTo>
                    <a:pt x="220076" y="199007"/>
                  </a:lnTo>
                  <a:lnTo>
                    <a:pt x="220257" y="193016"/>
                  </a:lnTo>
                  <a:lnTo>
                    <a:pt x="224381" y="188368"/>
                  </a:lnTo>
                  <a:lnTo>
                    <a:pt x="228067" y="182862"/>
                  </a:lnTo>
                  <a:lnTo>
                    <a:pt x="229077" y="176490"/>
                  </a:lnTo>
                  <a:lnTo>
                    <a:pt x="232763" y="167575"/>
                  </a:lnTo>
                  <a:lnTo>
                    <a:pt x="235935" y="162003"/>
                  </a:lnTo>
                  <a:lnTo>
                    <a:pt x="236964" y="150915"/>
                  </a:lnTo>
                  <a:lnTo>
                    <a:pt x="242231" y="147086"/>
                  </a:lnTo>
                  <a:lnTo>
                    <a:pt x="247460" y="144038"/>
                  </a:lnTo>
                  <a:lnTo>
                    <a:pt x="251327" y="134570"/>
                  </a:lnTo>
                  <a:lnTo>
                    <a:pt x="252946" y="128703"/>
                  </a:lnTo>
                  <a:lnTo>
                    <a:pt x="256242" y="120178"/>
                  </a:lnTo>
                  <a:lnTo>
                    <a:pt x="262328" y="112034"/>
                  </a:lnTo>
                  <a:lnTo>
                    <a:pt x="261385" y="105510"/>
                  </a:lnTo>
                  <a:lnTo>
                    <a:pt x="267177" y="101043"/>
                  </a:lnTo>
                  <a:lnTo>
                    <a:pt x="268244" y="93480"/>
                  </a:lnTo>
                  <a:lnTo>
                    <a:pt x="269587" y="87117"/>
                  </a:lnTo>
                  <a:lnTo>
                    <a:pt x="273016" y="78725"/>
                  </a:lnTo>
                  <a:lnTo>
                    <a:pt x="277759" y="73182"/>
                  </a:lnTo>
                  <a:lnTo>
                    <a:pt x="283989" y="72077"/>
                  </a:lnTo>
                  <a:lnTo>
                    <a:pt x="289684" y="67648"/>
                  </a:lnTo>
                  <a:lnTo>
                    <a:pt x="295457" y="62114"/>
                  </a:lnTo>
                  <a:lnTo>
                    <a:pt x="294295" y="54551"/>
                  </a:lnTo>
                  <a:lnTo>
                    <a:pt x="294961" y="48436"/>
                  </a:lnTo>
                  <a:lnTo>
                    <a:pt x="291133" y="41206"/>
                  </a:lnTo>
                  <a:lnTo>
                    <a:pt x="284646" y="40921"/>
                  </a:lnTo>
                  <a:lnTo>
                    <a:pt x="283417" y="32758"/>
                  </a:lnTo>
                  <a:lnTo>
                    <a:pt x="280407" y="20089"/>
                  </a:lnTo>
                  <a:lnTo>
                    <a:pt x="269606" y="3554"/>
                  </a:lnTo>
                  <a:lnTo>
                    <a:pt x="262328" y="3183"/>
                  </a:lnTo>
                  <a:lnTo>
                    <a:pt x="258938" y="8955"/>
                  </a:lnTo>
                  <a:lnTo>
                    <a:pt x="252956" y="8745"/>
                  </a:lnTo>
                  <a:lnTo>
                    <a:pt x="247213" y="14622"/>
                  </a:lnTo>
                  <a:lnTo>
                    <a:pt x="242869" y="19251"/>
                  </a:lnTo>
                  <a:lnTo>
                    <a:pt x="236278" y="20956"/>
                  </a:lnTo>
                  <a:lnTo>
                    <a:pt x="229715" y="18432"/>
                  </a:lnTo>
                  <a:lnTo>
                    <a:pt x="221514" y="14908"/>
                  </a:lnTo>
                  <a:lnTo>
                    <a:pt x="210922" y="12717"/>
                  </a:lnTo>
                  <a:lnTo>
                    <a:pt x="196187" y="13241"/>
                  </a:lnTo>
                  <a:lnTo>
                    <a:pt x="185138" y="15698"/>
                  </a:lnTo>
                  <a:lnTo>
                    <a:pt x="175966" y="22995"/>
                  </a:lnTo>
                  <a:lnTo>
                    <a:pt x="171803" y="28548"/>
                  </a:lnTo>
                  <a:lnTo>
                    <a:pt x="154991" y="27833"/>
                  </a:lnTo>
                  <a:lnTo>
                    <a:pt x="146772" y="24776"/>
                  </a:lnTo>
                  <a:lnTo>
                    <a:pt x="141075" y="21623"/>
                  </a:lnTo>
                  <a:lnTo>
                    <a:pt x="132455" y="14498"/>
                  </a:lnTo>
                  <a:lnTo>
                    <a:pt x="126197" y="13708"/>
                  </a:lnTo>
                  <a:lnTo>
                    <a:pt x="121149" y="17165"/>
                  </a:lnTo>
                  <a:lnTo>
                    <a:pt x="115710" y="20480"/>
                  </a:lnTo>
                  <a:lnTo>
                    <a:pt x="109128" y="22642"/>
                  </a:lnTo>
                  <a:lnTo>
                    <a:pt x="101661" y="19232"/>
                  </a:lnTo>
                  <a:lnTo>
                    <a:pt x="98584" y="13794"/>
                  </a:lnTo>
                  <a:lnTo>
                    <a:pt x="91907" y="6545"/>
                  </a:lnTo>
                  <a:lnTo>
                    <a:pt x="85183" y="5316"/>
                  </a:lnTo>
                  <a:lnTo>
                    <a:pt x="72067" y="-94"/>
                  </a:lnTo>
                  <a:lnTo>
                    <a:pt x="65304" y="49"/>
                  </a:lnTo>
                  <a:lnTo>
                    <a:pt x="55417" y="2821"/>
                  </a:lnTo>
                  <a:lnTo>
                    <a:pt x="43492" y="4297"/>
                  </a:lnTo>
                  <a:lnTo>
                    <a:pt x="37815" y="9945"/>
                  </a:lnTo>
                  <a:lnTo>
                    <a:pt x="35605" y="17508"/>
                  </a:lnTo>
                  <a:lnTo>
                    <a:pt x="30671" y="30243"/>
                  </a:lnTo>
                  <a:lnTo>
                    <a:pt x="23575" y="36463"/>
                  </a:lnTo>
                  <a:lnTo>
                    <a:pt x="23927" y="43788"/>
                  </a:lnTo>
                  <a:lnTo>
                    <a:pt x="24070" y="50074"/>
                  </a:lnTo>
                  <a:lnTo>
                    <a:pt x="24032" y="56227"/>
                  </a:lnTo>
                  <a:lnTo>
                    <a:pt x="20918" y="62028"/>
                  </a:lnTo>
                  <a:lnTo>
                    <a:pt x="22632" y="71791"/>
                  </a:lnTo>
                  <a:lnTo>
                    <a:pt x="25489" y="77963"/>
                  </a:lnTo>
                  <a:lnTo>
                    <a:pt x="26175" y="83983"/>
                  </a:lnTo>
                  <a:lnTo>
                    <a:pt x="28499" y="89822"/>
                  </a:lnTo>
                  <a:lnTo>
                    <a:pt x="22680" y="95318"/>
                  </a:lnTo>
                  <a:lnTo>
                    <a:pt x="24442" y="101576"/>
                  </a:lnTo>
                  <a:lnTo>
                    <a:pt x="22451" y="107672"/>
                  </a:lnTo>
                  <a:lnTo>
                    <a:pt x="15869" y="111882"/>
                  </a:lnTo>
                  <a:lnTo>
                    <a:pt x="13859" y="117549"/>
                  </a:lnTo>
                  <a:lnTo>
                    <a:pt x="11583" y="126360"/>
                  </a:lnTo>
                  <a:lnTo>
                    <a:pt x="2229" y="132380"/>
                  </a:lnTo>
                  <a:lnTo>
                    <a:pt x="1905" y="139466"/>
                  </a:lnTo>
                  <a:lnTo>
                    <a:pt x="1982" y="147467"/>
                  </a:lnTo>
                  <a:lnTo>
                    <a:pt x="1563" y="156440"/>
                  </a:lnTo>
                  <a:lnTo>
                    <a:pt x="-266" y="165289"/>
                  </a:lnTo>
                  <a:lnTo>
                    <a:pt x="1058" y="173099"/>
                  </a:lnTo>
                  <a:lnTo>
                    <a:pt x="1753" y="182777"/>
                  </a:lnTo>
                  <a:lnTo>
                    <a:pt x="972" y="189749"/>
                  </a:lnTo>
                  <a:lnTo>
                    <a:pt x="1220" y="195768"/>
                  </a:lnTo>
                  <a:lnTo>
                    <a:pt x="477" y="203303"/>
                  </a:lnTo>
                  <a:lnTo>
                    <a:pt x="9754" y="206418"/>
                  </a:lnTo>
                  <a:lnTo>
                    <a:pt x="17803" y="206398"/>
                  </a:lnTo>
                  <a:lnTo>
                    <a:pt x="27881" y="205332"/>
                  </a:lnTo>
                  <a:lnTo>
                    <a:pt x="36205" y="206398"/>
                  </a:lnTo>
                  <a:lnTo>
                    <a:pt x="46006" y="209313"/>
                  </a:lnTo>
                  <a:lnTo>
                    <a:pt x="54493" y="217514"/>
                  </a:lnTo>
                  <a:lnTo>
                    <a:pt x="58398" y="223067"/>
                  </a:lnTo>
                  <a:lnTo>
                    <a:pt x="61703" y="228601"/>
                  </a:lnTo>
                  <a:lnTo>
                    <a:pt x="65514" y="234050"/>
                  </a:lnTo>
                  <a:lnTo>
                    <a:pt x="68343" y="245222"/>
                  </a:lnTo>
                  <a:lnTo>
                    <a:pt x="73105" y="255948"/>
                  </a:lnTo>
                  <a:lnTo>
                    <a:pt x="78629" y="261929"/>
                  </a:lnTo>
                  <a:lnTo>
                    <a:pt x="84601" y="265530"/>
                  </a:lnTo>
                  <a:close/>
                </a:path>
              </a:pathLst>
            </a:custGeom>
            <a:solidFill>
              <a:srgbClr val="FFC00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41" name="Freeform: Shape 40">
              <a:extLst>
                <a:ext uri="{FF2B5EF4-FFF2-40B4-BE49-F238E27FC236}">
                  <a16:creationId xmlns:a16="http://schemas.microsoft.com/office/drawing/2014/main" id="{C8602FE0-267A-F664-0FA0-9C529DEEDD02}"/>
                </a:ext>
              </a:extLst>
            </p:cNvPr>
            <p:cNvSpPr/>
            <p:nvPr/>
          </p:nvSpPr>
          <p:spPr>
            <a:xfrm>
              <a:off x="6333379" y="3821895"/>
              <a:ext cx="643008" cy="722698"/>
            </a:xfrm>
            <a:custGeom>
              <a:avLst/>
              <a:gdLst>
                <a:gd name="connsiteX0" fmla="*/ 13574 w 225618"/>
                <a:gd name="connsiteY0" fmla="*/ 253309 h 253403"/>
                <a:gd name="connsiteX1" fmla="*/ 19117 w 225618"/>
                <a:gd name="connsiteY1" fmla="*/ 250270 h 253403"/>
                <a:gd name="connsiteX2" fmla="*/ 31005 w 225618"/>
                <a:gd name="connsiteY2" fmla="*/ 250946 h 253403"/>
                <a:gd name="connsiteX3" fmla="*/ 37939 w 225618"/>
                <a:gd name="connsiteY3" fmla="*/ 252032 h 253403"/>
                <a:gd name="connsiteX4" fmla="*/ 41330 w 225618"/>
                <a:gd name="connsiteY4" fmla="*/ 246442 h 253403"/>
                <a:gd name="connsiteX5" fmla="*/ 47340 w 225618"/>
                <a:gd name="connsiteY5" fmla="*/ 245003 h 253403"/>
                <a:gd name="connsiteX6" fmla="*/ 50540 w 225618"/>
                <a:gd name="connsiteY6" fmla="*/ 239269 h 253403"/>
                <a:gd name="connsiteX7" fmla="*/ 57655 w 225618"/>
                <a:gd name="connsiteY7" fmla="*/ 233687 h 253403"/>
                <a:gd name="connsiteX8" fmla="*/ 62666 w 225618"/>
                <a:gd name="connsiteY8" fmla="*/ 230173 h 253403"/>
                <a:gd name="connsiteX9" fmla="*/ 65638 w 225618"/>
                <a:gd name="connsiteY9" fmla="*/ 223381 h 253403"/>
                <a:gd name="connsiteX10" fmla="*/ 67657 w 225618"/>
                <a:gd name="connsiteY10" fmla="*/ 217314 h 253403"/>
                <a:gd name="connsiteX11" fmla="*/ 70105 w 225618"/>
                <a:gd name="connsiteY11" fmla="*/ 211484 h 253403"/>
                <a:gd name="connsiteX12" fmla="*/ 76962 w 225618"/>
                <a:gd name="connsiteY12" fmla="*/ 207960 h 253403"/>
                <a:gd name="connsiteX13" fmla="*/ 83030 w 225618"/>
                <a:gd name="connsiteY13" fmla="*/ 208065 h 253403"/>
                <a:gd name="connsiteX14" fmla="*/ 87716 w 225618"/>
                <a:gd name="connsiteY14" fmla="*/ 211923 h 253403"/>
                <a:gd name="connsiteX15" fmla="*/ 92879 w 225618"/>
                <a:gd name="connsiteY15" fmla="*/ 217028 h 253403"/>
                <a:gd name="connsiteX16" fmla="*/ 99232 w 225618"/>
                <a:gd name="connsiteY16" fmla="*/ 217257 h 253403"/>
                <a:gd name="connsiteX17" fmla="*/ 103804 w 225618"/>
                <a:gd name="connsiteY17" fmla="*/ 221419 h 253403"/>
                <a:gd name="connsiteX18" fmla="*/ 109795 w 225618"/>
                <a:gd name="connsiteY18" fmla="*/ 222581 h 253403"/>
                <a:gd name="connsiteX19" fmla="*/ 117015 w 225618"/>
                <a:gd name="connsiteY19" fmla="*/ 222591 h 253403"/>
                <a:gd name="connsiteX20" fmla="*/ 127579 w 225618"/>
                <a:gd name="connsiteY20" fmla="*/ 221734 h 253403"/>
                <a:gd name="connsiteX21" fmla="*/ 133579 w 225618"/>
                <a:gd name="connsiteY21" fmla="*/ 218076 h 253403"/>
                <a:gd name="connsiteX22" fmla="*/ 137075 w 225618"/>
                <a:gd name="connsiteY22" fmla="*/ 208399 h 253403"/>
                <a:gd name="connsiteX23" fmla="*/ 140152 w 225618"/>
                <a:gd name="connsiteY23" fmla="*/ 201731 h 253403"/>
                <a:gd name="connsiteX24" fmla="*/ 141456 w 225618"/>
                <a:gd name="connsiteY24" fmla="*/ 194826 h 253403"/>
                <a:gd name="connsiteX25" fmla="*/ 155106 w 225618"/>
                <a:gd name="connsiteY25" fmla="*/ 190539 h 253403"/>
                <a:gd name="connsiteX26" fmla="*/ 160621 w 225618"/>
                <a:gd name="connsiteY26" fmla="*/ 183719 h 253403"/>
                <a:gd name="connsiteX27" fmla="*/ 166079 w 225618"/>
                <a:gd name="connsiteY27" fmla="*/ 180223 h 253403"/>
                <a:gd name="connsiteX28" fmla="*/ 168041 w 225618"/>
                <a:gd name="connsiteY28" fmla="*/ 172623 h 253403"/>
                <a:gd name="connsiteX29" fmla="*/ 170536 w 225618"/>
                <a:gd name="connsiteY29" fmla="*/ 162983 h 253403"/>
                <a:gd name="connsiteX30" fmla="*/ 175660 w 225618"/>
                <a:gd name="connsiteY30" fmla="*/ 159688 h 253403"/>
                <a:gd name="connsiteX31" fmla="*/ 180928 w 225618"/>
                <a:gd name="connsiteY31" fmla="*/ 155896 h 253403"/>
                <a:gd name="connsiteX32" fmla="*/ 185757 w 225618"/>
                <a:gd name="connsiteY32" fmla="*/ 150896 h 253403"/>
                <a:gd name="connsiteX33" fmla="*/ 191101 w 225618"/>
                <a:gd name="connsiteY33" fmla="*/ 147800 h 253403"/>
                <a:gd name="connsiteX34" fmla="*/ 196854 w 225618"/>
                <a:gd name="connsiteY34" fmla="*/ 142323 h 253403"/>
                <a:gd name="connsiteX35" fmla="*/ 200550 w 225618"/>
                <a:gd name="connsiteY35" fmla="*/ 136170 h 253403"/>
                <a:gd name="connsiteX36" fmla="*/ 208865 w 225618"/>
                <a:gd name="connsiteY36" fmla="*/ 133418 h 253403"/>
                <a:gd name="connsiteX37" fmla="*/ 215332 w 225618"/>
                <a:gd name="connsiteY37" fmla="*/ 130979 h 253403"/>
                <a:gd name="connsiteX38" fmla="*/ 220152 w 225618"/>
                <a:gd name="connsiteY38" fmla="*/ 125626 h 253403"/>
                <a:gd name="connsiteX39" fmla="*/ 225353 w 225618"/>
                <a:gd name="connsiteY39" fmla="*/ 122674 h 253403"/>
                <a:gd name="connsiteX40" fmla="*/ 222352 w 225618"/>
                <a:gd name="connsiteY40" fmla="*/ 117197 h 253403"/>
                <a:gd name="connsiteX41" fmla="*/ 216818 w 225618"/>
                <a:gd name="connsiteY41" fmla="*/ 109681 h 253403"/>
                <a:gd name="connsiteX42" fmla="*/ 209589 w 225618"/>
                <a:gd name="connsiteY42" fmla="*/ 107881 h 253403"/>
                <a:gd name="connsiteX43" fmla="*/ 202197 w 225618"/>
                <a:gd name="connsiteY43" fmla="*/ 106005 h 253403"/>
                <a:gd name="connsiteX44" fmla="*/ 196673 w 225618"/>
                <a:gd name="connsiteY44" fmla="*/ 102518 h 253403"/>
                <a:gd name="connsiteX45" fmla="*/ 193549 w 225618"/>
                <a:gd name="connsiteY45" fmla="*/ 94889 h 253403"/>
                <a:gd name="connsiteX46" fmla="*/ 191177 w 225618"/>
                <a:gd name="connsiteY46" fmla="*/ 89355 h 253403"/>
                <a:gd name="connsiteX47" fmla="*/ 192187 w 225618"/>
                <a:gd name="connsiteY47" fmla="*/ 81135 h 253403"/>
                <a:gd name="connsiteX48" fmla="*/ 191529 w 225618"/>
                <a:gd name="connsiteY48" fmla="*/ 75201 h 253403"/>
                <a:gd name="connsiteX49" fmla="*/ 183423 w 225618"/>
                <a:gd name="connsiteY49" fmla="*/ 74592 h 253403"/>
                <a:gd name="connsiteX50" fmla="*/ 181404 w 225618"/>
                <a:gd name="connsiteY50" fmla="*/ 67200 h 253403"/>
                <a:gd name="connsiteX51" fmla="*/ 176137 w 225618"/>
                <a:gd name="connsiteY51" fmla="*/ 61828 h 253403"/>
                <a:gd name="connsiteX52" fmla="*/ 168536 w 225618"/>
                <a:gd name="connsiteY52" fmla="*/ 59913 h 253403"/>
                <a:gd name="connsiteX53" fmla="*/ 161554 w 225618"/>
                <a:gd name="connsiteY53" fmla="*/ 54493 h 253403"/>
                <a:gd name="connsiteX54" fmla="*/ 157182 w 225618"/>
                <a:gd name="connsiteY54" fmla="*/ 50084 h 253403"/>
                <a:gd name="connsiteX55" fmla="*/ 152362 w 225618"/>
                <a:gd name="connsiteY55" fmla="*/ 39387 h 253403"/>
                <a:gd name="connsiteX56" fmla="*/ 150639 w 225618"/>
                <a:gd name="connsiteY56" fmla="*/ 31405 h 253403"/>
                <a:gd name="connsiteX57" fmla="*/ 146885 w 225618"/>
                <a:gd name="connsiteY57" fmla="*/ 26071 h 253403"/>
                <a:gd name="connsiteX58" fmla="*/ 143609 w 225618"/>
                <a:gd name="connsiteY58" fmla="*/ 19841 h 253403"/>
                <a:gd name="connsiteX59" fmla="*/ 138875 w 225618"/>
                <a:gd name="connsiteY59" fmla="*/ 11698 h 253403"/>
                <a:gd name="connsiteX60" fmla="*/ 135113 w 225618"/>
                <a:gd name="connsiteY60" fmla="*/ 6202 h 253403"/>
                <a:gd name="connsiteX61" fmla="*/ 132446 w 225618"/>
                <a:gd name="connsiteY61" fmla="*/ -94 h 253403"/>
                <a:gd name="connsiteX62" fmla="*/ 121949 w 225618"/>
                <a:gd name="connsiteY62" fmla="*/ 2859 h 253403"/>
                <a:gd name="connsiteX63" fmla="*/ 117749 w 225618"/>
                <a:gd name="connsiteY63" fmla="*/ 8117 h 253403"/>
                <a:gd name="connsiteX64" fmla="*/ 111434 w 225618"/>
                <a:gd name="connsiteY64" fmla="*/ 6068 h 253403"/>
                <a:gd name="connsiteX65" fmla="*/ 106262 w 225618"/>
                <a:gd name="connsiteY65" fmla="*/ 9136 h 253403"/>
                <a:gd name="connsiteX66" fmla="*/ 98575 w 225618"/>
                <a:gd name="connsiteY66" fmla="*/ 15508 h 253403"/>
                <a:gd name="connsiteX67" fmla="*/ 93850 w 225618"/>
                <a:gd name="connsiteY67" fmla="*/ 20004 h 253403"/>
                <a:gd name="connsiteX68" fmla="*/ 91260 w 225618"/>
                <a:gd name="connsiteY68" fmla="*/ 12784 h 253403"/>
                <a:gd name="connsiteX69" fmla="*/ 87078 w 225618"/>
                <a:gd name="connsiteY69" fmla="*/ 8364 h 253403"/>
                <a:gd name="connsiteX70" fmla="*/ 66847 w 225618"/>
                <a:gd name="connsiteY70" fmla="*/ 9336 h 253403"/>
                <a:gd name="connsiteX71" fmla="*/ 57179 w 225618"/>
                <a:gd name="connsiteY71" fmla="*/ 11431 h 253403"/>
                <a:gd name="connsiteX72" fmla="*/ 41025 w 225618"/>
                <a:gd name="connsiteY72" fmla="*/ 14879 h 253403"/>
                <a:gd name="connsiteX73" fmla="*/ 29900 w 225618"/>
                <a:gd name="connsiteY73" fmla="*/ 14879 h 253403"/>
                <a:gd name="connsiteX74" fmla="*/ 26595 w 225618"/>
                <a:gd name="connsiteY74" fmla="*/ 117111 h 253403"/>
                <a:gd name="connsiteX75" fmla="*/ 2258 w 225618"/>
                <a:gd name="connsiteY75" fmla="*/ 117092 h 253403"/>
                <a:gd name="connsiteX76" fmla="*/ 1801 w 225618"/>
                <a:gd name="connsiteY76" fmla="*/ 130979 h 253403"/>
                <a:gd name="connsiteX77" fmla="*/ -266 w 225618"/>
                <a:gd name="connsiteY77" fmla="*/ 193816 h 253403"/>
                <a:gd name="connsiteX78" fmla="*/ 5992 w 225618"/>
                <a:gd name="connsiteY78" fmla="*/ 198311 h 253403"/>
                <a:gd name="connsiteX79" fmla="*/ 9821 w 225618"/>
                <a:gd name="connsiteY79" fmla="*/ 204722 h 253403"/>
                <a:gd name="connsiteX80" fmla="*/ 12698 w 225618"/>
                <a:gd name="connsiteY80" fmla="*/ 211323 h 253403"/>
                <a:gd name="connsiteX81" fmla="*/ 15584 w 225618"/>
                <a:gd name="connsiteY81" fmla="*/ 216990 h 253403"/>
                <a:gd name="connsiteX82" fmla="*/ 16470 w 225618"/>
                <a:gd name="connsiteY82" fmla="*/ 223314 h 253403"/>
                <a:gd name="connsiteX83" fmla="*/ 18460 w 225618"/>
                <a:gd name="connsiteY83" fmla="*/ 230401 h 253403"/>
                <a:gd name="connsiteX84" fmla="*/ 14022 w 225618"/>
                <a:gd name="connsiteY84" fmla="*/ 239212 h 253403"/>
                <a:gd name="connsiteX85" fmla="*/ 12183 w 225618"/>
                <a:gd name="connsiteY85" fmla="*/ 247165 h 253403"/>
                <a:gd name="connsiteX86" fmla="*/ 13574 w 225618"/>
                <a:gd name="connsiteY86" fmla="*/ 253309 h 25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5618" h="253403">
                  <a:moveTo>
                    <a:pt x="13574" y="253309"/>
                  </a:moveTo>
                  <a:lnTo>
                    <a:pt x="19117" y="250270"/>
                  </a:lnTo>
                  <a:lnTo>
                    <a:pt x="31005" y="250946"/>
                  </a:lnTo>
                  <a:lnTo>
                    <a:pt x="37939" y="252032"/>
                  </a:lnTo>
                  <a:lnTo>
                    <a:pt x="41330" y="246442"/>
                  </a:lnTo>
                  <a:lnTo>
                    <a:pt x="47340" y="245003"/>
                  </a:lnTo>
                  <a:lnTo>
                    <a:pt x="50540" y="239269"/>
                  </a:lnTo>
                  <a:lnTo>
                    <a:pt x="57655" y="233687"/>
                  </a:lnTo>
                  <a:lnTo>
                    <a:pt x="62666" y="230173"/>
                  </a:lnTo>
                  <a:lnTo>
                    <a:pt x="65638" y="223381"/>
                  </a:lnTo>
                  <a:lnTo>
                    <a:pt x="67657" y="217314"/>
                  </a:lnTo>
                  <a:lnTo>
                    <a:pt x="70105" y="211484"/>
                  </a:lnTo>
                  <a:lnTo>
                    <a:pt x="76962" y="207960"/>
                  </a:lnTo>
                  <a:lnTo>
                    <a:pt x="83030" y="208065"/>
                  </a:lnTo>
                  <a:lnTo>
                    <a:pt x="87716" y="211923"/>
                  </a:lnTo>
                  <a:lnTo>
                    <a:pt x="92879" y="217028"/>
                  </a:lnTo>
                  <a:lnTo>
                    <a:pt x="99232" y="217257"/>
                  </a:lnTo>
                  <a:lnTo>
                    <a:pt x="103804" y="221419"/>
                  </a:lnTo>
                  <a:lnTo>
                    <a:pt x="109795" y="222581"/>
                  </a:lnTo>
                  <a:lnTo>
                    <a:pt x="117015" y="222591"/>
                  </a:lnTo>
                  <a:lnTo>
                    <a:pt x="127579" y="221734"/>
                  </a:lnTo>
                  <a:lnTo>
                    <a:pt x="133579" y="218076"/>
                  </a:lnTo>
                  <a:lnTo>
                    <a:pt x="137075" y="208399"/>
                  </a:lnTo>
                  <a:lnTo>
                    <a:pt x="140152" y="201731"/>
                  </a:lnTo>
                  <a:lnTo>
                    <a:pt x="141456" y="194826"/>
                  </a:lnTo>
                  <a:lnTo>
                    <a:pt x="155106" y="190539"/>
                  </a:lnTo>
                  <a:lnTo>
                    <a:pt x="160621" y="183719"/>
                  </a:lnTo>
                  <a:lnTo>
                    <a:pt x="166079" y="180223"/>
                  </a:lnTo>
                  <a:lnTo>
                    <a:pt x="168041" y="172623"/>
                  </a:lnTo>
                  <a:lnTo>
                    <a:pt x="170536" y="162983"/>
                  </a:lnTo>
                  <a:lnTo>
                    <a:pt x="175660" y="159688"/>
                  </a:lnTo>
                  <a:lnTo>
                    <a:pt x="180928" y="155896"/>
                  </a:lnTo>
                  <a:lnTo>
                    <a:pt x="185757" y="150896"/>
                  </a:lnTo>
                  <a:lnTo>
                    <a:pt x="191101" y="147800"/>
                  </a:lnTo>
                  <a:lnTo>
                    <a:pt x="196854" y="142323"/>
                  </a:lnTo>
                  <a:lnTo>
                    <a:pt x="200550" y="136170"/>
                  </a:lnTo>
                  <a:lnTo>
                    <a:pt x="208865" y="133418"/>
                  </a:lnTo>
                  <a:lnTo>
                    <a:pt x="215332" y="130979"/>
                  </a:lnTo>
                  <a:lnTo>
                    <a:pt x="220152" y="125626"/>
                  </a:lnTo>
                  <a:lnTo>
                    <a:pt x="225353" y="122674"/>
                  </a:lnTo>
                  <a:lnTo>
                    <a:pt x="222352" y="117197"/>
                  </a:lnTo>
                  <a:lnTo>
                    <a:pt x="216818" y="109681"/>
                  </a:lnTo>
                  <a:lnTo>
                    <a:pt x="209589" y="107881"/>
                  </a:lnTo>
                  <a:lnTo>
                    <a:pt x="202197" y="106005"/>
                  </a:lnTo>
                  <a:lnTo>
                    <a:pt x="196673" y="102518"/>
                  </a:lnTo>
                  <a:lnTo>
                    <a:pt x="193549" y="94889"/>
                  </a:lnTo>
                  <a:lnTo>
                    <a:pt x="191177" y="89355"/>
                  </a:lnTo>
                  <a:lnTo>
                    <a:pt x="192187" y="81135"/>
                  </a:lnTo>
                  <a:lnTo>
                    <a:pt x="191529" y="75201"/>
                  </a:lnTo>
                  <a:lnTo>
                    <a:pt x="183423" y="74592"/>
                  </a:lnTo>
                  <a:lnTo>
                    <a:pt x="181404" y="67200"/>
                  </a:lnTo>
                  <a:lnTo>
                    <a:pt x="176137" y="61828"/>
                  </a:lnTo>
                  <a:lnTo>
                    <a:pt x="168536" y="59913"/>
                  </a:lnTo>
                  <a:lnTo>
                    <a:pt x="161554" y="54493"/>
                  </a:lnTo>
                  <a:lnTo>
                    <a:pt x="157182" y="50084"/>
                  </a:lnTo>
                  <a:lnTo>
                    <a:pt x="152362" y="39387"/>
                  </a:lnTo>
                  <a:lnTo>
                    <a:pt x="150639" y="31405"/>
                  </a:lnTo>
                  <a:lnTo>
                    <a:pt x="146885" y="26071"/>
                  </a:lnTo>
                  <a:lnTo>
                    <a:pt x="143609" y="19841"/>
                  </a:lnTo>
                  <a:lnTo>
                    <a:pt x="138875" y="11698"/>
                  </a:lnTo>
                  <a:lnTo>
                    <a:pt x="135113" y="6202"/>
                  </a:lnTo>
                  <a:lnTo>
                    <a:pt x="132446" y="-94"/>
                  </a:lnTo>
                  <a:lnTo>
                    <a:pt x="121949" y="2859"/>
                  </a:lnTo>
                  <a:lnTo>
                    <a:pt x="117749" y="8117"/>
                  </a:lnTo>
                  <a:lnTo>
                    <a:pt x="111434" y="6068"/>
                  </a:lnTo>
                  <a:lnTo>
                    <a:pt x="106262" y="9136"/>
                  </a:lnTo>
                  <a:lnTo>
                    <a:pt x="98575" y="15508"/>
                  </a:lnTo>
                  <a:lnTo>
                    <a:pt x="93850" y="20004"/>
                  </a:lnTo>
                  <a:lnTo>
                    <a:pt x="91260" y="12784"/>
                  </a:lnTo>
                  <a:lnTo>
                    <a:pt x="87078" y="8364"/>
                  </a:lnTo>
                  <a:lnTo>
                    <a:pt x="66847" y="9336"/>
                  </a:lnTo>
                  <a:lnTo>
                    <a:pt x="57179" y="11431"/>
                  </a:lnTo>
                  <a:lnTo>
                    <a:pt x="41025" y="14879"/>
                  </a:lnTo>
                  <a:lnTo>
                    <a:pt x="29900" y="14879"/>
                  </a:lnTo>
                  <a:lnTo>
                    <a:pt x="26595" y="117111"/>
                  </a:lnTo>
                  <a:lnTo>
                    <a:pt x="2258" y="117092"/>
                  </a:lnTo>
                  <a:lnTo>
                    <a:pt x="1801" y="130979"/>
                  </a:lnTo>
                  <a:lnTo>
                    <a:pt x="-266" y="193816"/>
                  </a:lnTo>
                  <a:lnTo>
                    <a:pt x="5992" y="198311"/>
                  </a:lnTo>
                  <a:lnTo>
                    <a:pt x="9821" y="204722"/>
                  </a:lnTo>
                  <a:lnTo>
                    <a:pt x="12698" y="211323"/>
                  </a:lnTo>
                  <a:lnTo>
                    <a:pt x="15584" y="216990"/>
                  </a:lnTo>
                  <a:lnTo>
                    <a:pt x="16470" y="223314"/>
                  </a:lnTo>
                  <a:lnTo>
                    <a:pt x="18460" y="230401"/>
                  </a:lnTo>
                  <a:lnTo>
                    <a:pt x="14022" y="239212"/>
                  </a:lnTo>
                  <a:lnTo>
                    <a:pt x="12183" y="247165"/>
                  </a:lnTo>
                  <a:lnTo>
                    <a:pt x="13574" y="253309"/>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42" name="Freeform: Shape 41">
              <a:extLst>
                <a:ext uri="{FF2B5EF4-FFF2-40B4-BE49-F238E27FC236}">
                  <a16:creationId xmlns:a16="http://schemas.microsoft.com/office/drawing/2014/main" id="{D0F0B9CE-4E1E-AF32-FDB8-35669FFDE983}"/>
                </a:ext>
              </a:extLst>
            </p:cNvPr>
            <p:cNvSpPr/>
            <p:nvPr/>
          </p:nvSpPr>
          <p:spPr>
            <a:xfrm>
              <a:off x="3781833" y="1410184"/>
              <a:ext cx="207747" cy="139735"/>
            </a:xfrm>
            <a:custGeom>
              <a:avLst/>
              <a:gdLst>
                <a:gd name="connsiteX0" fmla="*/ 38072 w 72894"/>
                <a:gd name="connsiteY0" fmla="*/ 48903 h 48996"/>
                <a:gd name="connsiteX1" fmla="*/ 43339 w 72894"/>
                <a:gd name="connsiteY1" fmla="*/ 41892 h 48996"/>
                <a:gd name="connsiteX2" fmla="*/ 45921 w 72894"/>
                <a:gd name="connsiteY2" fmla="*/ 35644 h 48996"/>
                <a:gd name="connsiteX3" fmla="*/ 51922 w 72894"/>
                <a:gd name="connsiteY3" fmla="*/ 32929 h 48996"/>
                <a:gd name="connsiteX4" fmla="*/ 58036 w 72894"/>
                <a:gd name="connsiteY4" fmla="*/ 27919 h 48996"/>
                <a:gd name="connsiteX5" fmla="*/ 64913 w 72894"/>
                <a:gd name="connsiteY5" fmla="*/ 28900 h 48996"/>
                <a:gd name="connsiteX6" fmla="*/ 71857 w 72894"/>
                <a:gd name="connsiteY6" fmla="*/ 27081 h 48996"/>
                <a:gd name="connsiteX7" fmla="*/ 72000 w 72894"/>
                <a:gd name="connsiteY7" fmla="*/ 20261 h 48996"/>
                <a:gd name="connsiteX8" fmla="*/ 67885 w 72894"/>
                <a:gd name="connsiteY8" fmla="*/ 15156 h 48996"/>
                <a:gd name="connsiteX9" fmla="*/ 72628 w 72894"/>
                <a:gd name="connsiteY9" fmla="*/ 10336 h 48996"/>
                <a:gd name="connsiteX10" fmla="*/ 72610 w 72894"/>
                <a:gd name="connsiteY10" fmla="*/ 3183 h 48996"/>
                <a:gd name="connsiteX11" fmla="*/ 63466 w 72894"/>
                <a:gd name="connsiteY11" fmla="*/ 163 h 48996"/>
                <a:gd name="connsiteX12" fmla="*/ 42730 w 72894"/>
                <a:gd name="connsiteY12" fmla="*/ 154 h 48996"/>
                <a:gd name="connsiteX13" fmla="*/ 36281 w 72894"/>
                <a:gd name="connsiteY13" fmla="*/ -94 h 48996"/>
                <a:gd name="connsiteX14" fmla="*/ 30271 w 72894"/>
                <a:gd name="connsiteY14" fmla="*/ 3611 h 48996"/>
                <a:gd name="connsiteX15" fmla="*/ 24937 w 72894"/>
                <a:gd name="connsiteY15" fmla="*/ 6374 h 48996"/>
                <a:gd name="connsiteX16" fmla="*/ 18213 w 72894"/>
                <a:gd name="connsiteY16" fmla="*/ 6459 h 48996"/>
                <a:gd name="connsiteX17" fmla="*/ 11593 w 72894"/>
                <a:gd name="connsiteY17" fmla="*/ 6469 h 48996"/>
                <a:gd name="connsiteX18" fmla="*/ 6087 w 72894"/>
                <a:gd name="connsiteY18" fmla="*/ 8898 h 48996"/>
                <a:gd name="connsiteX19" fmla="*/ -266 w 72894"/>
                <a:gd name="connsiteY19" fmla="*/ 8983 h 48996"/>
                <a:gd name="connsiteX20" fmla="*/ 3677 w 72894"/>
                <a:gd name="connsiteY20" fmla="*/ 13670 h 48996"/>
                <a:gd name="connsiteX21" fmla="*/ 7230 w 72894"/>
                <a:gd name="connsiteY21" fmla="*/ 18461 h 48996"/>
                <a:gd name="connsiteX22" fmla="*/ 12297 w 72894"/>
                <a:gd name="connsiteY22" fmla="*/ 21794 h 48996"/>
                <a:gd name="connsiteX23" fmla="*/ 18165 w 72894"/>
                <a:gd name="connsiteY23" fmla="*/ 19023 h 48996"/>
                <a:gd name="connsiteX24" fmla="*/ 16117 w 72894"/>
                <a:gd name="connsiteY24" fmla="*/ 24957 h 48996"/>
                <a:gd name="connsiteX25" fmla="*/ 22356 w 72894"/>
                <a:gd name="connsiteY25" fmla="*/ 24690 h 48996"/>
                <a:gd name="connsiteX26" fmla="*/ 27547 w 72894"/>
                <a:gd name="connsiteY26" fmla="*/ 21499 h 48996"/>
                <a:gd name="connsiteX27" fmla="*/ 34424 w 72894"/>
                <a:gd name="connsiteY27" fmla="*/ 21156 h 48996"/>
                <a:gd name="connsiteX28" fmla="*/ 40263 w 72894"/>
                <a:gd name="connsiteY28" fmla="*/ 19861 h 48996"/>
                <a:gd name="connsiteX29" fmla="*/ 34328 w 72894"/>
                <a:gd name="connsiteY29" fmla="*/ 22537 h 48996"/>
                <a:gd name="connsiteX30" fmla="*/ 28394 w 72894"/>
                <a:gd name="connsiteY30" fmla="*/ 23880 h 48996"/>
                <a:gd name="connsiteX31" fmla="*/ 28528 w 72894"/>
                <a:gd name="connsiteY31" fmla="*/ 30015 h 48996"/>
                <a:gd name="connsiteX32" fmla="*/ 27480 w 72894"/>
                <a:gd name="connsiteY32" fmla="*/ 35920 h 48996"/>
                <a:gd name="connsiteX33" fmla="*/ 30014 w 72894"/>
                <a:gd name="connsiteY33" fmla="*/ 41673 h 48996"/>
                <a:gd name="connsiteX34" fmla="*/ 35872 w 72894"/>
                <a:gd name="connsiteY34" fmla="*/ 44521 h 48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894" h="48996">
                  <a:moveTo>
                    <a:pt x="38072" y="48903"/>
                  </a:moveTo>
                  <a:lnTo>
                    <a:pt x="43339" y="41892"/>
                  </a:lnTo>
                  <a:lnTo>
                    <a:pt x="45921" y="35644"/>
                  </a:lnTo>
                  <a:lnTo>
                    <a:pt x="51922" y="32929"/>
                  </a:lnTo>
                  <a:lnTo>
                    <a:pt x="58036" y="27919"/>
                  </a:lnTo>
                  <a:lnTo>
                    <a:pt x="64913" y="28900"/>
                  </a:lnTo>
                  <a:lnTo>
                    <a:pt x="71857" y="27081"/>
                  </a:lnTo>
                  <a:lnTo>
                    <a:pt x="72000" y="20261"/>
                  </a:lnTo>
                  <a:lnTo>
                    <a:pt x="67885" y="15156"/>
                  </a:lnTo>
                  <a:lnTo>
                    <a:pt x="72628" y="10336"/>
                  </a:lnTo>
                  <a:lnTo>
                    <a:pt x="72610" y="3183"/>
                  </a:lnTo>
                  <a:lnTo>
                    <a:pt x="63466" y="163"/>
                  </a:lnTo>
                  <a:lnTo>
                    <a:pt x="42730" y="154"/>
                  </a:lnTo>
                  <a:lnTo>
                    <a:pt x="36281" y="-94"/>
                  </a:lnTo>
                  <a:lnTo>
                    <a:pt x="30271" y="3611"/>
                  </a:lnTo>
                  <a:lnTo>
                    <a:pt x="24937" y="6374"/>
                  </a:lnTo>
                  <a:lnTo>
                    <a:pt x="18213" y="6459"/>
                  </a:lnTo>
                  <a:lnTo>
                    <a:pt x="11593" y="6469"/>
                  </a:lnTo>
                  <a:lnTo>
                    <a:pt x="6087" y="8898"/>
                  </a:lnTo>
                  <a:lnTo>
                    <a:pt x="-266" y="8983"/>
                  </a:lnTo>
                  <a:lnTo>
                    <a:pt x="3677" y="13670"/>
                  </a:lnTo>
                  <a:lnTo>
                    <a:pt x="7230" y="18461"/>
                  </a:lnTo>
                  <a:lnTo>
                    <a:pt x="12297" y="21794"/>
                  </a:lnTo>
                  <a:lnTo>
                    <a:pt x="18165" y="19023"/>
                  </a:lnTo>
                  <a:lnTo>
                    <a:pt x="16117" y="24957"/>
                  </a:lnTo>
                  <a:lnTo>
                    <a:pt x="22356" y="24690"/>
                  </a:lnTo>
                  <a:lnTo>
                    <a:pt x="27547" y="21499"/>
                  </a:lnTo>
                  <a:lnTo>
                    <a:pt x="34424" y="21156"/>
                  </a:lnTo>
                  <a:lnTo>
                    <a:pt x="40263" y="19861"/>
                  </a:lnTo>
                  <a:lnTo>
                    <a:pt x="34328" y="22537"/>
                  </a:lnTo>
                  <a:lnTo>
                    <a:pt x="28394" y="23880"/>
                  </a:lnTo>
                  <a:lnTo>
                    <a:pt x="28528" y="30015"/>
                  </a:lnTo>
                  <a:lnTo>
                    <a:pt x="27480" y="35920"/>
                  </a:lnTo>
                  <a:lnTo>
                    <a:pt x="30014" y="41673"/>
                  </a:lnTo>
                  <a:lnTo>
                    <a:pt x="35872" y="44521"/>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43" name="Freeform: Shape 42">
              <a:extLst>
                <a:ext uri="{FF2B5EF4-FFF2-40B4-BE49-F238E27FC236}">
                  <a16:creationId xmlns:a16="http://schemas.microsoft.com/office/drawing/2014/main" id="{EF0E7534-7AA0-7E1A-5EE7-622D397C29B6}"/>
                </a:ext>
              </a:extLst>
            </p:cNvPr>
            <p:cNvSpPr/>
            <p:nvPr/>
          </p:nvSpPr>
          <p:spPr>
            <a:xfrm>
              <a:off x="6999269" y="2503986"/>
              <a:ext cx="143220" cy="135306"/>
            </a:xfrm>
            <a:custGeom>
              <a:avLst/>
              <a:gdLst>
                <a:gd name="connsiteX0" fmla="*/ 11869 w 50253"/>
                <a:gd name="connsiteY0" fmla="*/ 47350 h 47443"/>
                <a:gd name="connsiteX1" fmla="*/ 17879 w 50253"/>
                <a:gd name="connsiteY1" fmla="*/ 46559 h 47443"/>
                <a:gd name="connsiteX2" fmla="*/ 24489 w 50253"/>
                <a:gd name="connsiteY2" fmla="*/ 45121 h 47443"/>
                <a:gd name="connsiteX3" fmla="*/ 26147 w 50253"/>
                <a:gd name="connsiteY3" fmla="*/ 37863 h 47443"/>
                <a:gd name="connsiteX4" fmla="*/ 32129 w 50253"/>
                <a:gd name="connsiteY4" fmla="*/ 35949 h 47443"/>
                <a:gd name="connsiteX5" fmla="*/ 37368 w 50253"/>
                <a:gd name="connsiteY5" fmla="*/ 32748 h 47443"/>
                <a:gd name="connsiteX6" fmla="*/ 43063 w 50253"/>
                <a:gd name="connsiteY6" fmla="*/ 35158 h 47443"/>
                <a:gd name="connsiteX7" fmla="*/ 48921 w 50253"/>
                <a:gd name="connsiteY7" fmla="*/ 32739 h 47443"/>
                <a:gd name="connsiteX8" fmla="*/ 49988 w 50253"/>
                <a:gd name="connsiteY8" fmla="*/ 26347 h 47443"/>
                <a:gd name="connsiteX9" fmla="*/ 48379 w 50253"/>
                <a:gd name="connsiteY9" fmla="*/ 20042 h 47443"/>
                <a:gd name="connsiteX10" fmla="*/ 46311 w 50253"/>
                <a:gd name="connsiteY10" fmla="*/ 10812 h 47443"/>
                <a:gd name="connsiteX11" fmla="*/ 41978 w 50253"/>
                <a:gd name="connsiteY11" fmla="*/ 5668 h 47443"/>
                <a:gd name="connsiteX12" fmla="*/ 39530 w 50253"/>
                <a:gd name="connsiteY12" fmla="*/ -94 h 47443"/>
                <a:gd name="connsiteX13" fmla="*/ 33081 w 50253"/>
                <a:gd name="connsiteY13" fmla="*/ 3964 h 47443"/>
                <a:gd name="connsiteX14" fmla="*/ 28347 w 50253"/>
                <a:gd name="connsiteY14" fmla="*/ 7745 h 47443"/>
                <a:gd name="connsiteX15" fmla="*/ 22270 w 50253"/>
                <a:gd name="connsiteY15" fmla="*/ 6459 h 47443"/>
                <a:gd name="connsiteX16" fmla="*/ 16356 w 50253"/>
                <a:gd name="connsiteY16" fmla="*/ 7564 h 47443"/>
                <a:gd name="connsiteX17" fmla="*/ 11288 w 50253"/>
                <a:gd name="connsiteY17" fmla="*/ 11479 h 47443"/>
                <a:gd name="connsiteX18" fmla="*/ 7173 w 50253"/>
                <a:gd name="connsiteY18" fmla="*/ 18385 h 47443"/>
                <a:gd name="connsiteX19" fmla="*/ 7011 w 50253"/>
                <a:gd name="connsiteY19" fmla="*/ 25900 h 47443"/>
                <a:gd name="connsiteX20" fmla="*/ 5249 w 50253"/>
                <a:gd name="connsiteY20" fmla="*/ 31634 h 47443"/>
                <a:gd name="connsiteX21" fmla="*/ -266 w 50253"/>
                <a:gd name="connsiteY21" fmla="*/ 35120 h 47443"/>
                <a:gd name="connsiteX22" fmla="*/ 353 w 50253"/>
                <a:gd name="connsiteY22" fmla="*/ 41949 h 47443"/>
                <a:gd name="connsiteX23" fmla="*/ 6421 w 50253"/>
                <a:gd name="connsiteY23" fmla="*/ 40454 h 47443"/>
                <a:gd name="connsiteX24" fmla="*/ 11440 w 50253"/>
                <a:gd name="connsiteY24" fmla="*/ 44445 h 47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253" h="47443">
                  <a:moveTo>
                    <a:pt x="11869" y="47350"/>
                  </a:moveTo>
                  <a:lnTo>
                    <a:pt x="17879" y="46559"/>
                  </a:lnTo>
                  <a:lnTo>
                    <a:pt x="24489" y="45121"/>
                  </a:lnTo>
                  <a:lnTo>
                    <a:pt x="26147" y="37863"/>
                  </a:lnTo>
                  <a:lnTo>
                    <a:pt x="32129" y="35949"/>
                  </a:lnTo>
                  <a:lnTo>
                    <a:pt x="37368" y="32748"/>
                  </a:lnTo>
                  <a:lnTo>
                    <a:pt x="43063" y="35158"/>
                  </a:lnTo>
                  <a:lnTo>
                    <a:pt x="48921" y="32739"/>
                  </a:lnTo>
                  <a:lnTo>
                    <a:pt x="49988" y="26347"/>
                  </a:lnTo>
                  <a:lnTo>
                    <a:pt x="48379" y="20042"/>
                  </a:lnTo>
                  <a:lnTo>
                    <a:pt x="46311" y="10812"/>
                  </a:lnTo>
                  <a:lnTo>
                    <a:pt x="41978" y="5668"/>
                  </a:lnTo>
                  <a:lnTo>
                    <a:pt x="39530" y="-94"/>
                  </a:lnTo>
                  <a:lnTo>
                    <a:pt x="33081" y="3964"/>
                  </a:lnTo>
                  <a:lnTo>
                    <a:pt x="28347" y="7745"/>
                  </a:lnTo>
                  <a:lnTo>
                    <a:pt x="22270" y="6459"/>
                  </a:lnTo>
                  <a:lnTo>
                    <a:pt x="16356" y="7564"/>
                  </a:lnTo>
                  <a:lnTo>
                    <a:pt x="11288" y="11479"/>
                  </a:lnTo>
                  <a:lnTo>
                    <a:pt x="7173" y="18385"/>
                  </a:lnTo>
                  <a:lnTo>
                    <a:pt x="7011" y="25900"/>
                  </a:lnTo>
                  <a:lnTo>
                    <a:pt x="5249" y="31634"/>
                  </a:lnTo>
                  <a:lnTo>
                    <a:pt x="-266" y="35120"/>
                  </a:lnTo>
                  <a:lnTo>
                    <a:pt x="353" y="41949"/>
                  </a:lnTo>
                  <a:lnTo>
                    <a:pt x="6421" y="40454"/>
                  </a:lnTo>
                  <a:lnTo>
                    <a:pt x="11440" y="44445"/>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44" name="Freeform: Shape 43">
              <a:extLst>
                <a:ext uri="{FF2B5EF4-FFF2-40B4-BE49-F238E27FC236}">
                  <a16:creationId xmlns:a16="http://schemas.microsoft.com/office/drawing/2014/main" id="{01214814-6006-3C0C-40F3-C472448DF72D}"/>
                </a:ext>
              </a:extLst>
            </p:cNvPr>
            <p:cNvSpPr/>
            <p:nvPr/>
          </p:nvSpPr>
          <p:spPr>
            <a:xfrm>
              <a:off x="8218647" y="2778542"/>
              <a:ext cx="665486" cy="387563"/>
            </a:xfrm>
            <a:custGeom>
              <a:avLst/>
              <a:gdLst>
                <a:gd name="connsiteX0" fmla="*/ 233240 w 233505"/>
                <a:gd name="connsiteY0" fmla="*/ 5688 h 135893"/>
                <a:gd name="connsiteX1" fmla="*/ 231820 w 233505"/>
                <a:gd name="connsiteY1" fmla="*/ -94 h 135893"/>
                <a:gd name="connsiteX2" fmla="*/ 233240 w 233505"/>
                <a:gd name="connsiteY2" fmla="*/ 5688 h 135893"/>
                <a:gd name="connsiteX3" fmla="*/ -113 w 233505"/>
                <a:gd name="connsiteY3" fmla="*/ 135799 h 135893"/>
                <a:gd name="connsiteX4" fmla="*/ 5678 w 233505"/>
                <a:gd name="connsiteY4" fmla="*/ 134409 h 135893"/>
                <a:gd name="connsiteX5" fmla="*/ -266 w 233505"/>
                <a:gd name="connsiteY5" fmla="*/ 134894 h 135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505" h="135893">
                  <a:moveTo>
                    <a:pt x="233240" y="5688"/>
                  </a:moveTo>
                  <a:lnTo>
                    <a:pt x="231820" y="-94"/>
                  </a:lnTo>
                  <a:lnTo>
                    <a:pt x="233240" y="5688"/>
                  </a:lnTo>
                  <a:close/>
                  <a:moveTo>
                    <a:pt x="-113" y="135799"/>
                  </a:moveTo>
                  <a:lnTo>
                    <a:pt x="5678" y="134409"/>
                  </a:lnTo>
                  <a:lnTo>
                    <a:pt x="-266" y="134894"/>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45" name="Freeform: Shape 44">
              <a:extLst>
                <a:ext uri="{FF2B5EF4-FFF2-40B4-BE49-F238E27FC236}">
                  <a16:creationId xmlns:a16="http://schemas.microsoft.com/office/drawing/2014/main" id="{8EEC1A8F-743F-DF24-21D0-7C8C50DC1761}"/>
                </a:ext>
              </a:extLst>
            </p:cNvPr>
            <p:cNvSpPr/>
            <p:nvPr/>
          </p:nvSpPr>
          <p:spPr>
            <a:xfrm>
              <a:off x="6081705" y="4167352"/>
              <a:ext cx="1246441" cy="1957401"/>
            </a:xfrm>
            <a:custGeom>
              <a:avLst/>
              <a:gdLst>
                <a:gd name="connsiteX0" fmla="*/ 437084 w 437350"/>
                <a:gd name="connsiteY0" fmla="*/ 686239 h 686333"/>
                <a:gd name="connsiteX1" fmla="*/ 431179 w 437350"/>
                <a:gd name="connsiteY1" fmla="*/ 684954 h 686333"/>
                <a:gd name="connsiteX2" fmla="*/ 437084 w 437350"/>
                <a:gd name="connsiteY2" fmla="*/ 686239 h 686333"/>
                <a:gd name="connsiteX3" fmla="*/ 73124 w 437350"/>
                <a:gd name="connsiteY3" fmla="*/ 352274 h 686333"/>
                <a:gd name="connsiteX4" fmla="*/ 77705 w 437350"/>
                <a:gd name="connsiteY4" fmla="*/ 348349 h 686333"/>
                <a:gd name="connsiteX5" fmla="*/ 83211 w 437350"/>
                <a:gd name="connsiteY5" fmla="*/ 344711 h 686333"/>
                <a:gd name="connsiteX6" fmla="*/ 91174 w 437350"/>
                <a:gd name="connsiteY6" fmla="*/ 341568 h 686333"/>
                <a:gd name="connsiteX7" fmla="*/ 96955 w 437350"/>
                <a:gd name="connsiteY7" fmla="*/ 339767 h 686333"/>
                <a:gd name="connsiteX8" fmla="*/ 103090 w 437350"/>
                <a:gd name="connsiteY8" fmla="*/ 340653 h 686333"/>
                <a:gd name="connsiteX9" fmla="*/ 109081 w 437350"/>
                <a:gd name="connsiteY9" fmla="*/ 339643 h 686333"/>
                <a:gd name="connsiteX10" fmla="*/ 115529 w 437350"/>
                <a:gd name="connsiteY10" fmla="*/ 339920 h 686333"/>
                <a:gd name="connsiteX11" fmla="*/ 120463 w 437350"/>
                <a:gd name="connsiteY11" fmla="*/ 335548 h 686333"/>
                <a:gd name="connsiteX12" fmla="*/ 125416 w 437350"/>
                <a:gd name="connsiteY12" fmla="*/ 331443 h 686333"/>
                <a:gd name="connsiteX13" fmla="*/ 132274 w 437350"/>
                <a:gd name="connsiteY13" fmla="*/ 330652 h 686333"/>
                <a:gd name="connsiteX14" fmla="*/ 139475 w 437350"/>
                <a:gd name="connsiteY14" fmla="*/ 329985 h 686333"/>
                <a:gd name="connsiteX15" fmla="*/ 145466 w 437350"/>
                <a:gd name="connsiteY15" fmla="*/ 331404 h 686333"/>
                <a:gd name="connsiteX16" fmla="*/ 151743 w 437350"/>
                <a:gd name="connsiteY16" fmla="*/ 331947 h 686333"/>
                <a:gd name="connsiteX17" fmla="*/ 157116 w 437350"/>
                <a:gd name="connsiteY17" fmla="*/ 329242 h 686333"/>
                <a:gd name="connsiteX18" fmla="*/ 163821 w 437350"/>
                <a:gd name="connsiteY18" fmla="*/ 329405 h 686333"/>
                <a:gd name="connsiteX19" fmla="*/ 169965 w 437350"/>
                <a:gd name="connsiteY19" fmla="*/ 330357 h 686333"/>
                <a:gd name="connsiteX20" fmla="*/ 176051 w 437350"/>
                <a:gd name="connsiteY20" fmla="*/ 331824 h 686333"/>
                <a:gd name="connsiteX21" fmla="*/ 182080 w 437350"/>
                <a:gd name="connsiteY21" fmla="*/ 334195 h 686333"/>
                <a:gd name="connsiteX22" fmla="*/ 188224 w 437350"/>
                <a:gd name="connsiteY22" fmla="*/ 334967 h 686333"/>
                <a:gd name="connsiteX23" fmla="*/ 190777 w 437350"/>
                <a:gd name="connsiteY23" fmla="*/ 329442 h 686333"/>
                <a:gd name="connsiteX24" fmla="*/ 197539 w 437350"/>
                <a:gd name="connsiteY24" fmla="*/ 328176 h 686333"/>
                <a:gd name="connsiteX25" fmla="*/ 203579 w 437350"/>
                <a:gd name="connsiteY25" fmla="*/ 330281 h 686333"/>
                <a:gd name="connsiteX26" fmla="*/ 207360 w 437350"/>
                <a:gd name="connsiteY26" fmla="*/ 325194 h 686333"/>
                <a:gd name="connsiteX27" fmla="*/ 213065 w 437350"/>
                <a:gd name="connsiteY27" fmla="*/ 321660 h 686333"/>
                <a:gd name="connsiteX28" fmla="*/ 219304 w 437350"/>
                <a:gd name="connsiteY28" fmla="*/ 321318 h 686333"/>
                <a:gd name="connsiteX29" fmla="*/ 225924 w 437350"/>
                <a:gd name="connsiteY29" fmla="*/ 322670 h 686333"/>
                <a:gd name="connsiteX30" fmla="*/ 231744 w 437350"/>
                <a:gd name="connsiteY30" fmla="*/ 321108 h 686333"/>
                <a:gd name="connsiteX31" fmla="*/ 237401 w 437350"/>
                <a:gd name="connsiteY31" fmla="*/ 318774 h 686333"/>
                <a:gd name="connsiteX32" fmla="*/ 243069 w 437350"/>
                <a:gd name="connsiteY32" fmla="*/ 315698 h 686333"/>
                <a:gd name="connsiteX33" fmla="*/ 248127 w 437350"/>
                <a:gd name="connsiteY33" fmla="*/ 312364 h 686333"/>
                <a:gd name="connsiteX34" fmla="*/ 253499 w 437350"/>
                <a:gd name="connsiteY34" fmla="*/ 308878 h 686333"/>
                <a:gd name="connsiteX35" fmla="*/ 258490 w 437350"/>
                <a:gd name="connsiteY35" fmla="*/ 305049 h 686333"/>
                <a:gd name="connsiteX36" fmla="*/ 263662 w 437350"/>
                <a:gd name="connsiteY36" fmla="*/ 302001 h 686333"/>
                <a:gd name="connsiteX37" fmla="*/ 268358 w 437350"/>
                <a:gd name="connsiteY37" fmla="*/ 297734 h 686333"/>
                <a:gd name="connsiteX38" fmla="*/ 273206 w 437350"/>
                <a:gd name="connsiteY38" fmla="*/ 294067 h 686333"/>
                <a:gd name="connsiteX39" fmla="*/ 277959 w 437350"/>
                <a:gd name="connsiteY39" fmla="*/ 290323 h 686333"/>
                <a:gd name="connsiteX40" fmla="*/ 282760 w 437350"/>
                <a:gd name="connsiteY40" fmla="*/ 286142 h 686333"/>
                <a:gd name="connsiteX41" fmla="*/ 287036 w 437350"/>
                <a:gd name="connsiteY41" fmla="*/ 281750 h 686333"/>
                <a:gd name="connsiteX42" fmla="*/ 291609 w 437350"/>
                <a:gd name="connsiteY42" fmla="*/ 277150 h 686333"/>
                <a:gd name="connsiteX43" fmla="*/ 295647 w 437350"/>
                <a:gd name="connsiteY43" fmla="*/ 272721 h 686333"/>
                <a:gd name="connsiteX44" fmla="*/ 299715 w 437350"/>
                <a:gd name="connsiteY44" fmla="*/ 268330 h 686333"/>
                <a:gd name="connsiteX45" fmla="*/ 304277 w 437350"/>
                <a:gd name="connsiteY45" fmla="*/ 264025 h 686333"/>
                <a:gd name="connsiteX46" fmla="*/ 308801 w 437350"/>
                <a:gd name="connsiteY46" fmla="*/ 260148 h 686333"/>
                <a:gd name="connsiteX47" fmla="*/ 313783 w 437350"/>
                <a:gd name="connsiteY47" fmla="*/ 256862 h 686333"/>
                <a:gd name="connsiteX48" fmla="*/ 318069 w 437350"/>
                <a:gd name="connsiteY48" fmla="*/ 252595 h 686333"/>
                <a:gd name="connsiteX49" fmla="*/ 322422 w 437350"/>
                <a:gd name="connsiteY49" fmla="*/ 247718 h 686333"/>
                <a:gd name="connsiteX50" fmla="*/ 326241 w 437350"/>
                <a:gd name="connsiteY50" fmla="*/ 242841 h 686333"/>
                <a:gd name="connsiteX51" fmla="*/ 329756 w 437350"/>
                <a:gd name="connsiteY51" fmla="*/ 237955 h 686333"/>
                <a:gd name="connsiteX52" fmla="*/ 333347 w 437350"/>
                <a:gd name="connsiteY52" fmla="*/ 232535 h 686333"/>
                <a:gd name="connsiteX53" fmla="*/ 336729 w 437350"/>
                <a:gd name="connsiteY53" fmla="*/ 227592 h 686333"/>
                <a:gd name="connsiteX54" fmla="*/ 339777 w 437350"/>
                <a:gd name="connsiteY54" fmla="*/ 222095 h 686333"/>
                <a:gd name="connsiteX55" fmla="*/ 343425 w 437350"/>
                <a:gd name="connsiteY55" fmla="*/ 217219 h 686333"/>
                <a:gd name="connsiteX56" fmla="*/ 346063 w 437350"/>
                <a:gd name="connsiteY56" fmla="*/ 211733 h 686333"/>
                <a:gd name="connsiteX57" fmla="*/ 349739 w 437350"/>
                <a:gd name="connsiteY57" fmla="*/ 206313 h 686333"/>
                <a:gd name="connsiteX58" fmla="*/ 353178 w 437350"/>
                <a:gd name="connsiteY58" fmla="*/ 201360 h 686333"/>
                <a:gd name="connsiteX59" fmla="*/ 357808 w 437350"/>
                <a:gd name="connsiteY59" fmla="*/ 196635 h 686333"/>
                <a:gd name="connsiteX60" fmla="*/ 362084 w 437350"/>
                <a:gd name="connsiteY60" fmla="*/ 192216 h 686333"/>
                <a:gd name="connsiteX61" fmla="*/ 366818 w 437350"/>
                <a:gd name="connsiteY61" fmla="*/ 188577 h 686333"/>
                <a:gd name="connsiteX62" fmla="*/ 372295 w 437350"/>
                <a:gd name="connsiteY62" fmla="*/ 185748 h 686333"/>
                <a:gd name="connsiteX63" fmla="*/ 376838 w 437350"/>
                <a:gd name="connsiteY63" fmla="*/ 181319 h 686333"/>
                <a:gd name="connsiteX64" fmla="*/ 380962 w 437350"/>
                <a:gd name="connsiteY64" fmla="*/ 176966 h 686333"/>
                <a:gd name="connsiteX65" fmla="*/ 382896 w 437350"/>
                <a:gd name="connsiteY65" fmla="*/ 170918 h 686333"/>
                <a:gd name="connsiteX66" fmla="*/ 385849 w 437350"/>
                <a:gd name="connsiteY66" fmla="*/ 164155 h 686333"/>
                <a:gd name="connsiteX67" fmla="*/ 386944 w 437350"/>
                <a:gd name="connsiteY67" fmla="*/ 158059 h 686333"/>
                <a:gd name="connsiteX68" fmla="*/ 388745 w 437350"/>
                <a:gd name="connsiteY68" fmla="*/ 151963 h 686333"/>
                <a:gd name="connsiteX69" fmla="*/ 390954 w 437350"/>
                <a:gd name="connsiteY69" fmla="*/ 145858 h 686333"/>
                <a:gd name="connsiteX70" fmla="*/ 393412 w 437350"/>
                <a:gd name="connsiteY70" fmla="*/ 139761 h 686333"/>
                <a:gd name="connsiteX71" fmla="*/ 395383 w 437350"/>
                <a:gd name="connsiteY71" fmla="*/ 133665 h 686333"/>
                <a:gd name="connsiteX72" fmla="*/ 389992 w 437350"/>
                <a:gd name="connsiteY72" fmla="*/ 131056 h 686333"/>
                <a:gd name="connsiteX73" fmla="*/ 383963 w 437350"/>
                <a:gd name="connsiteY73" fmla="*/ 130989 h 686333"/>
                <a:gd name="connsiteX74" fmla="*/ 378010 w 437350"/>
                <a:gd name="connsiteY74" fmla="*/ 130608 h 686333"/>
                <a:gd name="connsiteX75" fmla="*/ 373800 w 437350"/>
                <a:gd name="connsiteY75" fmla="*/ 135418 h 686333"/>
                <a:gd name="connsiteX76" fmla="*/ 373133 w 437350"/>
                <a:gd name="connsiteY76" fmla="*/ 141590 h 686333"/>
                <a:gd name="connsiteX77" fmla="*/ 366990 w 437350"/>
                <a:gd name="connsiteY77" fmla="*/ 143543 h 686333"/>
                <a:gd name="connsiteX78" fmla="*/ 360989 w 437350"/>
                <a:gd name="connsiteY78" fmla="*/ 143362 h 686333"/>
                <a:gd name="connsiteX79" fmla="*/ 355169 w 437350"/>
                <a:gd name="connsiteY79" fmla="*/ 141095 h 686333"/>
                <a:gd name="connsiteX80" fmla="*/ 350854 w 437350"/>
                <a:gd name="connsiteY80" fmla="*/ 136971 h 686333"/>
                <a:gd name="connsiteX81" fmla="*/ 348711 w 437350"/>
                <a:gd name="connsiteY81" fmla="*/ 131389 h 686333"/>
                <a:gd name="connsiteX82" fmla="*/ 345682 w 437350"/>
                <a:gd name="connsiteY82" fmla="*/ 126245 h 686333"/>
                <a:gd name="connsiteX83" fmla="*/ 346415 w 437350"/>
                <a:gd name="connsiteY83" fmla="*/ 120245 h 686333"/>
                <a:gd name="connsiteX84" fmla="*/ 349749 w 437350"/>
                <a:gd name="connsiteY84" fmla="*/ 115092 h 686333"/>
                <a:gd name="connsiteX85" fmla="*/ 352987 w 437350"/>
                <a:gd name="connsiteY85" fmla="*/ 110100 h 686333"/>
                <a:gd name="connsiteX86" fmla="*/ 355502 w 437350"/>
                <a:gd name="connsiteY86" fmla="*/ 104653 h 686333"/>
                <a:gd name="connsiteX87" fmla="*/ 360065 w 437350"/>
                <a:gd name="connsiteY87" fmla="*/ 100118 h 686333"/>
                <a:gd name="connsiteX88" fmla="*/ 365913 w 437350"/>
                <a:gd name="connsiteY88" fmla="*/ 101395 h 686333"/>
                <a:gd name="connsiteX89" fmla="*/ 370885 w 437350"/>
                <a:gd name="connsiteY89" fmla="*/ 105281 h 686333"/>
                <a:gd name="connsiteX90" fmla="*/ 375343 w 437350"/>
                <a:gd name="connsiteY90" fmla="*/ 101338 h 686333"/>
                <a:gd name="connsiteX91" fmla="*/ 377134 w 437350"/>
                <a:gd name="connsiteY91" fmla="*/ 95489 h 686333"/>
                <a:gd name="connsiteX92" fmla="*/ 378010 w 437350"/>
                <a:gd name="connsiteY92" fmla="*/ 89136 h 686333"/>
                <a:gd name="connsiteX93" fmla="*/ 378848 w 437350"/>
                <a:gd name="connsiteY93" fmla="*/ 83040 h 686333"/>
                <a:gd name="connsiteX94" fmla="*/ 378791 w 437350"/>
                <a:gd name="connsiteY94" fmla="*/ 76934 h 686333"/>
                <a:gd name="connsiteX95" fmla="*/ 378724 w 437350"/>
                <a:gd name="connsiteY95" fmla="*/ 70839 h 686333"/>
                <a:gd name="connsiteX96" fmla="*/ 379277 w 437350"/>
                <a:gd name="connsiteY96" fmla="*/ 64743 h 686333"/>
                <a:gd name="connsiteX97" fmla="*/ 378334 w 437350"/>
                <a:gd name="connsiteY97" fmla="*/ 58637 h 686333"/>
                <a:gd name="connsiteX98" fmla="*/ 377086 w 437350"/>
                <a:gd name="connsiteY98" fmla="*/ 52541 h 686333"/>
                <a:gd name="connsiteX99" fmla="*/ 373943 w 437350"/>
                <a:gd name="connsiteY99" fmla="*/ 47483 h 686333"/>
                <a:gd name="connsiteX100" fmla="*/ 372819 w 437350"/>
                <a:gd name="connsiteY100" fmla="*/ 41569 h 686333"/>
                <a:gd name="connsiteX101" fmla="*/ 369732 w 437350"/>
                <a:gd name="connsiteY101" fmla="*/ 36139 h 686333"/>
                <a:gd name="connsiteX102" fmla="*/ 370199 w 437350"/>
                <a:gd name="connsiteY102" fmla="*/ 29367 h 686333"/>
                <a:gd name="connsiteX103" fmla="*/ 368989 w 437350"/>
                <a:gd name="connsiteY103" fmla="*/ 23375 h 686333"/>
                <a:gd name="connsiteX104" fmla="*/ 367513 w 437350"/>
                <a:gd name="connsiteY104" fmla="*/ 17261 h 686333"/>
                <a:gd name="connsiteX105" fmla="*/ 366018 w 437350"/>
                <a:gd name="connsiteY105" fmla="*/ 11069 h 686333"/>
                <a:gd name="connsiteX106" fmla="*/ 362818 w 437350"/>
                <a:gd name="connsiteY106" fmla="*/ 6040 h 686333"/>
                <a:gd name="connsiteX107" fmla="*/ 357007 w 437350"/>
                <a:gd name="connsiteY107" fmla="*/ 4688 h 686333"/>
                <a:gd name="connsiteX108" fmla="*/ 351035 w 437350"/>
                <a:gd name="connsiteY108" fmla="*/ 4716 h 686333"/>
                <a:gd name="connsiteX109" fmla="*/ 345063 w 437350"/>
                <a:gd name="connsiteY109" fmla="*/ 4878 h 686333"/>
                <a:gd name="connsiteX110" fmla="*/ 339100 w 437350"/>
                <a:gd name="connsiteY110" fmla="*/ 4154 h 686333"/>
                <a:gd name="connsiteX111" fmla="*/ 333461 w 437350"/>
                <a:gd name="connsiteY111" fmla="*/ 2240 h 686333"/>
                <a:gd name="connsiteX112" fmla="*/ 327775 w 437350"/>
                <a:gd name="connsiteY112" fmla="*/ -94 h 686333"/>
                <a:gd name="connsiteX113" fmla="*/ 321889 w 437350"/>
                <a:gd name="connsiteY113" fmla="*/ 877 h 686333"/>
                <a:gd name="connsiteX114" fmla="*/ 315936 w 437350"/>
                <a:gd name="connsiteY114" fmla="*/ 1297 h 686333"/>
                <a:gd name="connsiteX115" fmla="*/ 310068 w 437350"/>
                <a:gd name="connsiteY115" fmla="*/ 2316 h 686333"/>
                <a:gd name="connsiteX116" fmla="*/ 307772 w 437350"/>
                <a:gd name="connsiteY116" fmla="*/ 7821 h 686333"/>
                <a:gd name="connsiteX117" fmla="*/ 302248 w 437350"/>
                <a:gd name="connsiteY117" fmla="*/ 10164 h 686333"/>
                <a:gd name="connsiteX118" fmla="*/ 296571 w 437350"/>
                <a:gd name="connsiteY118" fmla="*/ 12003 h 686333"/>
                <a:gd name="connsiteX119" fmla="*/ 290846 w 437350"/>
                <a:gd name="connsiteY119" fmla="*/ 13917 h 686333"/>
                <a:gd name="connsiteX120" fmla="*/ 286875 w 437350"/>
                <a:gd name="connsiteY120" fmla="*/ 18385 h 686333"/>
                <a:gd name="connsiteX121" fmla="*/ 282664 w 437350"/>
                <a:gd name="connsiteY121" fmla="*/ 22719 h 686333"/>
                <a:gd name="connsiteX122" fmla="*/ 279159 w 437350"/>
                <a:gd name="connsiteY122" fmla="*/ 27681 h 686333"/>
                <a:gd name="connsiteX123" fmla="*/ 274006 w 437350"/>
                <a:gd name="connsiteY123" fmla="*/ 30834 h 686333"/>
                <a:gd name="connsiteX124" fmla="*/ 269796 w 437350"/>
                <a:gd name="connsiteY124" fmla="*/ 35034 h 686333"/>
                <a:gd name="connsiteX125" fmla="*/ 264281 w 437350"/>
                <a:gd name="connsiteY125" fmla="*/ 37378 h 686333"/>
                <a:gd name="connsiteX126" fmla="*/ 260709 w 437350"/>
                <a:gd name="connsiteY126" fmla="*/ 42178 h 686333"/>
                <a:gd name="connsiteX127" fmla="*/ 257242 w 437350"/>
                <a:gd name="connsiteY127" fmla="*/ 47331 h 686333"/>
                <a:gd name="connsiteX128" fmla="*/ 255947 w 437350"/>
                <a:gd name="connsiteY128" fmla="*/ 53150 h 686333"/>
                <a:gd name="connsiteX129" fmla="*/ 254661 w 437350"/>
                <a:gd name="connsiteY129" fmla="*/ 58970 h 686333"/>
                <a:gd name="connsiteX130" fmla="*/ 249718 w 437350"/>
                <a:gd name="connsiteY130" fmla="*/ 62305 h 686333"/>
                <a:gd name="connsiteX131" fmla="*/ 245355 w 437350"/>
                <a:gd name="connsiteY131" fmla="*/ 67181 h 686333"/>
                <a:gd name="connsiteX132" fmla="*/ 240002 w 437350"/>
                <a:gd name="connsiteY132" fmla="*/ 70001 h 686333"/>
                <a:gd name="connsiteX133" fmla="*/ 234154 w 437350"/>
                <a:gd name="connsiteY133" fmla="*/ 71448 h 686333"/>
                <a:gd name="connsiteX134" fmla="*/ 230496 w 437350"/>
                <a:gd name="connsiteY134" fmla="*/ 76325 h 686333"/>
                <a:gd name="connsiteX135" fmla="*/ 228172 w 437350"/>
                <a:gd name="connsiteY135" fmla="*/ 81821 h 686333"/>
                <a:gd name="connsiteX136" fmla="*/ 225505 w 437350"/>
                <a:gd name="connsiteY136" fmla="*/ 87308 h 686333"/>
                <a:gd name="connsiteX137" fmla="*/ 223800 w 437350"/>
                <a:gd name="connsiteY137" fmla="*/ 93261 h 686333"/>
                <a:gd name="connsiteX138" fmla="*/ 220323 w 437350"/>
                <a:gd name="connsiteY138" fmla="*/ 98099 h 686333"/>
                <a:gd name="connsiteX139" fmla="*/ 214866 w 437350"/>
                <a:gd name="connsiteY139" fmla="*/ 100499 h 686333"/>
                <a:gd name="connsiteX140" fmla="*/ 208979 w 437350"/>
                <a:gd name="connsiteY140" fmla="*/ 99528 h 686333"/>
                <a:gd name="connsiteX141" fmla="*/ 203426 w 437350"/>
                <a:gd name="connsiteY141" fmla="*/ 101919 h 686333"/>
                <a:gd name="connsiteX142" fmla="*/ 197378 w 437350"/>
                <a:gd name="connsiteY142" fmla="*/ 100871 h 686333"/>
                <a:gd name="connsiteX143" fmla="*/ 191358 w 437350"/>
                <a:gd name="connsiteY143" fmla="*/ 99632 h 686333"/>
                <a:gd name="connsiteX144" fmla="*/ 185967 w 437350"/>
                <a:gd name="connsiteY144" fmla="*/ 96918 h 686333"/>
                <a:gd name="connsiteX145" fmla="*/ 180023 w 437350"/>
                <a:gd name="connsiteY145" fmla="*/ 95118 h 686333"/>
                <a:gd name="connsiteX146" fmla="*/ 175908 w 437350"/>
                <a:gd name="connsiteY146" fmla="*/ 90784 h 686333"/>
                <a:gd name="connsiteX147" fmla="*/ 171346 w 437350"/>
                <a:gd name="connsiteY147" fmla="*/ 86945 h 686333"/>
                <a:gd name="connsiteX148" fmla="*/ 165345 w 437350"/>
                <a:gd name="connsiteY148" fmla="*/ 86859 h 686333"/>
                <a:gd name="connsiteX149" fmla="*/ 159639 w 437350"/>
                <a:gd name="connsiteY149" fmla="*/ 88631 h 686333"/>
                <a:gd name="connsiteX150" fmla="*/ 156230 w 437350"/>
                <a:gd name="connsiteY150" fmla="*/ 93642 h 686333"/>
                <a:gd name="connsiteX151" fmla="*/ 154515 w 437350"/>
                <a:gd name="connsiteY151" fmla="*/ 99423 h 686333"/>
                <a:gd name="connsiteX152" fmla="*/ 152534 w 437350"/>
                <a:gd name="connsiteY152" fmla="*/ 105414 h 686333"/>
                <a:gd name="connsiteX153" fmla="*/ 149553 w 437350"/>
                <a:gd name="connsiteY153" fmla="*/ 110691 h 686333"/>
                <a:gd name="connsiteX154" fmla="*/ 144400 w 437350"/>
                <a:gd name="connsiteY154" fmla="*/ 113692 h 686333"/>
                <a:gd name="connsiteX155" fmla="*/ 139523 w 437350"/>
                <a:gd name="connsiteY155" fmla="*/ 117759 h 686333"/>
                <a:gd name="connsiteX156" fmla="*/ 136389 w 437350"/>
                <a:gd name="connsiteY156" fmla="*/ 122855 h 686333"/>
                <a:gd name="connsiteX157" fmla="*/ 131103 w 437350"/>
                <a:gd name="connsiteY157" fmla="*/ 125645 h 686333"/>
                <a:gd name="connsiteX158" fmla="*/ 127159 w 437350"/>
                <a:gd name="connsiteY158" fmla="*/ 130199 h 686333"/>
                <a:gd name="connsiteX159" fmla="*/ 121130 w 437350"/>
                <a:gd name="connsiteY159" fmla="*/ 130484 h 686333"/>
                <a:gd name="connsiteX160" fmla="*/ 114977 w 437350"/>
                <a:gd name="connsiteY160" fmla="*/ 130560 h 686333"/>
                <a:gd name="connsiteX161" fmla="*/ 109081 w 437350"/>
                <a:gd name="connsiteY161" fmla="*/ 129598 h 686333"/>
                <a:gd name="connsiteX162" fmla="*/ 103299 w 437350"/>
                <a:gd name="connsiteY162" fmla="*/ 131084 h 686333"/>
                <a:gd name="connsiteX163" fmla="*/ 100585 w 437350"/>
                <a:gd name="connsiteY163" fmla="*/ 125769 h 686333"/>
                <a:gd name="connsiteX164" fmla="*/ 100823 w 437350"/>
                <a:gd name="connsiteY164" fmla="*/ 119749 h 686333"/>
                <a:gd name="connsiteX165" fmla="*/ 104452 w 437350"/>
                <a:gd name="connsiteY165" fmla="*/ 115025 h 686333"/>
                <a:gd name="connsiteX166" fmla="*/ 106680 w 437350"/>
                <a:gd name="connsiteY166" fmla="*/ 109491 h 686333"/>
                <a:gd name="connsiteX167" fmla="*/ 106271 w 437350"/>
                <a:gd name="connsiteY167" fmla="*/ 103528 h 686333"/>
                <a:gd name="connsiteX168" fmla="*/ 103338 w 437350"/>
                <a:gd name="connsiteY168" fmla="*/ 98337 h 686333"/>
                <a:gd name="connsiteX169" fmla="*/ 102595 w 437350"/>
                <a:gd name="connsiteY169" fmla="*/ 92394 h 686333"/>
                <a:gd name="connsiteX170" fmla="*/ 100127 w 437350"/>
                <a:gd name="connsiteY170" fmla="*/ 86955 h 686333"/>
                <a:gd name="connsiteX171" fmla="*/ 97680 w 437350"/>
                <a:gd name="connsiteY171" fmla="*/ 81525 h 686333"/>
                <a:gd name="connsiteX172" fmla="*/ 93822 w 437350"/>
                <a:gd name="connsiteY172" fmla="*/ 76954 h 686333"/>
                <a:gd name="connsiteX173" fmla="*/ 88812 w 437350"/>
                <a:gd name="connsiteY173" fmla="*/ 73639 h 686333"/>
                <a:gd name="connsiteX174" fmla="*/ 87812 w 437350"/>
                <a:gd name="connsiteY174" fmla="*/ 79992 h 686333"/>
                <a:gd name="connsiteX175" fmla="*/ 87516 w 437350"/>
                <a:gd name="connsiteY175" fmla="*/ 86088 h 686333"/>
                <a:gd name="connsiteX176" fmla="*/ 87230 w 437350"/>
                <a:gd name="connsiteY176" fmla="*/ 92184 h 686333"/>
                <a:gd name="connsiteX177" fmla="*/ 86954 w 437350"/>
                <a:gd name="connsiteY177" fmla="*/ 98290 h 686333"/>
                <a:gd name="connsiteX178" fmla="*/ 86659 w 437350"/>
                <a:gd name="connsiteY178" fmla="*/ 104319 h 686333"/>
                <a:gd name="connsiteX179" fmla="*/ 86364 w 437350"/>
                <a:gd name="connsiteY179" fmla="*/ 110482 h 686333"/>
                <a:gd name="connsiteX180" fmla="*/ 86087 w 437350"/>
                <a:gd name="connsiteY180" fmla="*/ 116587 h 686333"/>
                <a:gd name="connsiteX181" fmla="*/ 85792 w 437350"/>
                <a:gd name="connsiteY181" fmla="*/ 122683 h 686333"/>
                <a:gd name="connsiteX182" fmla="*/ 85516 w 437350"/>
                <a:gd name="connsiteY182" fmla="*/ 128779 h 686333"/>
                <a:gd name="connsiteX183" fmla="*/ 85231 w 437350"/>
                <a:gd name="connsiteY183" fmla="*/ 134885 h 686333"/>
                <a:gd name="connsiteX184" fmla="*/ 84954 w 437350"/>
                <a:gd name="connsiteY184" fmla="*/ 140981 h 686333"/>
                <a:gd name="connsiteX185" fmla="*/ 84659 w 437350"/>
                <a:gd name="connsiteY185" fmla="*/ 147077 h 686333"/>
                <a:gd name="connsiteX186" fmla="*/ 84383 w 437350"/>
                <a:gd name="connsiteY186" fmla="*/ 153182 h 686333"/>
                <a:gd name="connsiteX187" fmla="*/ 84097 w 437350"/>
                <a:gd name="connsiteY187" fmla="*/ 159278 h 686333"/>
                <a:gd name="connsiteX188" fmla="*/ 83811 w 437350"/>
                <a:gd name="connsiteY188" fmla="*/ 165374 h 686333"/>
                <a:gd name="connsiteX189" fmla="*/ 83525 w 437350"/>
                <a:gd name="connsiteY189" fmla="*/ 171365 h 686333"/>
                <a:gd name="connsiteX190" fmla="*/ 79525 w 437350"/>
                <a:gd name="connsiteY190" fmla="*/ 175776 h 686333"/>
                <a:gd name="connsiteX191" fmla="*/ 73686 w 437350"/>
                <a:gd name="connsiteY191" fmla="*/ 177014 h 686333"/>
                <a:gd name="connsiteX192" fmla="*/ 70295 w 437350"/>
                <a:gd name="connsiteY192" fmla="*/ 182129 h 686333"/>
                <a:gd name="connsiteX193" fmla="*/ 64780 w 437350"/>
                <a:gd name="connsiteY193" fmla="*/ 184891 h 686333"/>
                <a:gd name="connsiteX194" fmla="*/ 60684 w 437350"/>
                <a:gd name="connsiteY194" fmla="*/ 189253 h 686333"/>
                <a:gd name="connsiteX195" fmla="*/ 55370 w 437350"/>
                <a:gd name="connsiteY195" fmla="*/ 186158 h 686333"/>
                <a:gd name="connsiteX196" fmla="*/ 49416 w 437350"/>
                <a:gd name="connsiteY196" fmla="*/ 186243 h 686333"/>
                <a:gd name="connsiteX197" fmla="*/ 43292 w 437350"/>
                <a:gd name="connsiteY197" fmla="*/ 187015 h 686333"/>
                <a:gd name="connsiteX198" fmla="*/ 36920 w 437350"/>
                <a:gd name="connsiteY198" fmla="*/ 186853 h 686333"/>
                <a:gd name="connsiteX199" fmla="*/ 31786 w 437350"/>
                <a:gd name="connsiteY199" fmla="*/ 183767 h 686333"/>
                <a:gd name="connsiteX200" fmla="*/ 25804 w 437350"/>
                <a:gd name="connsiteY200" fmla="*/ 183672 h 686333"/>
                <a:gd name="connsiteX201" fmla="*/ 21461 w 437350"/>
                <a:gd name="connsiteY201" fmla="*/ 179567 h 686333"/>
                <a:gd name="connsiteX202" fmla="*/ 21298 w 437350"/>
                <a:gd name="connsiteY202" fmla="*/ 173309 h 686333"/>
                <a:gd name="connsiteX203" fmla="*/ 16803 w 437350"/>
                <a:gd name="connsiteY203" fmla="*/ 169394 h 686333"/>
                <a:gd name="connsiteX204" fmla="*/ 14145 w 437350"/>
                <a:gd name="connsiteY204" fmla="*/ 163774 h 686333"/>
                <a:gd name="connsiteX205" fmla="*/ 8983 w 437350"/>
                <a:gd name="connsiteY205" fmla="*/ 166737 h 686333"/>
                <a:gd name="connsiteX206" fmla="*/ 6497 w 437350"/>
                <a:gd name="connsiteY206" fmla="*/ 172147 h 686333"/>
                <a:gd name="connsiteX207" fmla="*/ 2211 w 437350"/>
                <a:gd name="connsiteY207" fmla="*/ 176499 h 686333"/>
                <a:gd name="connsiteX208" fmla="*/ -266 w 437350"/>
                <a:gd name="connsiteY208" fmla="*/ 181967 h 686333"/>
                <a:gd name="connsiteX209" fmla="*/ 2496 w 437350"/>
                <a:gd name="connsiteY209" fmla="*/ 187329 h 686333"/>
                <a:gd name="connsiteX210" fmla="*/ 6163 w 437350"/>
                <a:gd name="connsiteY210" fmla="*/ 192683 h 686333"/>
                <a:gd name="connsiteX211" fmla="*/ 7859 w 437350"/>
                <a:gd name="connsiteY211" fmla="*/ 198750 h 686333"/>
                <a:gd name="connsiteX212" fmla="*/ 9840 w 437350"/>
                <a:gd name="connsiteY212" fmla="*/ 204407 h 686333"/>
                <a:gd name="connsiteX213" fmla="*/ 11326 w 437350"/>
                <a:gd name="connsiteY213" fmla="*/ 210514 h 686333"/>
                <a:gd name="connsiteX214" fmla="*/ 13107 w 437350"/>
                <a:gd name="connsiteY214" fmla="*/ 216276 h 686333"/>
                <a:gd name="connsiteX215" fmla="*/ 14383 w 437350"/>
                <a:gd name="connsiteY215" fmla="*/ 222391 h 686333"/>
                <a:gd name="connsiteX216" fmla="*/ 16069 w 437350"/>
                <a:gd name="connsiteY216" fmla="*/ 228201 h 686333"/>
                <a:gd name="connsiteX217" fmla="*/ 18822 w 437350"/>
                <a:gd name="connsiteY217" fmla="*/ 233688 h 686333"/>
                <a:gd name="connsiteX218" fmla="*/ 21432 w 437350"/>
                <a:gd name="connsiteY218" fmla="*/ 239174 h 686333"/>
                <a:gd name="connsiteX219" fmla="*/ 23642 w 437350"/>
                <a:gd name="connsiteY219" fmla="*/ 244908 h 686333"/>
                <a:gd name="connsiteX220" fmla="*/ 26471 w 437350"/>
                <a:gd name="connsiteY220" fmla="*/ 250499 h 686333"/>
                <a:gd name="connsiteX221" fmla="*/ 29757 w 437350"/>
                <a:gd name="connsiteY221" fmla="*/ 256253 h 686333"/>
                <a:gd name="connsiteX222" fmla="*/ 33452 w 437350"/>
                <a:gd name="connsiteY222" fmla="*/ 261129 h 686333"/>
                <a:gd name="connsiteX223" fmla="*/ 35996 w 437350"/>
                <a:gd name="connsiteY223" fmla="*/ 266625 h 686333"/>
                <a:gd name="connsiteX224" fmla="*/ 37186 w 437350"/>
                <a:gd name="connsiteY224" fmla="*/ 273331 h 686333"/>
                <a:gd name="connsiteX225" fmla="*/ 37919 w 437350"/>
                <a:gd name="connsiteY225" fmla="*/ 279436 h 686333"/>
                <a:gd name="connsiteX226" fmla="*/ 37663 w 437350"/>
                <a:gd name="connsiteY226" fmla="*/ 285389 h 686333"/>
                <a:gd name="connsiteX227" fmla="*/ 35872 w 437350"/>
                <a:gd name="connsiteY227" fmla="*/ 291171 h 686333"/>
                <a:gd name="connsiteX228" fmla="*/ 30366 w 437350"/>
                <a:gd name="connsiteY228" fmla="*/ 295133 h 686333"/>
                <a:gd name="connsiteX229" fmla="*/ 26013 w 437350"/>
                <a:gd name="connsiteY229" fmla="*/ 299515 h 686333"/>
                <a:gd name="connsiteX230" fmla="*/ 28337 w 437350"/>
                <a:gd name="connsiteY230" fmla="*/ 305049 h 686333"/>
                <a:gd name="connsiteX231" fmla="*/ 31709 w 437350"/>
                <a:gd name="connsiteY231" fmla="*/ 310535 h 686333"/>
                <a:gd name="connsiteX232" fmla="*/ 35291 w 437350"/>
                <a:gd name="connsiteY232" fmla="*/ 315412 h 686333"/>
                <a:gd name="connsiteX233" fmla="*/ 37996 w 437350"/>
                <a:gd name="connsiteY233" fmla="*/ 322127 h 686333"/>
                <a:gd name="connsiteX234" fmla="*/ 36167 w 437350"/>
                <a:gd name="connsiteY234" fmla="*/ 327880 h 686333"/>
                <a:gd name="connsiteX235" fmla="*/ 34910 w 437350"/>
                <a:gd name="connsiteY235" fmla="*/ 333709 h 686333"/>
                <a:gd name="connsiteX236" fmla="*/ 37596 w 437350"/>
                <a:gd name="connsiteY236" fmla="*/ 339043 h 686333"/>
                <a:gd name="connsiteX237" fmla="*/ 37424 w 437350"/>
                <a:gd name="connsiteY237" fmla="*/ 333062 h 686333"/>
                <a:gd name="connsiteX238" fmla="*/ 43225 w 437350"/>
                <a:gd name="connsiteY238" fmla="*/ 331138 h 686333"/>
                <a:gd name="connsiteX239" fmla="*/ 47235 w 437350"/>
                <a:gd name="connsiteY239" fmla="*/ 335548 h 686333"/>
                <a:gd name="connsiteX240" fmla="*/ 52283 w 437350"/>
                <a:gd name="connsiteY240" fmla="*/ 339006 h 686333"/>
                <a:gd name="connsiteX241" fmla="*/ 58084 w 437350"/>
                <a:gd name="connsiteY241" fmla="*/ 341978 h 686333"/>
                <a:gd name="connsiteX242" fmla="*/ 60561 w 437350"/>
                <a:gd name="connsiteY242" fmla="*/ 347454 h 686333"/>
                <a:gd name="connsiteX243" fmla="*/ 66352 w 437350"/>
                <a:gd name="connsiteY243" fmla="*/ 350302 h 686333"/>
                <a:gd name="connsiteX244" fmla="*/ 72934 w 437350"/>
                <a:gd name="connsiteY244" fmla="*/ 352245 h 686333"/>
                <a:gd name="connsiteX245" fmla="*/ 273397 w 437350"/>
                <a:gd name="connsiteY245" fmla="*/ 236831 h 686333"/>
                <a:gd name="connsiteX246" fmla="*/ 267710 w 437350"/>
                <a:gd name="connsiteY246" fmla="*/ 235088 h 686333"/>
                <a:gd name="connsiteX247" fmla="*/ 262462 w 437350"/>
                <a:gd name="connsiteY247" fmla="*/ 232249 h 686333"/>
                <a:gd name="connsiteX248" fmla="*/ 259100 w 437350"/>
                <a:gd name="connsiteY248" fmla="*/ 227325 h 686333"/>
                <a:gd name="connsiteX249" fmla="*/ 256157 w 437350"/>
                <a:gd name="connsiteY249" fmla="*/ 222134 h 686333"/>
                <a:gd name="connsiteX250" fmla="*/ 253480 w 437350"/>
                <a:gd name="connsiteY250" fmla="*/ 216781 h 686333"/>
                <a:gd name="connsiteX251" fmla="*/ 251537 w 437350"/>
                <a:gd name="connsiteY251" fmla="*/ 211123 h 686333"/>
                <a:gd name="connsiteX252" fmla="*/ 254242 w 437350"/>
                <a:gd name="connsiteY252" fmla="*/ 205808 h 686333"/>
                <a:gd name="connsiteX253" fmla="*/ 258900 w 437350"/>
                <a:gd name="connsiteY253" fmla="*/ 202084 h 686333"/>
                <a:gd name="connsiteX254" fmla="*/ 262824 w 437350"/>
                <a:gd name="connsiteY254" fmla="*/ 197417 h 686333"/>
                <a:gd name="connsiteX255" fmla="*/ 266091 w 437350"/>
                <a:gd name="connsiteY255" fmla="*/ 192444 h 686333"/>
                <a:gd name="connsiteX256" fmla="*/ 270025 w 437350"/>
                <a:gd name="connsiteY256" fmla="*/ 187958 h 686333"/>
                <a:gd name="connsiteX257" fmla="*/ 275635 w 437350"/>
                <a:gd name="connsiteY257" fmla="*/ 185958 h 686333"/>
                <a:gd name="connsiteX258" fmla="*/ 280255 w 437350"/>
                <a:gd name="connsiteY258" fmla="*/ 181948 h 686333"/>
                <a:gd name="connsiteX259" fmla="*/ 285846 w 437350"/>
                <a:gd name="connsiteY259" fmla="*/ 179443 h 686333"/>
                <a:gd name="connsiteX260" fmla="*/ 291846 w 437350"/>
                <a:gd name="connsiteY260" fmla="*/ 179404 h 686333"/>
                <a:gd name="connsiteX261" fmla="*/ 295943 w 437350"/>
                <a:gd name="connsiteY261" fmla="*/ 184024 h 686333"/>
                <a:gd name="connsiteX262" fmla="*/ 300143 w 437350"/>
                <a:gd name="connsiteY262" fmla="*/ 188253 h 686333"/>
                <a:gd name="connsiteX263" fmla="*/ 304191 w 437350"/>
                <a:gd name="connsiteY263" fmla="*/ 192644 h 686333"/>
                <a:gd name="connsiteX264" fmla="*/ 307791 w 437350"/>
                <a:gd name="connsiteY264" fmla="*/ 197483 h 686333"/>
                <a:gd name="connsiteX265" fmla="*/ 306086 w 437350"/>
                <a:gd name="connsiteY265" fmla="*/ 203188 h 686333"/>
                <a:gd name="connsiteX266" fmla="*/ 302715 w 437350"/>
                <a:gd name="connsiteY266" fmla="*/ 208103 h 686333"/>
                <a:gd name="connsiteX267" fmla="*/ 299752 w 437350"/>
                <a:gd name="connsiteY267" fmla="*/ 213561 h 686333"/>
                <a:gd name="connsiteX268" fmla="*/ 296257 w 437350"/>
                <a:gd name="connsiteY268" fmla="*/ 218438 h 686333"/>
                <a:gd name="connsiteX269" fmla="*/ 290885 w 437350"/>
                <a:gd name="connsiteY269" fmla="*/ 221143 h 686333"/>
                <a:gd name="connsiteX270" fmla="*/ 284789 w 437350"/>
                <a:gd name="connsiteY270" fmla="*/ 221791 h 686333"/>
                <a:gd name="connsiteX271" fmla="*/ 279550 w 437350"/>
                <a:gd name="connsiteY271" fmla="*/ 224782 h 686333"/>
                <a:gd name="connsiteX272" fmla="*/ 276674 w 437350"/>
                <a:gd name="connsiteY272" fmla="*/ 229992 h 686333"/>
                <a:gd name="connsiteX273" fmla="*/ 273654 w 437350"/>
                <a:gd name="connsiteY273" fmla="*/ 235126 h 68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Lst>
              <a:rect l="l" t="t" r="r" b="b"/>
              <a:pathLst>
                <a:path w="437350" h="686333">
                  <a:moveTo>
                    <a:pt x="437084" y="686239"/>
                  </a:moveTo>
                  <a:lnTo>
                    <a:pt x="431179" y="684954"/>
                  </a:lnTo>
                  <a:lnTo>
                    <a:pt x="437084" y="686239"/>
                  </a:lnTo>
                  <a:close/>
                  <a:moveTo>
                    <a:pt x="73124" y="352274"/>
                  </a:moveTo>
                  <a:lnTo>
                    <a:pt x="77705" y="348349"/>
                  </a:lnTo>
                  <a:lnTo>
                    <a:pt x="83211" y="344711"/>
                  </a:lnTo>
                  <a:lnTo>
                    <a:pt x="91174" y="341568"/>
                  </a:lnTo>
                  <a:lnTo>
                    <a:pt x="96955" y="339767"/>
                  </a:lnTo>
                  <a:lnTo>
                    <a:pt x="103090" y="340653"/>
                  </a:lnTo>
                  <a:lnTo>
                    <a:pt x="109081" y="339643"/>
                  </a:lnTo>
                  <a:lnTo>
                    <a:pt x="115529" y="339920"/>
                  </a:lnTo>
                  <a:lnTo>
                    <a:pt x="120463" y="335548"/>
                  </a:lnTo>
                  <a:lnTo>
                    <a:pt x="125416" y="331443"/>
                  </a:lnTo>
                  <a:lnTo>
                    <a:pt x="132274" y="330652"/>
                  </a:lnTo>
                  <a:lnTo>
                    <a:pt x="139475" y="329985"/>
                  </a:lnTo>
                  <a:lnTo>
                    <a:pt x="145466" y="331404"/>
                  </a:lnTo>
                  <a:lnTo>
                    <a:pt x="151743" y="331947"/>
                  </a:lnTo>
                  <a:lnTo>
                    <a:pt x="157116" y="329242"/>
                  </a:lnTo>
                  <a:lnTo>
                    <a:pt x="163821" y="329405"/>
                  </a:lnTo>
                  <a:lnTo>
                    <a:pt x="169965" y="330357"/>
                  </a:lnTo>
                  <a:lnTo>
                    <a:pt x="176051" y="331824"/>
                  </a:lnTo>
                  <a:lnTo>
                    <a:pt x="182080" y="334195"/>
                  </a:lnTo>
                  <a:lnTo>
                    <a:pt x="188224" y="334967"/>
                  </a:lnTo>
                  <a:lnTo>
                    <a:pt x="190777" y="329442"/>
                  </a:lnTo>
                  <a:lnTo>
                    <a:pt x="197539" y="328176"/>
                  </a:lnTo>
                  <a:lnTo>
                    <a:pt x="203579" y="330281"/>
                  </a:lnTo>
                  <a:lnTo>
                    <a:pt x="207360" y="325194"/>
                  </a:lnTo>
                  <a:lnTo>
                    <a:pt x="213065" y="321660"/>
                  </a:lnTo>
                  <a:lnTo>
                    <a:pt x="219304" y="321318"/>
                  </a:lnTo>
                  <a:lnTo>
                    <a:pt x="225924" y="322670"/>
                  </a:lnTo>
                  <a:lnTo>
                    <a:pt x="231744" y="321108"/>
                  </a:lnTo>
                  <a:lnTo>
                    <a:pt x="237401" y="318774"/>
                  </a:lnTo>
                  <a:lnTo>
                    <a:pt x="243069" y="315698"/>
                  </a:lnTo>
                  <a:lnTo>
                    <a:pt x="248127" y="312364"/>
                  </a:lnTo>
                  <a:lnTo>
                    <a:pt x="253499" y="308878"/>
                  </a:lnTo>
                  <a:lnTo>
                    <a:pt x="258490" y="305049"/>
                  </a:lnTo>
                  <a:lnTo>
                    <a:pt x="263662" y="302001"/>
                  </a:lnTo>
                  <a:lnTo>
                    <a:pt x="268358" y="297734"/>
                  </a:lnTo>
                  <a:lnTo>
                    <a:pt x="273206" y="294067"/>
                  </a:lnTo>
                  <a:lnTo>
                    <a:pt x="277959" y="290323"/>
                  </a:lnTo>
                  <a:lnTo>
                    <a:pt x="282760" y="286142"/>
                  </a:lnTo>
                  <a:lnTo>
                    <a:pt x="287036" y="281750"/>
                  </a:lnTo>
                  <a:lnTo>
                    <a:pt x="291609" y="277150"/>
                  </a:lnTo>
                  <a:lnTo>
                    <a:pt x="295647" y="272721"/>
                  </a:lnTo>
                  <a:lnTo>
                    <a:pt x="299715" y="268330"/>
                  </a:lnTo>
                  <a:lnTo>
                    <a:pt x="304277" y="264025"/>
                  </a:lnTo>
                  <a:lnTo>
                    <a:pt x="308801" y="260148"/>
                  </a:lnTo>
                  <a:lnTo>
                    <a:pt x="313783" y="256862"/>
                  </a:lnTo>
                  <a:lnTo>
                    <a:pt x="318069" y="252595"/>
                  </a:lnTo>
                  <a:lnTo>
                    <a:pt x="322422" y="247718"/>
                  </a:lnTo>
                  <a:lnTo>
                    <a:pt x="326241" y="242841"/>
                  </a:lnTo>
                  <a:lnTo>
                    <a:pt x="329756" y="237955"/>
                  </a:lnTo>
                  <a:lnTo>
                    <a:pt x="333347" y="232535"/>
                  </a:lnTo>
                  <a:lnTo>
                    <a:pt x="336729" y="227592"/>
                  </a:lnTo>
                  <a:lnTo>
                    <a:pt x="339777" y="222095"/>
                  </a:lnTo>
                  <a:lnTo>
                    <a:pt x="343425" y="217219"/>
                  </a:lnTo>
                  <a:lnTo>
                    <a:pt x="346063" y="211733"/>
                  </a:lnTo>
                  <a:lnTo>
                    <a:pt x="349739" y="206313"/>
                  </a:lnTo>
                  <a:lnTo>
                    <a:pt x="353178" y="201360"/>
                  </a:lnTo>
                  <a:lnTo>
                    <a:pt x="357808" y="196635"/>
                  </a:lnTo>
                  <a:lnTo>
                    <a:pt x="362084" y="192216"/>
                  </a:lnTo>
                  <a:lnTo>
                    <a:pt x="366818" y="188577"/>
                  </a:lnTo>
                  <a:lnTo>
                    <a:pt x="372295" y="185748"/>
                  </a:lnTo>
                  <a:lnTo>
                    <a:pt x="376838" y="181319"/>
                  </a:lnTo>
                  <a:lnTo>
                    <a:pt x="380962" y="176966"/>
                  </a:lnTo>
                  <a:lnTo>
                    <a:pt x="382896" y="170918"/>
                  </a:lnTo>
                  <a:lnTo>
                    <a:pt x="385849" y="164155"/>
                  </a:lnTo>
                  <a:lnTo>
                    <a:pt x="386944" y="158059"/>
                  </a:lnTo>
                  <a:lnTo>
                    <a:pt x="388745" y="151963"/>
                  </a:lnTo>
                  <a:lnTo>
                    <a:pt x="390954" y="145858"/>
                  </a:lnTo>
                  <a:lnTo>
                    <a:pt x="393412" y="139761"/>
                  </a:lnTo>
                  <a:lnTo>
                    <a:pt x="395383" y="133665"/>
                  </a:lnTo>
                  <a:lnTo>
                    <a:pt x="389992" y="131056"/>
                  </a:lnTo>
                  <a:lnTo>
                    <a:pt x="383963" y="130989"/>
                  </a:lnTo>
                  <a:lnTo>
                    <a:pt x="378010" y="130608"/>
                  </a:lnTo>
                  <a:lnTo>
                    <a:pt x="373800" y="135418"/>
                  </a:lnTo>
                  <a:lnTo>
                    <a:pt x="373133" y="141590"/>
                  </a:lnTo>
                  <a:lnTo>
                    <a:pt x="366990" y="143543"/>
                  </a:lnTo>
                  <a:lnTo>
                    <a:pt x="360989" y="143362"/>
                  </a:lnTo>
                  <a:lnTo>
                    <a:pt x="355169" y="141095"/>
                  </a:lnTo>
                  <a:lnTo>
                    <a:pt x="350854" y="136971"/>
                  </a:lnTo>
                  <a:lnTo>
                    <a:pt x="348711" y="131389"/>
                  </a:lnTo>
                  <a:lnTo>
                    <a:pt x="345682" y="126245"/>
                  </a:lnTo>
                  <a:lnTo>
                    <a:pt x="346415" y="120245"/>
                  </a:lnTo>
                  <a:lnTo>
                    <a:pt x="349749" y="115092"/>
                  </a:lnTo>
                  <a:lnTo>
                    <a:pt x="352987" y="110100"/>
                  </a:lnTo>
                  <a:lnTo>
                    <a:pt x="355502" y="104653"/>
                  </a:lnTo>
                  <a:lnTo>
                    <a:pt x="360065" y="100118"/>
                  </a:lnTo>
                  <a:lnTo>
                    <a:pt x="365913" y="101395"/>
                  </a:lnTo>
                  <a:lnTo>
                    <a:pt x="370885" y="105281"/>
                  </a:lnTo>
                  <a:lnTo>
                    <a:pt x="375343" y="101338"/>
                  </a:lnTo>
                  <a:lnTo>
                    <a:pt x="377134" y="95489"/>
                  </a:lnTo>
                  <a:lnTo>
                    <a:pt x="378010" y="89136"/>
                  </a:lnTo>
                  <a:lnTo>
                    <a:pt x="378848" y="83040"/>
                  </a:lnTo>
                  <a:lnTo>
                    <a:pt x="378791" y="76934"/>
                  </a:lnTo>
                  <a:lnTo>
                    <a:pt x="378724" y="70839"/>
                  </a:lnTo>
                  <a:lnTo>
                    <a:pt x="379277" y="64743"/>
                  </a:lnTo>
                  <a:lnTo>
                    <a:pt x="378334" y="58637"/>
                  </a:lnTo>
                  <a:lnTo>
                    <a:pt x="377086" y="52541"/>
                  </a:lnTo>
                  <a:lnTo>
                    <a:pt x="373943" y="47483"/>
                  </a:lnTo>
                  <a:lnTo>
                    <a:pt x="372819" y="41569"/>
                  </a:lnTo>
                  <a:lnTo>
                    <a:pt x="369732" y="36139"/>
                  </a:lnTo>
                  <a:lnTo>
                    <a:pt x="370199" y="29367"/>
                  </a:lnTo>
                  <a:lnTo>
                    <a:pt x="368989" y="23375"/>
                  </a:lnTo>
                  <a:lnTo>
                    <a:pt x="367513" y="17261"/>
                  </a:lnTo>
                  <a:lnTo>
                    <a:pt x="366018" y="11069"/>
                  </a:lnTo>
                  <a:lnTo>
                    <a:pt x="362818" y="6040"/>
                  </a:lnTo>
                  <a:lnTo>
                    <a:pt x="357007" y="4688"/>
                  </a:lnTo>
                  <a:lnTo>
                    <a:pt x="351035" y="4716"/>
                  </a:lnTo>
                  <a:lnTo>
                    <a:pt x="345063" y="4878"/>
                  </a:lnTo>
                  <a:lnTo>
                    <a:pt x="339100" y="4154"/>
                  </a:lnTo>
                  <a:lnTo>
                    <a:pt x="333461" y="2240"/>
                  </a:lnTo>
                  <a:lnTo>
                    <a:pt x="327775" y="-94"/>
                  </a:lnTo>
                  <a:lnTo>
                    <a:pt x="321889" y="877"/>
                  </a:lnTo>
                  <a:lnTo>
                    <a:pt x="315936" y="1297"/>
                  </a:lnTo>
                  <a:lnTo>
                    <a:pt x="310068" y="2316"/>
                  </a:lnTo>
                  <a:lnTo>
                    <a:pt x="307772" y="7821"/>
                  </a:lnTo>
                  <a:lnTo>
                    <a:pt x="302248" y="10164"/>
                  </a:lnTo>
                  <a:lnTo>
                    <a:pt x="296571" y="12003"/>
                  </a:lnTo>
                  <a:lnTo>
                    <a:pt x="290846" y="13917"/>
                  </a:lnTo>
                  <a:lnTo>
                    <a:pt x="286875" y="18385"/>
                  </a:lnTo>
                  <a:lnTo>
                    <a:pt x="282664" y="22719"/>
                  </a:lnTo>
                  <a:lnTo>
                    <a:pt x="279159" y="27681"/>
                  </a:lnTo>
                  <a:lnTo>
                    <a:pt x="274006" y="30834"/>
                  </a:lnTo>
                  <a:lnTo>
                    <a:pt x="269796" y="35034"/>
                  </a:lnTo>
                  <a:lnTo>
                    <a:pt x="264281" y="37378"/>
                  </a:lnTo>
                  <a:lnTo>
                    <a:pt x="260709" y="42178"/>
                  </a:lnTo>
                  <a:lnTo>
                    <a:pt x="257242" y="47331"/>
                  </a:lnTo>
                  <a:lnTo>
                    <a:pt x="255947" y="53150"/>
                  </a:lnTo>
                  <a:lnTo>
                    <a:pt x="254661" y="58970"/>
                  </a:lnTo>
                  <a:lnTo>
                    <a:pt x="249718" y="62305"/>
                  </a:lnTo>
                  <a:lnTo>
                    <a:pt x="245355" y="67181"/>
                  </a:lnTo>
                  <a:lnTo>
                    <a:pt x="240002" y="70001"/>
                  </a:lnTo>
                  <a:lnTo>
                    <a:pt x="234154" y="71448"/>
                  </a:lnTo>
                  <a:lnTo>
                    <a:pt x="230496" y="76325"/>
                  </a:lnTo>
                  <a:lnTo>
                    <a:pt x="228172" y="81821"/>
                  </a:lnTo>
                  <a:lnTo>
                    <a:pt x="225505" y="87308"/>
                  </a:lnTo>
                  <a:lnTo>
                    <a:pt x="223800" y="93261"/>
                  </a:lnTo>
                  <a:lnTo>
                    <a:pt x="220323" y="98099"/>
                  </a:lnTo>
                  <a:lnTo>
                    <a:pt x="214866" y="100499"/>
                  </a:lnTo>
                  <a:lnTo>
                    <a:pt x="208979" y="99528"/>
                  </a:lnTo>
                  <a:lnTo>
                    <a:pt x="203426" y="101919"/>
                  </a:lnTo>
                  <a:lnTo>
                    <a:pt x="197378" y="100871"/>
                  </a:lnTo>
                  <a:lnTo>
                    <a:pt x="191358" y="99632"/>
                  </a:lnTo>
                  <a:lnTo>
                    <a:pt x="185967" y="96918"/>
                  </a:lnTo>
                  <a:lnTo>
                    <a:pt x="180023" y="95118"/>
                  </a:lnTo>
                  <a:lnTo>
                    <a:pt x="175908" y="90784"/>
                  </a:lnTo>
                  <a:lnTo>
                    <a:pt x="171346" y="86945"/>
                  </a:lnTo>
                  <a:lnTo>
                    <a:pt x="165345" y="86859"/>
                  </a:lnTo>
                  <a:lnTo>
                    <a:pt x="159639" y="88631"/>
                  </a:lnTo>
                  <a:lnTo>
                    <a:pt x="156230" y="93642"/>
                  </a:lnTo>
                  <a:lnTo>
                    <a:pt x="154515" y="99423"/>
                  </a:lnTo>
                  <a:lnTo>
                    <a:pt x="152534" y="105414"/>
                  </a:lnTo>
                  <a:lnTo>
                    <a:pt x="149553" y="110691"/>
                  </a:lnTo>
                  <a:lnTo>
                    <a:pt x="144400" y="113692"/>
                  </a:lnTo>
                  <a:lnTo>
                    <a:pt x="139523" y="117759"/>
                  </a:lnTo>
                  <a:lnTo>
                    <a:pt x="136389" y="122855"/>
                  </a:lnTo>
                  <a:lnTo>
                    <a:pt x="131103" y="125645"/>
                  </a:lnTo>
                  <a:lnTo>
                    <a:pt x="127159" y="130199"/>
                  </a:lnTo>
                  <a:lnTo>
                    <a:pt x="121130" y="130484"/>
                  </a:lnTo>
                  <a:lnTo>
                    <a:pt x="114977" y="130560"/>
                  </a:lnTo>
                  <a:lnTo>
                    <a:pt x="109081" y="129598"/>
                  </a:lnTo>
                  <a:lnTo>
                    <a:pt x="103299" y="131084"/>
                  </a:lnTo>
                  <a:lnTo>
                    <a:pt x="100585" y="125769"/>
                  </a:lnTo>
                  <a:lnTo>
                    <a:pt x="100823" y="119749"/>
                  </a:lnTo>
                  <a:lnTo>
                    <a:pt x="104452" y="115025"/>
                  </a:lnTo>
                  <a:lnTo>
                    <a:pt x="106680" y="109491"/>
                  </a:lnTo>
                  <a:lnTo>
                    <a:pt x="106271" y="103528"/>
                  </a:lnTo>
                  <a:lnTo>
                    <a:pt x="103338" y="98337"/>
                  </a:lnTo>
                  <a:lnTo>
                    <a:pt x="102595" y="92394"/>
                  </a:lnTo>
                  <a:lnTo>
                    <a:pt x="100127" y="86955"/>
                  </a:lnTo>
                  <a:lnTo>
                    <a:pt x="97680" y="81525"/>
                  </a:lnTo>
                  <a:lnTo>
                    <a:pt x="93822" y="76954"/>
                  </a:lnTo>
                  <a:lnTo>
                    <a:pt x="88812" y="73639"/>
                  </a:lnTo>
                  <a:lnTo>
                    <a:pt x="87812" y="79992"/>
                  </a:lnTo>
                  <a:lnTo>
                    <a:pt x="87516" y="86088"/>
                  </a:lnTo>
                  <a:lnTo>
                    <a:pt x="87230" y="92184"/>
                  </a:lnTo>
                  <a:lnTo>
                    <a:pt x="86954" y="98290"/>
                  </a:lnTo>
                  <a:lnTo>
                    <a:pt x="86659" y="104319"/>
                  </a:lnTo>
                  <a:lnTo>
                    <a:pt x="86364" y="110482"/>
                  </a:lnTo>
                  <a:lnTo>
                    <a:pt x="86087" y="116587"/>
                  </a:lnTo>
                  <a:lnTo>
                    <a:pt x="85792" y="122683"/>
                  </a:lnTo>
                  <a:lnTo>
                    <a:pt x="85516" y="128779"/>
                  </a:lnTo>
                  <a:lnTo>
                    <a:pt x="85231" y="134885"/>
                  </a:lnTo>
                  <a:lnTo>
                    <a:pt x="84954" y="140981"/>
                  </a:lnTo>
                  <a:lnTo>
                    <a:pt x="84659" y="147077"/>
                  </a:lnTo>
                  <a:lnTo>
                    <a:pt x="84383" y="153182"/>
                  </a:lnTo>
                  <a:lnTo>
                    <a:pt x="84097" y="159278"/>
                  </a:lnTo>
                  <a:lnTo>
                    <a:pt x="83811" y="165374"/>
                  </a:lnTo>
                  <a:lnTo>
                    <a:pt x="83525" y="171365"/>
                  </a:lnTo>
                  <a:lnTo>
                    <a:pt x="79525" y="175776"/>
                  </a:lnTo>
                  <a:lnTo>
                    <a:pt x="73686" y="177014"/>
                  </a:lnTo>
                  <a:lnTo>
                    <a:pt x="70295" y="182129"/>
                  </a:lnTo>
                  <a:lnTo>
                    <a:pt x="64780" y="184891"/>
                  </a:lnTo>
                  <a:lnTo>
                    <a:pt x="60684" y="189253"/>
                  </a:lnTo>
                  <a:lnTo>
                    <a:pt x="55370" y="186158"/>
                  </a:lnTo>
                  <a:lnTo>
                    <a:pt x="49416" y="186243"/>
                  </a:lnTo>
                  <a:lnTo>
                    <a:pt x="43292" y="187015"/>
                  </a:lnTo>
                  <a:lnTo>
                    <a:pt x="36920" y="186853"/>
                  </a:lnTo>
                  <a:lnTo>
                    <a:pt x="31786" y="183767"/>
                  </a:lnTo>
                  <a:lnTo>
                    <a:pt x="25804" y="183672"/>
                  </a:lnTo>
                  <a:lnTo>
                    <a:pt x="21461" y="179567"/>
                  </a:lnTo>
                  <a:lnTo>
                    <a:pt x="21298" y="173309"/>
                  </a:lnTo>
                  <a:lnTo>
                    <a:pt x="16803" y="169394"/>
                  </a:lnTo>
                  <a:lnTo>
                    <a:pt x="14145" y="163774"/>
                  </a:lnTo>
                  <a:lnTo>
                    <a:pt x="8983" y="166737"/>
                  </a:lnTo>
                  <a:lnTo>
                    <a:pt x="6497" y="172147"/>
                  </a:lnTo>
                  <a:lnTo>
                    <a:pt x="2211" y="176499"/>
                  </a:lnTo>
                  <a:lnTo>
                    <a:pt x="-266" y="181967"/>
                  </a:lnTo>
                  <a:lnTo>
                    <a:pt x="2496" y="187329"/>
                  </a:lnTo>
                  <a:lnTo>
                    <a:pt x="6163" y="192683"/>
                  </a:lnTo>
                  <a:lnTo>
                    <a:pt x="7859" y="198750"/>
                  </a:lnTo>
                  <a:lnTo>
                    <a:pt x="9840" y="204407"/>
                  </a:lnTo>
                  <a:lnTo>
                    <a:pt x="11326" y="210514"/>
                  </a:lnTo>
                  <a:lnTo>
                    <a:pt x="13107" y="216276"/>
                  </a:lnTo>
                  <a:lnTo>
                    <a:pt x="14383" y="222391"/>
                  </a:lnTo>
                  <a:lnTo>
                    <a:pt x="16069" y="228201"/>
                  </a:lnTo>
                  <a:lnTo>
                    <a:pt x="18822" y="233688"/>
                  </a:lnTo>
                  <a:lnTo>
                    <a:pt x="21432" y="239174"/>
                  </a:lnTo>
                  <a:lnTo>
                    <a:pt x="23642" y="244908"/>
                  </a:lnTo>
                  <a:lnTo>
                    <a:pt x="26471" y="250499"/>
                  </a:lnTo>
                  <a:lnTo>
                    <a:pt x="29757" y="256253"/>
                  </a:lnTo>
                  <a:lnTo>
                    <a:pt x="33452" y="261129"/>
                  </a:lnTo>
                  <a:lnTo>
                    <a:pt x="35996" y="266625"/>
                  </a:lnTo>
                  <a:lnTo>
                    <a:pt x="37186" y="273331"/>
                  </a:lnTo>
                  <a:lnTo>
                    <a:pt x="37919" y="279436"/>
                  </a:lnTo>
                  <a:lnTo>
                    <a:pt x="37663" y="285389"/>
                  </a:lnTo>
                  <a:lnTo>
                    <a:pt x="35872" y="291171"/>
                  </a:lnTo>
                  <a:lnTo>
                    <a:pt x="30366" y="295133"/>
                  </a:lnTo>
                  <a:lnTo>
                    <a:pt x="26013" y="299515"/>
                  </a:lnTo>
                  <a:lnTo>
                    <a:pt x="28337" y="305049"/>
                  </a:lnTo>
                  <a:lnTo>
                    <a:pt x="31709" y="310535"/>
                  </a:lnTo>
                  <a:lnTo>
                    <a:pt x="35291" y="315412"/>
                  </a:lnTo>
                  <a:lnTo>
                    <a:pt x="37996" y="322127"/>
                  </a:lnTo>
                  <a:lnTo>
                    <a:pt x="36167" y="327880"/>
                  </a:lnTo>
                  <a:lnTo>
                    <a:pt x="34910" y="333709"/>
                  </a:lnTo>
                  <a:lnTo>
                    <a:pt x="37596" y="339043"/>
                  </a:lnTo>
                  <a:lnTo>
                    <a:pt x="37424" y="333062"/>
                  </a:lnTo>
                  <a:lnTo>
                    <a:pt x="43225" y="331138"/>
                  </a:lnTo>
                  <a:lnTo>
                    <a:pt x="47235" y="335548"/>
                  </a:lnTo>
                  <a:lnTo>
                    <a:pt x="52283" y="339006"/>
                  </a:lnTo>
                  <a:lnTo>
                    <a:pt x="58084" y="341978"/>
                  </a:lnTo>
                  <a:lnTo>
                    <a:pt x="60561" y="347454"/>
                  </a:lnTo>
                  <a:lnTo>
                    <a:pt x="66352" y="350302"/>
                  </a:lnTo>
                  <a:lnTo>
                    <a:pt x="72934" y="352245"/>
                  </a:lnTo>
                  <a:close/>
                  <a:moveTo>
                    <a:pt x="273397" y="236831"/>
                  </a:moveTo>
                  <a:lnTo>
                    <a:pt x="267710" y="235088"/>
                  </a:lnTo>
                  <a:lnTo>
                    <a:pt x="262462" y="232249"/>
                  </a:lnTo>
                  <a:lnTo>
                    <a:pt x="259100" y="227325"/>
                  </a:lnTo>
                  <a:lnTo>
                    <a:pt x="256157" y="222134"/>
                  </a:lnTo>
                  <a:lnTo>
                    <a:pt x="253480" y="216781"/>
                  </a:lnTo>
                  <a:lnTo>
                    <a:pt x="251537" y="211123"/>
                  </a:lnTo>
                  <a:lnTo>
                    <a:pt x="254242" y="205808"/>
                  </a:lnTo>
                  <a:lnTo>
                    <a:pt x="258900" y="202084"/>
                  </a:lnTo>
                  <a:lnTo>
                    <a:pt x="262824" y="197417"/>
                  </a:lnTo>
                  <a:lnTo>
                    <a:pt x="266091" y="192444"/>
                  </a:lnTo>
                  <a:lnTo>
                    <a:pt x="270025" y="187958"/>
                  </a:lnTo>
                  <a:lnTo>
                    <a:pt x="275635" y="185958"/>
                  </a:lnTo>
                  <a:lnTo>
                    <a:pt x="280255" y="181948"/>
                  </a:lnTo>
                  <a:lnTo>
                    <a:pt x="285846" y="179443"/>
                  </a:lnTo>
                  <a:lnTo>
                    <a:pt x="291846" y="179404"/>
                  </a:lnTo>
                  <a:lnTo>
                    <a:pt x="295943" y="184024"/>
                  </a:lnTo>
                  <a:lnTo>
                    <a:pt x="300143" y="188253"/>
                  </a:lnTo>
                  <a:lnTo>
                    <a:pt x="304191" y="192644"/>
                  </a:lnTo>
                  <a:lnTo>
                    <a:pt x="307791" y="197483"/>
                  </a:lnTo>
                  <a:lnTo>
                    <a:pt x="306086" y="203188"/>
                  </a:lnTo>
                  <a:lnTo>
                    <a:pt x="302715" y="208103"/>
                  </a:lnTo>
                  <a:lnTo>
                    <a:pt x="299752" y="213561"/>
                  </a:lnTo>
                  <a:lnTo>
                    <a:pt x="296257" y="218438"/>
                  </a:lnTo>
                  <a:lnTo>
                    <a:pt x="290885" y="221143"/>
                  </a:lnTo>
                  <a:lnTo>
                    <a:pt x="284789" y="221791"/>
                  </a:lnTo>
                  <a:lnTo>
                    <a:pt x="279550" y="224782"/>
                  </a:lnTo>
                  <a:lnTo>
                    <a:pt x="276674" y="229992"/>
                  </a:lnTo>
                  <a:lnTo>
                    <a:pt x="273654" y="235126"/>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46" name="Freeform: Shape 45">
              <a:extLst>
                <a:ext uri="{FF2B5EF4-FFF2-40B4-BE49-F238E27FC236}">
                  <a16:creationId xmlns:a16="http://schemas.microsoft.com/office/drawing/2014/main" id="{6BFCE690-B973-A7C1-CB04-F762CC5114D3}"/>
                </a:ext>
              </a:extLst>
            </p:cNvPr>
            <p:cNvSpPr/>
            <p:nvPr/>
          </p:nvSpPr>
          <p:spPr>
            <a:xfrm>
              <a:off x="3734435" y="1096892"/>
              <a:ext cx="416095" cy="342738"/>
            </a:xfrm>
            <a:custGeom>
              <a:avLst/>
              <a:gdLst>
                <a:gd name="connsiteX0" fmla="*/ 121968 w 145999"/>
                <a:gd name="connsiteY0" fmla="*/ 120083 h 120176"/>
                <a:gd name="connsiteX1" fmla="*/ 127588 w 145999"/>
                <a:gd name="connsiteY1" fmla="*/ 118092 h 120176"/>
                <a:gd name="connsiteX2" fmla="*/ 133427 w 145999"/>
                <a:gd name="connsiteY2" fmla="*/ 116340 h 120176"/>
                <a:gd name="connsiteX3" fmla="*/ 139809 w 145999"/>
                <a:gd name="connsiteY3" fmla="*/ 116768 h 120176"/>
                <a:gd name="connsiteX4" fmla="*/ 145733 w 145999"/>
                <a:gd name="connsiteY4" fmla="*/ 117492 h 120176"/>
                <a:gd name="connsiteX5" fmla="*/ 145648 w 145999"/>
                <a:gd name="connsiteY5" fmla="*/ 111406 h 120176"/>
                <a:gd name="connsiteX6" fmla="*/ 145638 w 145999"/>
                <a:gd name="connsiteY6" fmla="*/ 105309 h 120176"/>
                <a:gd name="connsiteX7" fmla="*/ 145314 w 145999"/>
                <a:gd name="connsiteY7" fmla="*/ 98699 h 120176"/>
                <a:gd name="connsiteX8" fmla="*/ 142447 w 145999"/>
                <a:gd name="connsiteY8" fmla="*/ 93060 h 120176"/>
                <a:gd name="connsiteX9" fmla="*/ 136361 w 145999"/>
                <a:gd name="connsiteY9" fmla="*/ 91851 h 120176"/>
                <a:gd name="connsiteX10" fmla="*/ 133036 w 145999"/>
                <a:gd name="connsiteY10" fmla="*/ 86774 h 120176"/>
                <a:gd name="connsiteX11" fmla="*/ 129569 w 145999"/>
                <a:gd name="connsiteY11" fmla="*/ 81030 h 120176"/>
                <a:gd name="connsiteX12" fmla="*/ 133084 w 145999"/>
                <a:gd name="connsiteY12" fmla="*/ 75392 h 120176"/>
                <a:gd name="connsiteX13" fmla="*/ 132093 w 145999"/>
                <a:gd name="connsiteY13" fmla="*/ 68962 h 120176"/>
                <a:gd name="connsiteX14" fmla="*/ 128988 w 145999"/>
                <a:gd name="connsiteY14" fmla="*/ 63638 h 120176"/>
                <a:gd name="connsiteX15" fmla="*/ 126283 w 145999"/>
                <a:gd name="connsiteY15" fmla="*/ 58075 h 120176"/>
                <a:gd name="connsiteX16" fmla="*/ 125779 w 145999"/>
                <a:gd name="connsiteY16" fmla="*/ 52065 h 120176"/>
                <a:gd name="connsiteX17" fmla="*/ 120549 w 145999"/>
                <a:gd name="connsiteY17" fmla="*/ 48484 h 120176"/>
                <a:gd name="connsiteX18" fmla="*/ 116882 w 145999"/>
                <a:gd name="connsiteY18" fmla="*/ 43235 h 120176"/>
                <a:gd name="connsiteX19" fmla="*/ 111957 w 145999"/>
                <a:gd name="connsiteY19" fmla="*/ 39530 h 120176"/>
                <a:gd name="connsiteX20" fmla="*/ 108691 w 145999"/>
                <a:gd name="connsiteY20" fmla="*/ 34520 h 120176"/>
                <a:gd name="connsiteX21" fmla="*/ 105109 w 145999"/>
                <a:gd name="connsiteY21" fmla="*/ 29634 h 120176"/>
                <a:gd name="connsiteX22" fmla="*/ 100346 w 145999"/>
                <a:gd name="connsiteY22" fmla="*/ 24252 h 120176"/>
                <a:gd name="connsiteX23" fmla="*/ 98632 w 145999"/>
                <a:gd name="connsiteY23" fmla="*/ 18365 h 120176"/>
                <a:gd name="connsiteX24" fmla="*/ 93622 w 145999"/>
                <a:gd name="connsiteY24" fmla="*/ 14060 h 120176"/>
                <a:gd name="connsiteX25" fmla="*/ 87459 w 145999"/>
                <a:gd name="connsiteY25" fmla="*/ 14184 h 120176"/>
                <a:gd name="connsiteX26" fmla="*/ 83449 w 145999"/>
                <a:gd name="connsiteY26" fmla="*/ 9345 h 120176"/>
                <a:gd name="connsiteX27" fmla="*/ 79563 w 145999"/>
                <a:gd name="connsiteY27" fmla="*/ 4659 h 120176"/>
                <a:gd name="connsiteX28" fmla="*/ 75249 w 145999"/>
                <a:gd name="connsiteY28" fmla="*/ 11 h 120176"/>
                <a:gd name="connsiteX29" fmla="*/ 68552 w 145999"/>
                <a:gd name="connsiteY29" fmla="*/ 639 h 120176"/>
                <a:gd name="connsiteX30" fmla="*/ 62237 w 145999"/>
                <a:gd name="connsiteY30" fmla="*/ 116 h 120176"/>
                <a:gd name="connsiteX31" fmla="*/ 55893 w 145999"/>
                <a:gd name="connsiteY31" fmla="*/ -94 h 120176"/>
                <a:gd name="connsiteX32" fmla="*/ 49902 w 145999"/>
                <a:gd name="connsiteY32" fmla="*/ 2287 h 120176"/>
                <a:gd name="connsiteX33" fmla="*/ 43549 w 145999"/>
                <a:gd name="connsiteY33" fmla="*/ 3202 h 120176"/>
                <a:gd name="connsiteX34" fmla="*/ 37663 w 145999"/>
                <a:gd name="connsiteY34" fmla="*/ 4154 h 120176"/>
                <a:gd name="connsiteX35" fmla="*/ 31681 w 145999"/>
                <a:gd name="connsiteY35" fmla="*/ 3249 h 120176"/>
                <a:gd name="connsiteX36" fmla="*/ 26490 w 145999"/>
                <a:gd name="connsiteY36" fmla="*/ 6449 h 120176"/>
                <a:gd name="connsiteX37" fmla="*/ 23433 w 145999"/>
                <a:gd name="connsiteY37" fmla="*/ 11822 h 120176"/>
                <a:gd name="connsiteX38" fmla="*/ 21308 w 145999"/>
                <a:gd name="connsiteY38" fmla="*/ 17765 h 120176"/>
                <a:gd name="connsiteX39" fmla="*/ 19661 w 145999"/>
                <a:gd name="connsiteY39" fmla="*/ 25871 h 120176"/>
                <a:gd name="connsiteX40" fmla="*/ 15850 w 145999"/>
                <a:gd name="connsiteY40" fmla="*/ 32519 h 120176"/>
                <a:gd name="connsiteX41" fmla="*/ 11859 w 145999"/>
                <a:gd name="connsiteY41" fmla="*/ 39159 h 120176"/>
                <a:gd name="connsiteX42" fmla="*/ 7192 w 145999"/>
                <a:gd name="connsiteY42" fmla="*/ 45331 h 120176"/>
                <a:gd name="connsiteX43" fmla="*/ -266 w 145999"/>
                <a:gd name="connsiteY43" fmla="*/ 51084 h 120176"/>
                <a:gd name="connsiteX44" fmla="*/ 4763 w 145999"/>
                <a:gd name="connsiteY44" fmla="*/ 56618 h 120176"/>
                <a:gd name="connsiteX45" fmla="*/ 9240 w 145999"/>
                <a:gd name="connsiteY45" fmla="*/ 62180 h 120176"/>
                <a:gd name="connsiteX46" fmla="*/ 11497 w 145999"/>
                <a:gd name="connsiteY46" fmla="*/ 67734 h 120176"/>
                <a:gd name="connsiteX47" fmla="*/ 13878 w 145999"/>
                <a:gd name="connsiteY47" fmla="*/ 73277 h 120176"/>
                <a:gd name="connsiteX48" fmla="*/ 18127 w 145999"/>
                <a:gd name="connsiteY48" fmla="*/ 77782 h 120176"/>
                <a:gd name="connsiteX49" fmla="*/ 18784 w 145999"/>
                <a:gd name="connsiteY49" fmla="*/ 84393 h 120176"/>
                <a:gd name="connsiteX50" fmla="*/ 42406 w 145999"/>
                <a:gd name="connsiteY50" fmla="*/ 84640 h 120176"/>
                <a:gd name="connsiteX51" fmla="*/ 47092 w 145999"/>
                <a:gd name="connsiteY51" fmla="*/ 80630 h 120176"/>
                <a:gd name="connsiteX52" fmla="*/ 53855 w 145999"/>
                <a:gd name="connsiteY52" fmla="*/ 79201 h 120176"/>
                <a:gd name="connsiteX53" fmla="*/ 59799 w 145999"/>
                <a:gd name="connsiteY53" fmla="*/ 78830 h 120176"/>
                <a:gd name="connsiteX54" fmla="*/ 64266 w 145999"/>
                <a:gd name="connsiteY54" fmla="*/ 84059 h 120176"/>
                <a:gd name="connsiteX55" fmla="*/ 70315 w 145999"/>
                <a:gd name="connsiteY55" fmla="*/ 86193 h 120176"/>
                <a:gd name="connsiteX56" fmla="*/ 77135 w 145999"/>
                <a:gd name="connsiteY56" fmla="*/ 86698 h 120176"/>
                <a:gd name="connsiteX57" fmla="*/ 84431 w 145999"/>
                <a:gd name="connsiteY57" fmla="*/ 85545 h 120176"/>
                <a:gd name="connsiteX58" fmla="*/ 85288 w 145999"/>
                <a:gd name="connsiteY58" fmla="*/ 92032 h 120176"/>
                <a:gd name="connsiteX59" fmla="*/ 79068 w 145999"/>
                <a:gd name="connsiteY59" fmla="*/ 93108 h 120176"/>
                <a:gd name="connsiteX60" fmla="*/ 72991 w 145999"/>
                <a:gd name="connsiteY60" fmla="*/ 94670 h 120176"/>
                <a:gd name="connsiteX61" fmla="*/ 67638 w 145999"/>
                <a:gd name="connsiteY61" fmla="*/ 91089 h 120176"/>
                <a:gd name="connsiteX62" fmla="*/ 61837 w 145999"/>
                <a:gd name="connsiteY62" fmla="*/ 89441 h 120176"/>
                <a:gd name="connsiteX63" fmla="*/ 55627 w 145999"/>
                <a:gd name="connsiteY63" fmla="*/ 85679 h 120176"/>
                <a:gd name="connsiteX64" fmla="*/ 51102 w 145999"/>
                <a:gd name="connsiteY64" fmla="*/ 89898 h 120176"/>
                <a:gd name="connsiteX65" fmla="*/ 45045 w 145999"/>
                <a:gd name="connsiteY65" fmla="*/ 90079 h 120176"/>
                <a:gd name="connsiteX66" fmla="*/ 39148 w 145999"/>
                <a:gd name="connsiteY66" fmla="*/ 91336 h 120176"/>
                <a:gd name="connsiteX67" fmla="*/ 15564 w 145999"/>
                <a:gd name="connsiteY67" fmla="*/ 96366 h 120176"/>
                <a:gd name="connsiteX68" fmla="*/ 13088 w 145999"/>
                <a:gd name="connsiteY68" fmla="*/ 106519 h 120176"/>
                <a:gd name="connsiteX69" fmla="*/ 13288 w 145999"/>
                <a:gd name="connsiteY69" fmla="*/ 112834 h 120176"/>
                <a:gd name="connsiteX70" fmla="*/ 14393 w 145999"/>
                <a:gd name="connsiteY70" fmla="*/ 119388 h 120176"/>
                <a:gd name="connsiteX71" fmla="*/ 20937 w 145999"/>
                <a:gd name="connsiteY71" fmla="*/ 118721 h 120176"/>
                <a:gd name="connsiteX72" fmla="*/ 27157 w 145999"/>
                <a:gd name="connsiteY72" fmla="*/ 116006 h 120176"/>
                <a:gd name="connsiteX73" fmla="*/ 33310 w 145999"/>
                <a:gd name="connsiteY73" fmla="*/ 116520 h 120176"/>
                <a:gd name="connsiteX74" fmla="*/ 39977 w 145999"/>
                <a:gd name="connsiteY74" fmla="*/ 117016 h 120176"/>
                <a:gd name="connsiteX75" fmla="*/ 45311 w 145999"/>
                <a:gd name="connsiteY75" fmla="*/ 114358 h 120176"/>
                <a:gd name="connsiteX76" fmla="*/ 50893 w 145999"/>
                <a:gd name="connsiteY76" fmla="*/ 110596 h 120176"/>
                <a:gd name="connsiteX77" fmla="*/ 59361 w 145999"/>
                <a:gd name="connsiteY77" fmla="*/ 110005 h 120176"/>
                <a:gd name="connsiteX78" fmla="*/ 80097 w 145999"/>
                <a:gd name="connsiteY78" fmla="*/ 110015 h 120176"/>
                <a:gd name="connsiteX79" fmla="*/ 94393 w 145999"/>
                <a:gd name="connsiteY79" fmla="*/ 110101 h 120176"/>
                <a:gd name="connsiteX80" fmla="*/ 100413 w 145999"/>
                <a:gd name="connsiteY80" fmla="*/ 110748 h 120176"/>
                <a:gd name="connsiteX81" fmla="*/ 104576 w 145999"/>
                <a:gd name="connsiteY81" fmla="*/ 115101 h 120176"/>
                <a:gd name="connsiteX82" fmla="*/ 110834 w 145999"/>
                <a:gd name="connsiteY82" fmla="*/ 115539 h 120176"/>
                <a:gd name="connsiteX83" fmla="*/ 116520 w 145999"/>
                <a:gd name="connsiteY83" fmla="*/ 117463 h 120176"/>
                <a:gd name="connsiteX84" fmla="*/ 121968 w 145999"/>
                <a:gd name="connsiteY84" fmla="*/ 120083 h 12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45999" h="120176">
                  <a:moveTo>
                    <a:pt x="121968" y="120083"/>
                  </a:moveTo>
                  <a:lnTo>
                    <a:pt x="127588" y="118092"/>
                  </a:lnTo>
                  <a:lnTo>
                    <a:pt x="133427" y="116340"/>
                  </a:lnTo>
                  <a:lnTo>
                    <a:pt x="139809" y="116768"/>
                  </a:lnTo>
                  <a:lnTo>
                    <a:pt x="145733" y="117492"/>
                  </a:lnTo>
                  <a:lnTo>
                    <a:pt x="145648" y="111406"/>
                  </a:lnTo>
                  <a:lnTo>
                    <a:pt x="145638" y="105309"/>
                  </a:lnTo>
                  <a:lnTo>
                    <a:pt x="145314" y="98699"/>
                  </a:lnTo>
                  <a:lnTo>
                    <a:pt x="142447" y="93060"/>
                  </a:lnTo>
                  <a:lnTo>
                    <a:pt x="136361" y="91851"/>
                  </a:lnTo>
                  <a:lnTo>
                    <a:pt x="133036" y="86774"/>
                  </a:lnTo>
                  <a:lnTo>
                    <a:pt x="129569" y="81030"/>
                  </a:lnTo>
                  <a:lnTo>
                    <a:pt x="133084" y="75392"/>
                  </a:lnTo>
                  <a:lnTo>
                    <a:pt x="132093" y="68962"/>
                  </a:lnTo>
                  <a:lnTo>
                    <a:pt x="128988" y="63638"/>
                  </a:lnTo>
                  <a:lnTo>
                    <a:pt x="126283" y="58075"/>
                  </a:lnTo>
                  <a:lnTo>
                    <a:pt x="125779" y="52065"/>
                  </a:lnTo>
                  <a:lnTo>
                    <a:pt x="120549" y="48484"/>
                  </a:lnTo>
                  <a:lnTo>
                    <a:pt x="116882" y="43235"/>
                  </a:lnTo>
                  <a:lnTo>
                    <a:pt x="111957" y="39530"/>
                  </a:lnTo>
                  <a:lnTo>
                    <a:pt x="108691" y="34520"/>
                  </a:lnTo>
                  <a:lnTo>
                    <a:pt x="105109" y="29634"/>
                  </a:lnTo>
                  <a:lnTo>
                    <a:pt x="100346" y="24252"/>
                  </a:lnTo>
                  <a:lnTo>
                    <a:pt x="98632" y="18365"/>
                  </a:lnTo>
                  <a:lnTo>
                    <a:pt x="93622" y="14060"/>
                  </a:lnTo>
                  <a:lnTo>
                    <a:pt x="87459" y="14184"/>
                  </a:lnTo>
                  <a:lnTo>
                    <a:pt x="83449" y="9345"/>
                  </a:lnTo>
                  <a:lnTo>
                    <a:pt x="79563" y="4659"/>
                  </a:lnTo>
                  <a:lnTo>
                    <a:pt x="75249" y="11"/>
                  </a:lnTo>
                  <a:lnTo>
                    <a:pt x="68552" y="639"/>
                  </a:lnTo>
                  <a:lnTo>
                    <a:pt x="62237" y="116"/>
                  </a:lnTo>
                  <a:lnTo>
                    <a:pt x="55893" y="-94"/>
                  </a:lnTo>
                  <a:lnTo>
                    <a:pt x="49902" y="2287"/>
                  </a:lnTo>
                  <a:lnTo>
                    <a:pt x="43549" y="3202"/>
                  </a:lnTo>
                  <a:lnTo>
                    <a:pt x="37663" y="4154"/>
                  </a:lnTo>
                  <a:lnTo>
                    <a:pt x="31681" y="3249"/>
                  </a:lnTo>
                  <a:lnTo>
                    <a:pt x="26490" y="6449"/>
                  </a:lnTo>
                  <a:lnTo>
                    <a:pt x="23433" y="11822"/>
                  </a:lnTo>
                  <a:lnTo>
                    <a:pt x="21308" y="17765"/>
                  </a:lnTo>
                  <a:lnTo>
                    <a:pt x="19661" y="25871"/>
                  </a:lnTo>
                  <a:lnTo>
                    <a:pt x="15850" y="32519"/>
                  </a:lnTo>
                  <a:lnTo>
                    <a:pt x="11859" y="39159"/>
                  </a:lnTo>
                  <a:lnTo>
                    <a:pt x="7192" y="45331"/>
                  </a:lnTo>
                  <a:lnTo>
                    <a:pt x="-266" y="51084"/>
                  </a:lnTo>
                  <a:lnTo>
                    <a:pt x="4763" y="56618"/>
                  </a:lnTo>
                  <a:lnTo>
                    <a:pt x="9240" y="62180"/>
                  </a:lnTo>
                  <a:lnTo>
                    <a:pt x="11497" y="67734"/>
                  </a:lnTo>
                  <a:lnTo>
                    <a:pt x="13878" y="73277"/>
                  </a:lnTo>
                  <a:lnTo>
                    <a:pt x="18127" y="77782"/>
                  </a:lnTo>
                  <a:lnTo>
                    <a:pt x="18784" y="84393"/>
                  </a:lnTo>
                  <a:lnTo>
                    <a:pt x="42406" y="84640"/>
                  </a:lnTo>
                  <a:lnTo>
                    <a:pt x="47092" y="80630"/>
                  </a:lnTo>
                  <a:lnTo>
                    <a:pt x="53855" y="79201"/>
                  </a:lnTo>
                  <a:lnTo>
                    <a:pt x="59799" y="78830"/>
                  </a:lnTo>
                  <a:lnTo>
                    <a:pt x="64266" y="84059"/>
                  </a:lnTo>
                  <a:lnTo>
                    <a:pt x="70315" y="86193"/>
                  </a:lnTo>
                  <a:lnTo>
                    <a:pt x="77135" y="86698"/>
                  </a:lnTo>
                  <a:lnTo>
                    <a:pt x="84431" y="85545"/>
                  </a:lnTo>
                  <a:lnTo>
                    <a:pt x="85288" y="92032"/>
                  </a:lnTo>
                  <a:lnTo>
                    <a:pt x="79068" y="93108"/>
                  </a:lnTo>
                  <a:lnTo>
                    <a:pt x="72991" y="94670"/>
                  </a:lnTo>
                  <a:lnTo>
                    <a:pt x="67638" y="91089"/>
                  </a:lnTo>
                  <a:lnTo>
                    <a:pt x="61837" y="89441"/>
                  </a:lnTo>
                  <a:lnTo>
                    <a:pt x="55627" y="85679"/>
                  </a:lnTo>
                  <a:lnTo>
                    <a:pt x="51102" y="89898"/>
                  </a:lnTo>
                  <a:lnTo>
                    <a:pt x="45045" y="90079"/>
                  </a:lnTo>
                  <a:lnTo>
                    <a:pt x="39148" y="91336"/>
                  </a:lnTo>
                  <a:lnTo>
                    <a:pt x="15564" y="96366"/>
                  </a:lnTo>
                  <a:lnTo>
                    <a:pt x="13088" y="106519"/>
                  </a:lnTo>
                  <a:lnTo>
                    <a:pt x="13288" y="112834"/>
                  </a:lnTo>
                  <a:lnTo>
                    <a:pt x="14393" y="119388"/>
                  </a:lnTo>
                  <a:lnTo>
                    <a:pt x="20937" y="118721"/>
                  </a:lnTo>
                  <a:lnTo>
                    <a:pt x="27157" y="116006"/>
                  </a:lnTo>
                  <a:lnTo>
                    <a:pt x="33310" y="116520"/>
                  </a:lnTo>
                  <a:lnTo>
                    <a:pt x="39977" y="117016"/>
                  </a:lnTo>
                  <a:lnTo>
                    <a:pt x="45311" y="114358"/>
                  </a:lnTo>
                  <a:lnTo>
                    <a:pt x="50893" y="110596"/>
                  </a:lnTo>
                  <a:lnTo>
                    <a:pt x="59361" y="110005"/>
                  </a:lnTo>
                  <a:lnTo>
                    <a:pt x="80097" y="110015"/>
                  </a:lnTo>
                  <a:lnTo>
                    <a:pt x="94393" y="110101"/>
                  </a:lnTo>
                  <a:lnTo>
                    <a:pt x="100413" y="110748"/>
                  </a:lnTo>
                  <a:lnTo>
                    <a:pt x="104576" y="115101"/>
                  </a:lnTo>
                  <a:lnTo>
                    <a:pt x="110834" y="115539"/>
                  </a:lnTo>
                  <a:lnTo>
                    <a:pt x="116520" y="117463"/>
                  </a:lnTo>
                  <a:lnTo>
                    <a:pt x="121968" y="120083"/>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47" name="Freeform: Shape 46">
              <a:extLst>
                <a:ext uri="{FF2B5EF4-FFF2-40B4-BE49-F238E27FC236}">
                  <a16:creationId xmlns:a16="http://schemas.microsoft.com/office/drawing/2014/main" id="{4625955C-3ADB-5273-C9C4-20E5D8B8C570}"/>
                </a:ext>
              </a:extLst>
            </p:cNvPr>
            <p:cNvSpPr/>
            <p:nvPr/>
          </p:nvSpPr>
          <p:spPr>
            <a:xfrm>
              <a:off x="4017054" y="1622861"/>
              <a:ext cx="209132" cy="243695"/>
            </a:xfrm>
            <a:custGeom>
              <a:avLst/>
              <a:gdLst>
                <a:gd name="connsiteX0" fmla="*/ 43006 w 73380"/>
                <a:gd name="connsiteY0" fmla="*/ 85355 h 85448"/>
                <a:gd name="connsiteX1" fmla="*/ 46940 w 73380"/>
                <a:gd name="connsiteY1" fmla="*/ 80602 h 85448"/>
                <a:gd name="connsiteX2" fmla="*/ 50769 w 73380"/>
                <a:gd name="connsiteY2" fmla="*/ 75820 h 85448"/>
                <a:gd name="connsiteX3" fmla="*/ 54474 w 73380"/>
                <a:gd name="connsiteY3" fmla="*/ 71077 h 85448"/>
                <a:gd name="connsiteX4" fmla="*/ 59627 w 73380"/>
                <a:gd name="connsiteY4" fmla="*/ 67552 h 85448"/>
                <a:gd name="connsiteX5" fmla="*/ 63723 w 73380"/>
                <a:gd name="connsiteY5" fmla="*/ 62285 h 85448"/>
                <a:gd name="connsiteX6" fmla="*/ 65209 w 73380"/>
                <a:gd name="connsiteY6" fmla="*/ 54294 h 85448"/>
                <a:gd name="connsiteX7" fmla="*/ 70381 w 73380"/>
                <a:gd name="connsiteY7" fmla="*/ 51322 h 85448"/>
                <a:gd name="connsiteX8" fmla="*/ 73114 w 73380"/>
                <a:gd name="connsiteY8" fmla="*/ 45978 h 85448"/>
                <a:gd name="connsiteX9" fmla="*/ 66466 w 73380"/>
                <a:gd name="connsiteY9" fmla="*/ 46931 h 85448"/>
                <a:gd name="connsiteX10" fmla="*/ 65028 w 73380"/>
                <a:gd name="connsiteY10" fmla="*/ 40378 h 85448"/>
                <a:gd name="connsiteX11" fmla="*/ 67780 w 73380"/>
                <a:gd name="connsiteY11" fmla="*/ 35015 h 85448"/>
                <a:gd name="connsiteX12" fmla="*/ 65752 w 73380"/>
                <a:gd name="connsiteY12" fmla="*/ 28852 h 85448"/>
                <a:gd name="connsiteX13" fmla="*/ 62637 w 73380"/>
                <a:gd name="connsiteY13" fmla="*/ 23499 h 85448"/>
                <a:gd name="connsiteX14" fmla="*/ 62304 w 73380"/>
                <a:gd name="connsiteY14" fmla="*/ 17127 h 85448"/>
                <a:gd name="connsiteX15" fmla="*/ 58961 w 73380"/>
                <a:gd name="connsiteY15" fmla="*/ 12003 h 85448"/>
                <a:gd name="connsiteX16" fmla="*/ 55922 w 73380"/>
                <a:gd name="connsiteY16" fmla="*/ 6792 h 85448"/>
                <a:gd name="connsiteX17" fmla="*/ 51502 w 73380"/>
                <a:gd name="connsiteY17" fmla="*/ 992 h 85448"/>
                <a:gd name="connsiteX18" fmla="*/ 33605 w 73380"/>
                <a:gd name="connsiteY18" fmla="*/ -94 h 85448"/>
                <a:gd name="connsiteX19" fmla="*/ 27909 w 73380"/>
                <a:gd name="connsiteY19" fmla="*/ 3506 h 85448"/>
                <a:gd name="connsiteX20" fmla="*/ 20137 w 73380"/>
                <a:gd name="connsiteY20" fmla="*/ 3230 h 85448"/>
                <a:gd name="connsiteX21" fmla="*/ 16774 w 73380"/>
                <a:gd name="connsiteY21" fmla="*/ 9412 h 85448"/>
                <a:gd name="connsiteX22" fmla="*/ 14107 w 73380"/>
                <a:gd name="connsiteY22" fmla="*/ 14898 h 85448"/>
                <a:gd name="connsiteX23" fmla="*/ 9859 w 73380"/>
                <a:gd name="connsiteY23" fmla="*/ 19861 h 85448"/>
                <a:gd name="connsiteX24" fmla="*/ 5859 w 73380"/>
                <a:gd name="connsiteY24" fmla="*/ 24642 h 85448"/>
                <a:gd name="connsiteX25" fmla="*/ -133 w 73380"/>
                <a:gd name="connsiteY25" fmla="*/ 25652 h 85448"/>
                <a:gd name="connsiteX26" fmla="*/ -38 w 73380"/>
                <a:gd name="connsiteY26" fmla="*/ 32501 h 85448"/>
                <a:gd name="connsiteX27" fmla="*/ 1334 w 73380"/>
                <a:gd name="connsiteY27" fmla="*/ 40111 h 85448"/>
                <a:gd name="connsiteX28" fmla="*/ 4840 w 73380"/>
                <a:gd name="connsiteY28" fmla="*/ 44921 h 85448"/>
                <a:gd name="connsiteX29" fmla="*/ -266 w 73380"/>
                <a:gd name="connsiteY29" fmla="*/ 41721 h 85448"/>
                <a:gd name="connsiteX30" fmla="*/ 1325 w 73380"/>
                <a:gd name="connsiteY30" fmla="*/ 47483 h 85448"/>
                <a:gd name="connsiteX31" fmla="*/ 7011 w 73380"/>
                <a:gd name="connsiteY31" fmla="*/ 50760 h 85448"/>
                <a:gd name="connsiteX32" fmla="*/ 8573 w 73380"/>
                <a:gd name="connsiteY32" fmla="*/ 56523 h 85448"/>
                <a:gd name="connsiteX33" fmla="*/ 11030 w 73380"/>
                <a:gd name="connsiteY33" fmla="*/ 62085 h 85448"/>
                <a:gd name="connsiteX34" fmla="*/ 17117 w 73380"/>
                <a:gd name="connsiteY34" fmla="*/ 63209 h 85448"/>
                <a:gd name="connsiteX35" fmla="*/ 20794 w 73380"/>
                <a:gd name="connsiteY35" fmla="*/ 67991 h 85448"/>
                <a:gd name="connsiteX36" fmla="*/ 22927 w 73380"/>
                <a:gd name="connsiteY36" fmla="*/ 74134 h 85448"/>
                <a:gd name="connsiteX37" fmla="*/ 31624 w 73380"/>
                <a:gd name="connsiteY37" fmla="*/ 77935 h 85448"/>
                <a:gd name="connsiteX38" fmla="*/ 36939 w 73380"/>
                <a:gd name="connsiteY38" fmla="*/ 80802 h 85448"/>
                <a:gd name="connsiteX39" fmla="*/ 43006 w 73380"/>
                <a:gd name="connsiteY39" fmla="*/ 85355 h 85448"/>
                <a:gd name="connsiteX40" fmla="*/ 16679 w 73380"/>
                <a:gd name="connsiteY40" fmla="*/ 72420 h 85448"/>
                <a:gd name="connsiteX41" fmla="*/ 16488 w 73380"/>
                <a:gd name="connsiteY41" fmla="*/ 66143 h 85448"/>
                <a:gd name="connsiteX42" fmla="*/ 9611 w 73380"/>
                <a:gd name="connsiteY42" fmla="*/ 66143 h 85448"/>
                <a:gd name="connsiteX43" fmla="*/ 16012 w 73380"/>
                <a:gd name="connsiteY43" fmla="*/ 70562 h 85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3380" h="85448">
                  <a:moveTo>
                    <a:pt x="43006" y="85355"/>
                  </a:moveTo>
                  <a:lnTo>
                    <a:pt x="46940" y="80602"/>
                  </a:lnTo>
                  <a:lnTo>
                    <a:pt x="50769" y="75820"/>
                  </a:lnTo>
                  <a:lnTo>
                    <a:pt x="54474" y="71077"/>
                  </a:lnTo>
                  <a:lnTo>
                    <a:pt x="59627" y="67552"/>
                  </a:lnTo>
                  <a:lnTo>
                    <a:pt x="63723" y="62285"/>
                  </a:lnTo>
                  <a:lnTo>
                    <a:pt x="65209" y="54294"/>
                  </a:lnTo>
                  <a:lnTo>
                    <a:pt x="70381" y="51322"/>
                  </a:lnTo>
                  <a:lnTo>
                    <a:pt x="73114" y="45978"/>
                  </a:lnTo>
                  <a:lnTo>
                    <a:pt x="66466" y="46931"/>
                  </a:lnTo>
                  <a:lnTo>
                    <a:pt x="65028" y="40378"/>
                  </a:lnTo>
                  <a:lnTo>
                    <a:pt x="67780" y="35015"/>
                  </a:lnTo>
                  <a:lnTo>
                    <a:pt x="65752" y="28852"/>
                  </a:lnTo>
                  <a:lnTo>
                    <a:pt x="62637" y="23499"/>
                  </a:lnTo>
                  <a:lnTo>
                    <a:pt x="62304" y="17127"/>
                  </a:lnTo>
                  <a:lnTo>
                    <a:pt x="58961" y="12003"/>
                  </a:lnTo>
                  <a:lnTo>
                    <a:pt x="55922" y="6792"/>
                  </a:lnTo>
                  <a:lnTo>
                    <a:pt x="51502" y="992"/>
                  </a:lnTo>
                  <a:lnTo>
                    <a:pt x="33605" y="-94"/>
                  </a:lnTo>
                  <a:lnTo>
                    <a:pt x="27909" y="3506"/>
                  </a:lnTo>
                  <a:lnTo>
                    <a:pt x="20137" y="3230"/>
                  </a:lnTo>
                  <a:lnTo>
                    <a:pt x="16774" y="9412"/>
                  </a:lnTo>
                  <a:lnTo>
                    <a:pt x="14107" y="14898"/>
                  </a:lnTo>
                  <a:lnTo>
                    <a:pt x="9859" y="19861"/>
                  </a:lnTo>
                  <a:lnTo>
                    <a:pt x="5859" y="24642"/>
                  </a:lnTo>
                  <a:lnTo>
                    <a:pt x="-133" y="25652"/>
                  </a:lnTo>
                  <a:lnTo>
                    <a:pt x="-38" y="32501"/>
                  </a:lnTo>
                  <a:lnTo>
                    <a:pt x="1334" y="40111"/>
                  </a:lnTo>
                  <a:lnTo>
                    <a:pt x="4840" y="44921"/>
                  </a:lnTo>
                  <a:lnTo>
                    <a:pt x="-266" y="41721"/>
                  </a:lnTo>
                  <a:lnTo>
                    <a:pt x="1325" y="47483"/>
                  </a:lnTo>
                  <a:lnTo>
                    <a:pt x="7011" y="50760"/>
                  </a:lnTo>
                  <a:lnTo>
                    <a:pt x="8573" y="56523"/>
                  </a:lnTo>
                  <a:lnTo>
                    <a:pt x="11030" y="62085"/>
                  </a:lnTo>
                  <a:lnTo>
                    <a:pt x="17117" y="63209"/>
                  </a:lnTo>
                  <a:lnTo>
                    <a:pt x="20794" y="67991"/>
                  </a:lnTo>
                  <a:lnTo>
                    <a:pt x="22927" y="74134"/>
                  </a:lnTo>
                  <a:lnTo>
                    <a:pt x="31624" y="77935"/>
                  </a:lnTo>
                  <a:lnTo>
                    <a:pt x="36939" y="80802"/>
                  </a:lnTo>
                  <a:lnTo>
                    <a:pt x="43006" y="85355"/>
                  </a:lnTo>
                  <a:close/>
                  <a:moveTo>
                    <a:pt x="16679" y="72420"/>
                  </a:moveTo>
                  <a:lnTo>
                    <a:pt x="16488" y="66143"/>
                  </a:lnTo>
                  <a:lnTo>
                    <a:pt x="9611" y="66143"/>
                  </a:lnTo>
                  <a:lnTo>
                    <a:pt x="16012" y="70562"/>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48" name="Freeform: Shape 47">
              <a:extLst>
                <a:ext uri="{FF2B5EF4-FFF2-40B4-BE49-F238E27FC236}">
                  <a16:creationId xmlns:a16="http://schemas.microsoft.com/office/drawing/2014/main" id="{CD1C65C0-0019-4861-FBD5-F39A18C7F8C9}"/>
                </a:ext>
              </a:extLst>
            </p:cNvPr>
            <p:cNvSpPr/>
            <p:nvPr/>
          </p:nvSpPr>
          <p:spPr>
            <a:xfrm>
              <a:off x="7856978" y="1465492"/>
              <a:ext cx="720456" cy="1080569"/>
            </a:xfrm>
            <a:custGeom>
              <a:avLst/>
              <a:gdLst>
                <a:gd name="connsiteX0" fmla="*/ 14241 w 252793"/>
                <a:gd name="connsiteY0" fmla="*/ 378791 h 378885"/>
                <a:gd name="connsiteX1" fmla="*/ 18736 w 252793"/>
                <a:gd name="connsiteY1" fmla="*/ 371524 h 378885"/>
                <a:gd name="connsiteX2" fmla="*/ 22566 w 252793"/>
                <a:gd name="connsiteY2" fmla="*/ 366361 h 378885"/>
                <a:gd name="connsiteX3" fmla="*/ 25432 w 252793"/>
                <a:gd name="connsiteY3" fmla="*/ 360427 h 378885"/>
                <a:gd name="connsiteX4" fmla="*/ 29157 w 252793"/>
                <a:gd name="connsiteY4" fmla="*/ 355769 h 378885"/>
                <a:gd name="connsiteX5" fmla="*/ 33758 w 252793"/>
                <a:gd name="connsiteY5" fmla="*/ 349340 h 378885"/>
                <a:gd name="connsiteX6" fmla="*/ 37758 w 252793"/>
                <a:gd name="connsiteY6" fmla="*/ 344273 h 378885"/>
                <a:gd name="connsiteX7" fmla="*/ 47836 w 252793"/>
                <a:gd name="connsiteY7" fmla="*/ 332662 h 378885"/>
                <a:gd name="connsiteX8" fmla="*/ 52351 w 252793"/>
                <a:gd name="connsiteY8" fmla="*/ 327109 h 378885"/>
                <a:gd name="connsiteX9" fmla="*/ 56779 w 252793"/>
                <a:gd name="connsiteY9" fmla="*/ 321575 h 378885"/>
                <a:gd name="connsiteX10" fmla="*/ 61333 w 252793"/>
                <a:gd name="connsiteY10" fmla="*/ 316041 h 378885"/>
                <a:gd name="connsiteX11" fmla="*/ 66571 w 252793"/>
                <a:gd name="connsiteY11" fmla="*/ 310459 h 378885"/>
                <a:gd name="connsiteX12" fmla="*/ 72524 w 252793"/>
                <a:gd name="connsiteY12" fmla="*/ 304963 h 378885"/>
                <a:gd name="connsiteX13" fmla="*/ 78297 w 252793"/>
                <a:gd name="connsiteY13" fmla="*/ 299353 h 378885"/>
                <a:gd name="connsiteX14" fmla="*/ 83745 w 252793"/>
                <a:gd name="connsiteY14" fmla="*/ 293809 h 378885"/>
                <a:gd name="connsiteX15" fmla="*/ 89879 w 252793"/>
                <a:gd name="connsiteY15" fmla="*/ 288295 h 378885"/>
                <a:gd name="connsiteX16" fmla="*/ 97489 w 252793"/>
                <a:gd name="connsiteY16" fmla="*/ 282713 h 378885"/>
                <a:gd name="connsiteX17" fmla="*/ 106662 w 252793"/>
                <a:gd name="connsiteY17" fmla="*/ 277141 h 378885"/>
                <a:gd name="connsiteX18" fmla="*/ 115311 w 252793"/>
                <a:gd name="connsiteY18" fmla="*/ 271597 h 378885"/>
                <a:gd name="connsiteX19" fmla="*/ 123578 w 252793"/>
                <a:gd name="connsiteY19" fmla="*/ 266044 h 378885"/>
                <a:gd name="connsiteX20" fmla="*/ 128636 w 252793"/>
                <a:gd name="connsiteY20" fmla="*/ 260491 h 378885"/>
                <a:gd name="connsiteX21" fmla="*/ 133256 w 252793"/>
                <a:gd name="connsiteY21" fmla="*/ 254947 h 378885"/>
                <a:gd name="connsiteX22" fmla="*/ 139047 w 252793"/>
                <a:gd name="connsiteY22" fmla="*/ 249394 h 378885"/>
                <a:gd name="connsiteX23" fmla="*/ 143943 w 252793"/>
                <a:gd name="connsiteY23" fmla="*/ 243841 h 378885"/>
                <a:gd name="connsiteX24" fmla="*/ 148077 w 252793"/>
                <a:gd name="connsiteY24" fmla="*/ 238307 h 378885"/>
                <a:gd name="connsiteX25" fmla="*/ 152772 w 252793"/>
                <a:gd name="connsiteY25" fmla="*/ 232745 h 378885"/>
                <a:gd name="connsiteX26" fmla="*/ 157497 w 252793"/>
                <a:gd name="connsiteY26" fmla="*/ 227220 h 378885"/>
                <a:gd name="connsiteX27" fmla="*/ 161983 w 252793"/>
                <a:gd name="connsiteY27" fmla="*/ 221638 h 378885"/>
                <a:gd name="connsiteX28" fmla="*/ 166345 w 252793"/>
                <a:gd name="connsiteY28" fmla="*/ 216085 h 378885"/>
                <a:gd name="connsiteX29" fmla="*/ 172470 w 252793"/>
                <a:gd name="connsiteY29" fmla="*/ 208456 h 378885"/>
                <a:gd name="connsiteX30" fmla="*/ 177176 w 252793"/>
                <a:gd name="connsiteY30" fmla="*/ 199426 h 378885"/>
                <a:gd name="connsiteX31" fmla="*/ 179985 w 252793"/>
                <a:gd name="connsiteY31" fmla="*/ 193873 h 378885"/>
                <a:gd name="connsiteX32" fmla="*/ 186386 w 252793"/>
                <a:gd name="connsiteY32" fmla="*/ 183843 h 378885"/>
                <a:gd name="connsiteX33" fmla="*/ 190672 w 252793"/>
                <a:gd name="connsiteY33" fmla="*/ 176518 h 378885"/>
                <a:gd name="connsiteX34" fmla="*/ 196197 w 252793"/>
                <a:gd name="connsiteY34" fmla="*/ 166127 h 378885"/>
                <a:gd name="connsiteX35" fmla="*/ 198359 w 252793"/>
                <a:gd name="connsiteY35" fmla="*/ 160564 h 378885"/>
                <a:gd name="connsiteX36" fmla="*/ 200645 w 252793"/>
                <a:gd name="connsiteY36" fmla="*/ 149468 h 378885"/>
                <a:gd name="connsiteX37" fmla="*/ 205607 w 252793"/>
                <a:gd name="connsiteY37" fmla="*/ 138352 h 378885"/>
                <a:gd name="connsiteX38" fmla="*/ 208789 w 252793"/>
                <a:gd name="connsiteY38" fmla="*/ 132818 h 378885"/>
                <a:gd name="connsiteX39" fmla="*/ 212227 w 252793"/>
                <a:gd name="connsiteY39" fmla="*/ 127265 h 378885"/>
                <a:gd name="connsiteX40" fmla="*/ 216466 w 252793"/>
                <a:gd name="connsiteY40" fmla="*/ 117654 h 378885"/>
                <a:gd name="connsiteX41" fmla="*/ 217847 w 252793"/>
                <a:gd name="connsiteY41" fmla="*/ 110615 h 378885"/>
                <a:gd name="connsiteX42" fmla="*/ 223638 w 252793"/>
                <a:gd name="connsiteY42" fmla="*/ 105052 h 378885"/>
                <a:gd name="connsiteX43" fmla="*/ 228049 w 252793"/>
                <a:gd name="connsiteY43" fmla="*/ 96204 h 378885"/>
                <a:gd name="connsiteX44" fmla="*/ 230058 w 252793"/>
                <a:gd name="connsiteY44" fmla="*/ 88688 h 378885"/>
                <a:gd name="connsiteX45" fmla="*/ 233735 w 252793"/>
                <a:gd name="connsiteY45" fmla="*/ 82850 h 378885"/>
                <a:gd name="connsiteX46" fmla="*/ 239726 w 252793"/>
                <a:gd name="connsiteY46" fmla="*/ 71743 h 378885"/>
                <a:gd name="connsiteX47" fmla="*/ 240040 w 252793"/>
                <a:gd name="connsiteY47" fmla="*/ 60628 h 378885"/>
                <a:gd name="connsiteX48" fmla="*/ 241117 w 252793"/>
                <a:gd name="connsiteY48" fmla="*/ 49550 h 378885"/>
                <a:gd name="connsiteX49" fmla="*/ 244755 w 252793"/>
                <a:gd name="connsiteY49" fmla="*/ 43978 h 378885"/>
                <a:gd name="connsiteX50" fmla="*/ 252528 w 252793"/>
                <a:gd name="connsiteY50" fmla="*/ 44978 h 378885"/>
                <a:gd name="connsiteX51" fmla="*/ 247556 w 252793"/>
                <a:gd name="connsiteY51" fmla="*/ 39768 h 378885"/>
                <a:gd name="connsiteX52" fmla="*/ 245822 w 252793"/>
                <a:gd name="connsiteY52" fmla="*/ 32910 h 378885"/>
                <a:gd name="connsiteX53" fmla="*/ 246708 w 252793"/>
                <a:gd name="connsiteY53" fmla="*/ 23347 h 378885"/>
                <a:gd name="connsiteX54" fmla="*/ 244613 w 252793"/>
                <a:gd name="connsiteY54" fmla="*/ 16232 h 378885"/>
                <a:gd name="connsiteX55" fmla="*/ 247784 w 252793"/>
                <a:gd name="connsiteY55" fmla="*/ 8478 h 378885"/>
                <a:gd name="connsiteX56" fmla="*/ 242612 w 252793"/>
                <a:gd name="connsiteY56" fmla="*/ 3097 h 378885"/>
                <a:gd name="connsiteX57" fmla="*/ 235897 w 252793"/>
                <a:gd name="connsiteY57" fmla="*/ -94 h 378885"/>
                <a:gd name="connsiteX58" fmla="*/ 230154 w 252793"/>
                <a:gd name="connsiteY58" fmla="*/ 2735 h 378885"/>
                <a:gd name="connsiteX59" fmla="*/ 227829 w 252793"/>
                <a:gd name="connsiteY59" fmla="*/ 8240 h 378885"/>
                <a:gd name="connsiteX60" fmla="*/ 218714 w 252793"/>
                <a:gd name="connsiteY60" fmla="*/ 13251 h 378885"/>
                <a:gd name="connsiteX61" fmla="*/ 212723 w 252793"/>
                <a:gd name="connsiteY61" fmla="*/ 14546 h 378885"/>
                <a:gd name="connsiteX62" fmla="*/ 206417 w 252793"/>
                <a:gd name="connsiteY62" fmla="*/ 14736 h 378885"/>
                <a:gd name="connsiteX63" fmla="*/ 199940 w 252793"/>
                <a:gd name="connsiteY63" fmla="*/ 17994 h 378885"/>
                <a:gd name="connsiteX64" fmla="*/ 192530 w 252793"/>
                <a:gd name="connsiteY64" fmla="*/ 20385 h 378885"/>
                <a:gd name="connsiteX65" fmla="*/ 184033 w 252793"/>
                <a:gd name="connsiteY65" fmla="*/ 18280 h 378885"/>
                <a:gd name="connsiteX66" fmla="*/ 177585 w 252793"/>
                <a:gd name="connsiteY66" fmla="*/ 19451 h 378885"/>
                <a:gd name="connsiteX67" fmla="*/ 171432 w 252793"/>
                <a:gd name="connsiteY67" fmla="*/ 23814 h 378885"/>
                <a:gd name="connsiteX68" fmla="*/ 162973 w 252793"/>
                <a:gd name="connsiteY68" fmla="*/ 23928 h 378885"/>
                <a:gd name="connsiteX69" fmla="*/ 156563 w 252793"/>
                <a:gd name="connsiteY69" fmla="*/ 22318 h 378885"/>
                <a:gd name="connsiteX70" fmla="*/ 147048 w 252793"/>
                <a:gd name="connsiteY70" fmla="*/ 25557 h 378885"/>
                <a:gd name="connsiteX71" fmla="*/ 137904 w 252793"/>
                <a:gd name="connsiteY71" fmla="*/ 32872 h 378885"/>
                <a:gd name="connsiteX72" fmla="*/ 129141 w 252793"/>
                <a:gd name="connsiteY72" fmla="*/ 36139 h 378885"/>
                <a:gd name="connsiteX73" fmla="*/ 120768 w 252793"/>
                <a:gd name="connsiteY73" fmla="*/ 33853 h 378885"/>
                <a:gd name="connsiteX74" fmla="*/ 114034 w 252793"/>
                <a:gd name="connsiteY74" fmla="*/ 30967 h 378885"/>
                <a:gd name="connsiteX75" fmla="*/ 105919 w 252793"/>
                <a:gd name="connsiteY75" fmla="*/ 36577 h 378885"/>
                <a:gd name="connsiteX76" fmla="*/ 100280 w 252793"/>
                <a:gd name="connsiteY76" fmla="*/ 39520 h 378885"/>
                <a:gd name="connsiteX77" fmla="*/ 94622 w 252793"/>
                <a:gd name="connsiteY77" fmla="*/ 42473 h 378885"/>
                <a:gd name="connsiteX78" fmla="*/ 86983 w 252793"/>
                <a:gd name="connsiteY78" fmla="*/ 43768 h 378885"/>
                <a:gd name="connsiteX79" fmla="*/ 80944 w 252793"/>
                <a:gd name="connsiteY79" fmla="*/ 43969 h 378885"/>
                <a:gd name="connsiteX80" fmla="*/ 71543 w 252793"/>
                <a:gd name="connsiteY80" fmla="*/ 38454 h 378885"/>
                <a:gd name="connsiteX81" fmla="*/ 65066 w 252793"/>
                <a:gd name="connsiteY81" fmla="*/ 32891 h 378885"/>
                <a:gd name="connsiteX82" fmla="*/ 60599 w 252793"/>
                <a:gd name="connsiteY82" fmla="*/ 27338 h 378885"/>
                <a:gd name="connsiteX83" fmla="*/ 57036 w 252793"/>
                <a:gd name="connsiteY83" fmla="*/ 21842 h 378885"/>
                <a:gd name="connsiteX84" fmla="*/ 53503 w 252793"/>
                <a:gd name="connsiteY84" fmla="*/ 16622 h 378885"/>
                <a:gd name="connsiteX85" fmla="*/ 47321 w 252793"/>
                <a:gd name="connsiteY85" fmla="*/ 20385 h 378885"/>
                <a:gd name="connsiteX86" fmla="*/ 40558 w 252793"/>
                <a:gd name="connsiteY86" fmla="*/ 32577 h 378885"/>
                <a:gd name="connsiteX87" fmla="*/ 38092 w 252793"/>
                <a:gd name="connsiteY87" fmla="*/ 40263 h 378885"/>
                <a:gd name="connsiteX88" fmla="*/ 41911 w 252793"/>
                <a:gd name="connsiteY88" fmla="*/ 48722 h 378885"/>
                <a:gd name="connsiteX89" fmla="*/ 46645 w 252793"/>
                <a:gd name="connsiteY89" fmla="*/ 54541 h 378885"/>
                <a:gd name="connsiteX90" fmla="*/ 52112 w 252793"/>
                <a:gd name="connsiteY90" fmla="*/ 59437 h 378885"/>
                <a:gd name="connsiteX91" fmla="*/ 53303 w 252793"/>
                <a:gd name="connsiteY91" fmla="*/ 66010 h 378885"/>
                <a:gd name="connsiteX92" fmla="*/ 57989 w 252793"/>
                <a:gd name="connsiteY92" fmla="*/ 71620 h 378885"/>
                <a:gd name="connsiteX93" fmla="*/ 70391 w 252793"/>
                <a:gd name="connsiteY93" fmla="*/ 82107 h 378885"/>
                <a:gd name="connsiteX94" fmla="*/ 85126 w 252793"/>
                <a:gd name="connsiteY94" fmla="*/ 87965 h 378885"/>
                <a:gd name="connsiteX95" fmla="*/ 96127 w 252793"/>
                <a:gd name="connsiteY95" fmla="*/ 92032 h 378885"/>
                <a:gd name="connsiteX96" fmla="*/ 113615 w 252793"/>
                <a:gd name="connsiteY96" fmla="*/ 98452 h 378885"/>
                <a:gd name="connsiteX97" fmla="*/ 131322 w 252793"/>
                <a:gd name="connsiteY97" fmla="*/ 105005 h 378885"/>
                <a:gd name="connsiteX98" fmla="*/ 146019 w 252793"/>
                <a:gd name="connsiteY98" fmla="*/ 110548 h 378885"/>
                <a:gd name="connsiteX99" fmla="*/ 170556 w 252793"/>
                <a:gd name="connsiteY99" fmla="*/ 110605 h 378885"/>
                <a:gd name="connsiteX100" fmla="*/ 160335 w 252793"/>
                <a:gd name="connsiteY100" fmla="*/ 122778 h 378885"/>
                <a:gd name="connsiteX101" fmla="*/ 155030 w 252793"/>
                <a:gd name="connsiteY101" fmla="*/ 127731 h 378885"/>
                <a:gd name="connsiteX102" fmla="*/ 143857 w 252793"/>
                <a:gd name="connsiteY102" fmla="*/ 140914 h 378885"/>
                <a:gd name="connsiteX103" fmla="*/ 138752 w 252793"/>
                <a:gd name="connsiteY103" fmla="*/ 147248 h 378885"/>
                <a:gd name="connsiteX104" fmla="*/ 132627 w 252793"/>
                <a:gd name="connsiteY104" fmla="*/ 154135 h 378885"/>
                <a:gd name="connsiteX105" fmla="*/ 119130 w 252793"/>
                <a:gd name="connsiteY105" fmla="*/ 167241 h 378885"/>
                <a:gd name="connsiteX106" fmla="*/ 110786 w 252793"/>
                <a:gd name="connsiteY106" fmla="*/ 176518 h 378885"/>
                <a:gd name="connsiteX107" fmla="*/ 98766 w 252793"/>
                <a:gd name="connsiteY107" fmla="*/ 195311 h 378885"/>
                <a:gd name="connsiteX108" fmla="*/ 74715 w 252793"/>
                <a:gd name="connsiteY108" fmla="*/ 195445 h 378885"/>
                <a:gd name="connsiteX109" fmla="*/ 62837 w 252793"/>
                <a:gd name="connsiteY109" fmla="*/ 198445 h 378885"/>
                <a:gd name="connsiteX110" fmla="*/ 51160 w 252793"/>
                <a:gd name="connsiteY110" fmla="*/ 204912 h 378885"/>
                <a:gd name="connsiteX111" fmla="*/ 48483 w 252793"/>
                <a:gd name="connsiteY111" fmla="*/ 210447 h 378885"/>
                <a:gd name="connsiteX112" fmla="*/ 36215 w 252793"/>
                <a:gd name="connsiteY112" fmla="*/ 216009 h 378885"/>
                <a:gd name="connsiteX113" fmla="*/ 26442 w 252793"/>
                <a:gd name="connsiteY113" fmla="*/ 216771 h 378885"/>
                <a:gd name="connsiteX114" fmla="*/ 22680 w 252793"/>
                <a:gd name="connsiteY114" fmla="*/ 221562 h 378885"/>
                <a:gd name="connsiteX115" fmla="*/ 13936 w 252793"/>
                <a:gd name="connsiteY115" fmla="*/ 235069 h 378885"/>
                <a:gd name="connsiteX116" fmla="*/ 7668 w 252793"/>
                <a:gd name="connsiteY116" fmla="*/ 245460 h 378885"/>
                <a:gd name="connsiteX117" fmla="*/ -266 w 252793"/>
                <a:gd name="connsiteY117" fmla="*/ 254586 h 378885"/>
                <a:gd name="connsiteX118" fmla="*/ 172 w 252793"/>
                <a:gd name="connsiteY118" fmla="*/ 286304 h 378885"/>
                <a:gd name="connsiteX119" fmla="*/ 420 w 252793"/>
                <a:gd name="connsiteY119" fmla="*/ 308259 h 378885"/>
                <a:gd name="connsiteX120" fmla="*/ 658 w 252793"/>
                <a:gd name="connsiteY120" fmla="*/ 332662 h 378885"/>
                <a:gd name="connsiteX121" fmla="*/ 411 w 252793"/>
                <a:gd name="connsiteY121" fmla="*/ 355808 h 378885"/>
                <a:gd name="connsiteX122" fmla="*/ 14251 w 252793"/>
                <a:gd name="connsiteY122" fmla="*/ 377029 h 37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252793" h="378885">
                  <a:moveTo>
                    <a:pt x="14241" y="378791"/>
                  </a:moveTo>
                  <a:lnTo>
                    <a:pt x="18736" y="371524"/>
                  </a:lnTo>
                  <a:lnTo>
                    <a:pt x="22566" y="366361"/>
                  </a:lnTo>
                  <a:lnTo>
                    <a:pt x="25432" y="360427"/>
                  </a:lnTo>
                  <a:lnTo>
                    <a:pt x="29157" y="355769"/>
                  </a:lnTo>
                  <a:lnTo>
                    <a:pt x="33758" y="349340"/>
                  </a:lnTo>
                  <a:lnTo>
                    <a:pt x="37758" y="344273"/>
                  </a:lnTo>
                  <a:lnTo>
                    <a:pt x="47836" y="332662"/>
                  </a:lnTo>
                  <a:lnTo>
                    <a:pt x="52351" y="327109"/>
                  </a:lnTo>
                  <a:lnTo>
                    <a:pt x="56779" y="321575"/>
                  </a:lnTo>
                  <a:lnTo>
                    <a:pt x="61333" y="316041"/>
                  </a:lnTo>
                  <a:lnTo>
                    <a:pt x="66571" y="310459"/>
                  </a:lnTo>
                  <a:lnTo>
                    <a:pt x="72524" y="304963"/>
                  </a:lnTo>
                  <a:lnTo>
                    <a:pt x="78297" y="299353"/>
                  </a:lnTo>
                  <a:lnTo>
                    <a:pt x="83745" y="293809"/>
                  </a:lnTo>
                  <a:lnTo>
                    <a:pt x="89879" y="288295"/>
                  </a:lnTo>
                  <a:lnTo>
                    <a:pt x="97489" y="282713"/>
                  </a:lnTo>
                  <a:lnTo>
                    <a:pt x="106662" y="277141"/>
                  </a:lnTo>
                  <a:lnTo>
                    <a:pt x="115311" y="271597"/>
                  </a:lnTo>
                  <a:lnTo>
                    <a:pt x="123578" y="266044"/>
                  </a:lnTo>
                  <a:lnTo>
                    <a:pt x="128636" y="260491"/>
                  </a:lnTo>
                  <a:lnTo>
                    <a:pt x="133256" y="254947"/>
                  </a:lnTo>
                  <a:lnTo>
                    <a:pt x="139047" y="249394"/>
                  </a:lnTo>
                  <a:lnTo>
                    <a:pt x="143943" y="243841"/>
                  </a:lnTo>
                  <a:lnTo>
                    <a:pt x="148077" y="238307"/>
                  </a:lnTo>
                  <a:lnTo>
                    <a:pt x="152772" y="232745"/>
                  </a:lnTo>
                  <a:lnTo>
                    <a:pt x="157497" y="227220"/>
                  </a:lnTo>
                  <a:lnTo>
                    <a:pt x="161983" y="221638"/>
                  </a:lnTo>
                  <a:lnTo>
                    <a:pt x="166345" y="216085"/>
                  </a:lnTo>
                  <a:lnTo>
                    <a:pt x="172470" y="208456"/>
                  </a:lnTo>
                  <a:lnTo>
                    <a:pt x="177176" y="199426"/>
                  </a:lnTo>
                  <a:lnTo>
                    <a:pt x="179985" y="193873"/>
                  </a:lnTo>
                  <a:lnTo>
                    <a:pt x="186386" y="183843"/>
                  </a:lnTo>
                  <a:lnTo>
                    <a:pt x="190672" y="176518"/>
                  </a:lnTo>
                  <a:lnTo>
                    <a:pt x="196197" y="166127"/>
                  </a:lnTo>
                  <a:lnTo>
                    <a:pt x="198359" y="160564"/>
                  </a:lnTo>
                  <a:lnTo>
                    <a:pt x="200645" y="149468"/>
                  </a:lnTo>
                  <a:lnTo>
                    <a:pt x="205607" y="138352"/>
                  </a:lnTo>
                  <a:lnTo>
                    <a:pt x="208789" y="132818"/>
                  </a:lnTo>
                  <a:lnTo>
                    <a:pt x="212227" y="127265"/>
                  </a:lnTo>
                  <a:lnTo>
                    <a:pt x="216466" y="117654"/>
                  </a:lnTo>
                  <a:lnTo>
                    <a:pt x="217847" y="110615"/>
                  </a:lnTo>
                  <a:lnTo>
                    <a:pt x="223638" y="105052"/>
                  </a:lnTo>
                  <a:lnTo>
                    <a:pt x="228049" y="96204"/>
                  </a:lnTo>
                  <a:lnTo>
                    <a:pt x="230058" y="88688"/>
                  </a:lnTo>
                  <a:lnTo>
                    <a:pt x="233735" y="82850"/>
                  </a:lnTo>
                  <a:lnTo>
                    <a:pt x="239726" y="71743"/>
                  </a:lnTo>
                  <a:lnTo>
                    <a:pt x="240040" y="60628"/>
                  </a:lnTo>
                  <a:lnTo>
                    <a:pt x="241117" y="49550"/>
                  </a:lnTo>
                  <a:lnTo>
                    <a:pt x="244755" y="43978"/>
                  </a:lnTo>
                  <a:lnTo>
                    <a:pt x="252528" y="44978"/>
                  </a:lnTo>
                  <a:lnTo>
                    <a:pt x="247556" y="39768"/>
                  </a:lnTo>
                  <a:lnTo>
                    <a:pt x="245822" y="32910"/>
                  </a:lnTo>
                  <a:lnTo>
                    <a:pt x="246708" y="23347"/>
                  </a:lnTo>
                  <a:lnTo>
                    <a:pt x="244613" y="16232"/>
                  </a:lnTo>
                  <a:lnTo>
                    <a:pt x="247784" y="8478"/>
                  </a:lnTo>
                  <a:lnTo>
                    <a:pt x="242612" y="3097"/>
                  </a:lnTo>
                  <a:lnTo>
                    <a:pt x="235897" y="-94"/>
                  </a:lnTo>
                  <a:lnTo>
                    <a:pt x="230154" y="2735"/>
                  </a:lnTo>
                  <a:lnTo>
                    <a:pt x="227829" y="8240"/>
                  </a:lnTo>
                  <a:lnTo>
                    <a:pt x="218714" y="13251"/>
                  </a:lnTo>
                  <a:lnTo>
                    <a:pt x="212723" y="14546"/>
                  </a:lnTo>
                  <a:lnTo>
                    <a:pt x="206417" y="14736"/>
                  </a:lnTo>
                  <a:lnTo>
                    <a:pt x="199940" y="17994"/>
                  </a:lnTo>
                  <a:lnTo>
                    <a:pt x="192530" y="20385"/>
                  </a:lnTo>
                  <a:lnTo>
                    <a:pt x="184033" y="18280"/>
                  </a:lnTo>
                  <a:lnTo>
                    <a:pt x="177585" y="19451"/>
                  </a:lnTo>
                  <a:lnTo>
                    <a:pt x="171432" y="23814"/>
                  </a:lnTo>
                  <a:lnTo>
                    <a:pt x="162973" y="23928"/>
                  </a:lnTo>
                  <a:lnTo>
                    <a:pt x="156563" y="22318"/>
                  </a:lnTo>
                  <a:lnTo>
                    <a:pt x="147048" y="25557"/>
                  </a:lnTo>
                  <a:lnTo>
                    <a:pt x="137904" y="32872"/>
                  </a:lnTo>
                  <a:lnTo>
                    <a:pt x="129141" y="36139"/>
                  </a:lnTo>
                  <a:lnTo>
                    <a:pt x="120768" y="33853"/>
                  </a:lnTo>
                  <a:lnTo>
                    <a:pt x="114034" y="30967"/>
                  </a:lnTo>
                  <a:lnTo>
                    <a:pt x="105919" y="36577"/>
                  </a:lnTo>
                  <a:lnTo>
                    <a:pt x="100280" y="39520"/>
                  </a:lnTo>
                  <a:lnTo>
                    <a:pt x="94622" y="42473"/>
                  </a:lnTo>
                  <a:lnTo>
                    <a:pt x="86983" y="43768"/>
                  </a:lnTo>
                  <a:lnTo>
                    <a:pt x="80944" y="43969"/>
                  </a:lnTo>
                  <a:lnTo>
                    <a:pt x="71543" y="38454"/>
                  </a:lnTo>
                  <a:lnTo>
                    <a:pt x="65066" y="32891"/>
                  </a:lnTo>
                  <a:lnTo>
                    <a:pt x="60599" y="27338"/>
                  </a:lnTo>
                  <a:lnTo>
                    <a:pt x="57036" y="21842"/>
                  </a:lnTo>
                  <a:lnTo>
                    <a:pt x="53503" y="16622"/>
                  </a:lnTo>
                  <a:lnTo>
                    <a:pt x="47321" y="20385"/>
                  </a:lnTo>
                  <a:lnTo>
                    <a:pt x="40558" y="32577"/>
                  </a:lnTo>
                  <a:lnTo>
                    <a:pt x="38092" y="40263"/>
                  </a:lnTo>
                  <a:lnTo>
                    <a:pt x="41911" y="48722"/>
                  </a:lnTo>
                  <a:lnTo>
                    <a:pt x="46645" y="54541"/>
                  </a:lnTo>
                  <a:lnTo>
                    <a:pt x="52112" y="59437"/>
                  </a:lnTo>
                  <a:lnTo>
                    <a:pt x="53303" y="66010"/>
                  </a:lnTo>
                  <a:lnTo>
                    <a:pt x="57989" y="71620"/>
                  </a:lnTo>
                  <a:lnTo>
                    <a:pt x="70391" y="82107"/>
                  </a:lnTo>
                  <a:lnTo>
                    <a:pt x="85126" y="87965"/>
                  </a:lnTo>
                  <a:lnTo>
                    <a:pt x="96127" y="92032"/>
                  </a:lnTo>
                  <a:lnTo>
                    <a:pt x="113615" y="98452"/>
                  </a:lnTo>
                  <a:lnTo>
                    <a:pt x="131322" y="105005"/>
                  </a:lnTo>
                  <a:lnTo>
                    <a:pt x="146019" y="110548"/>
                  </a:lnTo>
                  <a:lnTo>
                    <a:pt x="170556" y="110605"/>
                  </a:lnTo>
                  <a:lnTo>
                    <a:pt x="160335" y="122778"/>
                  </a:lnTo>
                  <a:lnTo>
                    <a:pt x="155030" y="127731"/>
                  </a:lnTo>
                  <a:lnTo>
                    <a:pt x="143857" y="140914"/>
                  </a:lnTo>
                  <a:lnTo>
                    <a:pt x="138752" y="147248"/>
                  </a:lnTo>
                  <a:lnTo>
                    <a:pt x="132627" y="154135"/>
                  </a:lnTo>
                  <a:lnTo>
                    <a:pt x="119130" y="167241"/>
                  </a:lnTo>
                  <a:lnTo>
                    <a:pt x="110786" y="176518"/>
                  </a:lnTo>
                  <a:lnTo>
                    <a:pt x="98766" y="195311"/>
                  </a:lnTo>
                  <a:lnTo>
                    <a:pt x="74715" y="195445"/>
                  </a:lnTo>
                  <a:lnTo>
                    <a:pt x="62837" y="198445"/>
                  </a:lnTo>
                  <a:lnTo>
                    <a:pt x="51160" y="204912"/>
                  </a:lnTo>
                  <a:lnTo>
                    <a:pt x="48483" y="210447"/>
                  </a:lnTo>
                  <a:lnTo>
                    <a:pt x="36215" y="216009"/>
                  </a:lnTo>
                  <a:lnTo>
                    <a:pt x="26442" y="216771"/>
                  </a:lnTo>
                  <a:lnTo>
                    <a:pt x="22680" y="221562"/>
                  </a:lnTo>
                  <a:lnTo>
                    <a:pt x="13936" y="235069"/>
                  </a:lnTo>
                  <a:lnTo>
                    <a:pt x="7668" y="245460"/>
                  </a:lnTo>
                  <a:lnTo>
                    <a:pt x="-266" y="254586"/>
                  </a:lnTo>
                  <a:lnTo>
                    <a:pt x="172" y="286304"/>
                  </a:lnTo>
                  <a:lnTo>
                    <a:pt x="420" y="308259"/>
                  </a:lnTo>
                  <a:lnTo>
                    <a:pt x="658" y="332662"/>
                  </a:lnTo>
                  <a:lnTo>
                    <a:pt x="411" y="355808"/>
                  </a:lnTo>
                  <a:lnTo>
                    <a:pt x="14251" y="377029"/>
                  </a:lnTo>
                  <a:close/>
                </a:path>
              </a:pathLst>
            </a:custGeom>
            <a:solidFill>
              <a:srgbClr val="FFC00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49" name="Freeform: Shape 48">
              <a:extLst>
                <a:ext uri="{FF2B5EF4-FFF2-40B4-BE49-F238E27FC236}">
                  <a16:creationId xmlns:a16="http://schemas.microsoft.com/office/drawing/2014/main" id="{5DADAD41-038D-C1F3-A12E-D80A955C8696}"/>
                </a:ext>
              </a:extLst>
            </p:cNvPr>
            <p:cNvSpPr/>
            <p:nvPr/>
          </p:nvSpPr>
          <p:spPr>
            <a:xfrm>
              <a:off x="6488435" y="672873"/>
              <a:ext cx="1154361" cy="990435"/>
            </a:xfrm>
            <a:custGeom>
              <a:avLst/>
              <a:gdLst>
                <a:gd name="connsiteX0" fmla="*/ 122474 w 405041"/>
                <a:gd name="connsiteY0" fmla="*/ 347187 h 347281"/>
                <a:gd name="connsiteX1" fmla="*/ 133303 w 405041"/>
                <a:gd name="connsiteY1" fmla="*/ 343368 h 347281"/>
                <a:gd name="connsiteX2" fmla="*/ 152258 w 405041"/>
                <a:gd name="connsiteY2" fmla="*/ 343825 h 347281"/>
                <a:gd name="connsiteX3" fmla="*/ 150134 w 405041"/>
                <a:gd name="connsiteY3" fmla="*/ 328376 h 347281"/>
                <a:gd name="connsiteX4" fmla="*/ 179014 w 405041"/>
                <a:gd name="connsiteY4" fmla="*/ 328376 h 347281"/>
                <a:gd name="connsiteX5" fmla="*/ 179300 w 405041"/>
                <a:gd name="connsiteY5" fmla="*/ 342149 h 347281"/>
                <a:gd name="connsiteX6" fmla="*/ 192577 w 405041"/>
                <a:gd name="connsiteY6" fmla="*/ 339939 h 347281"/>
                <a:gd name="connsiteX7" fmla="*/ 192397 w 405041"/>
                <a:gd name="connsiteY7" fmla="*/ 330728 h 347281"/>
                <a:gd name="connsiteX8" fmla="*/ 203684 w 405041"/>
                <a:gd name="connsiteY8" fmla="*/ 325004 h 347281"/>
                <a:gd name="connsiteX9" fmla="*/ 217057 w 405041"/>
                <a:gd name="connsiteY9" fmla="*/ 334100 h 347281"/>
                <a:gd name="connsiteX10" fmla="*/ 224714 w 405041"/>
                <a:gd name="connsiteY10" fmla="*/ 341006 h 347281"/>
                <a:gd name="connsiteX11" fmla="*/ 237383 w 405041"/>
                <a:gd name="connsiteY11" fmla="*/ 338558 h 347281"/>
                <a:gd name="connsiteX12" fmla="*/ 249146 w 405041"/>
                <a:gd name="connsiteY12" fmla="*/ 322480 h 347281"/>
                <a:gd name="connsiteX13" fmla="*/ 252594 w 405041"/>
                <a:gd name="connsiteY13" fmla="*/ 314946 h 347281"/>
                <a:gd name="connsiteX14" fmla="*/ 261138 w 405041"/>
                <a:gd name="connsiteY14" fmla="*/ 307135 h 347281"/>
                <a:gd name="connsiteX15" fmla="*/ 262101 w 405041"/>
                <a:gd name="connsiteY15" fmla="*/ 300220 h 347281"/>
                <a:gd name="connsiteX16" fmla="*/ 261643 w 405041"/>
                <a:gd name="connsiteY16" fmla="*/ 285637 h 347281"/>
                <a:gd name="connsiteX17" fmla="*/ 254147 w 405041"/>
                <a:gd name="connsiteY17" fmla="*/ 278846 h 347281"/>
                <a:gd name="connsiteX18" fmla="*/ 270187 w 405041"/>
                <a:gd name="connsiteY18" fmla="*/ 278846 h 347281"/>
                <a:gd name="connsiteX19" fmla="*/ 269949 w 405041"/>
                <a:gd name="connsiteY19" fmla="*/ 271950 h 347281"/>
                <a:gd name="connsiteX20" fmla="*/ 283456 w 405041"/>
                <a:gd name="connsiteY20" fmla="*/ 271750 h 347281"/>
                <a:gd name="connsiteX21" fmla="*/ 281846 w 405041"/>
                <a:gd name="connsiteY21" fmla="*/ 278788 h 347281"/>
                <a:gd name="connsiteX22" fmla="*/ 280760 w 405041"/>
                <a:gd name="connsiteY22" fmla="*/ 288542 h 347281"/>
                <a:gd name="connsiteX23" fmla="*/ 281970 w 405041"/>
                <a:gd name="connsiteY23" fmla="*/ 298305 h 347281"/>
                <a:gd name="connsiteX24" fmla="*/ 284179 w 405041"/>
                <a:gd name="connsiteY24" fmla="*/ 310021 h 347281"/>
                <a:gd name="connsiteX25" fmla="*/ 290590 w 405041"/>
                <a:gd name="connsiteY25" fmla="*/ 315384 h 347281"/>
                <a:gd name="connsiteX26" fmla="*/ 294352 w 405041"/>
                <a:gd name="connsiteY26" fmla="*/ 320737 h 347281"/>
                <a:gd name="connsiteX27" fmla="*/ 302105 w 405041"/>
                <a:gd name="connsiteY27" fmla="*/ 328947 h 347281"/>
                <a:gd name="connsiteX28" fmla="*/ 301991 w 405041"/>
                <a:gd name="connsiteY28" fmla="*/ 338539 h 347281"/>
                <a:gd name="connsiteX29" fmla="*/ 300201 w 405041"/>
                <a:gd name="connsiteY29" fmla="*/ 346883 h 347281"/>
                <a:gd name="connsiteX30" fmla="*/ 307011 w 405041"/>
                <a:gd name="connsiteY30" fmla="*/ 338558 h 347281"/>
                <a:gd name="connsiteX31" fmla="*/ 311154 w 405041"/>
                <a:gd name="connsiteY31" fmla="*/ 327576 h 347281"/>
                <a:gd name="connsiteX32" fmla="*/ 309402 w 405041"/>
                <a:gd name="connsiteY32" fmla="*/ 318051 h 347281"/>
                <a:gd name="connsiteX33" fmla="*/ 313554 w 405041"/>
                <a:gd name="connsiteY33" fmla="*/ 310907 h 347281"/>
                <a:gd name="connsiteX34" fmla="*/ 319822 w 405041"/>
                <a:gd name="connsiteY34" fmla="*/ 310735 h 347281"/>
                <a:gd name="connsiteX35" fmla="*/ 326308 w 405041"/>
                <a:gd name="connsiteY35" fmla="*/ 309002 h 347281"/>
                <a:gd name="connsiteX36" fmla="*/ 326784 w 405041"/>
                <a:gd name="connsiteY36" fmla="*/ 299734 h 347281"/>
                <a:gd name="connsiteX37" fmla="*/ 328490 w 405041"/>
                <a:gd name="connsiteY37" fmla="*/ 288618 h 347281"/>
                <a:gd name="connsiteX38" fmla="*/ 333509 w 405041"/>
                <a:gd name="connsiteY38" fmla="*/ 277493 h 347281"/>
                <a:gd name="connsiteX39" fmla="*/ 336281 w 405041"/>
                <a:gd name="connsiteY39" fmla="*/ 272035 h 347281"/>
                <a:gd name="connsiteX40" fmla="*/ 342168 w 405041"/>
                <a:gd name="connsiteY40" fmla="*/ 260862 h 347281"/>
                <a:gd name="connsiteX41" fmla="*/ 353388 w 405041"/>
                <a:gd name="connsiteY41" fmla="*/ 257843 h 347281"/>
                <a:gd name="connsiteX42" fmla="*/ 353607 w 405041"/>
                <a:gd name="connsiteY42" fmla="*/ 249728 h 347281"/>
                <a:gd name="connsiteX43" fmla="*/ 355369 w 405041"/>
                <a:gd name="connsiteY43" fmla="*/ 239507 h 347281"/>
                <a:gd name="connsiteX44" fmla="*/ 359113 w 405041"/>
                <a:gd name="connsiteY44" fmla="*/ 233135 h 347281"/>
                <a:gd name="connsiteX45" fmla="*/ 359674 w 405041"/>
                <a:gd name="connsiteY45" fmla="*/ 223162 h 347281"/>
                <a:gd name="connsiteX46" fmla="*/ 362179 w 405041"/>
                <a:gd name="connsiteY46" fmla="*/ 214818 h 347281"/>
                <a:gd name="connsiteX47" fmla="*/ 359007 w 405041"/>
                <a:gd name="connsiteY47" fmla="*/ 194616 h 347281"/>
                <a:gd name="connsiteX48" fmla="*/ 360493 w 405041"/>
                <a:gd name="connsiteY48" fmla="*/ 187844 h 347281"/>
                <a:gd name="connsiteX49" fmla="*/ 362379 w 405041"/>
                <a:gd name="connsiteY49" fmla="*/ 180624 h 347281"/>
                <a:gd name="connsiteX50" fmla="*/ 363770 w 405041"/>
                <a:gd name="connsiteY50" fmla="*/ 173309 h 347281"/>
                <a:gd name="connsiteX51" fmla="*/ 368323 w 405041"/>
                <a:gd name="connsiteY51" fmla="*/ 160974 h 347281"/>
                <a:gd name="connsiteX52" fmla="*/ 368028 w 405041"/>
                <a:gd name="connsiteY52" fmla="*/ 149820 h 347281"/>
                <a:gd name="connsiteX53" fmla="*/ 369818 w 405041"/>
                <a:gd name="connsiteY53" fmla="*/ 138752 h 347281"/>
                <a:gd name="connsiteX54" fmla="*/ 379048 w 405041"/>
                <a:gd name="connsiteY54" fmla="*/ 137180 h 347281"/>
                <a:gd name="connsiteX55" fmla="*/ 381277 w 405041"/>
                <a:gd name="connsiteY55" fmla="*/ 129913 h 347281"/>
                <a:gd name="connsiteX56" fmla="*/ 387412 w 405041"/>
                <a:gd name="connsiteY56" fmla="*/ 127655 h 347281"/>
                <a:gd name="connsiteX57" fmla="*/ 394279 w 405041"/>
                <a:gd name="connsiteY57" fmla="*/ 123483 h 347281"/>
                <a:gd name="connsiteX58" fmla="*/ 401461 w 405041"/>
                <a:gd name="connsiteY58" fmla="*/ 120807 h 347281"/>
                <a:gd name="connsiteX59" fmla="*/ 403718 w 405041"/>
                <a:gd name="connsiteY59" fmla="*/ 113730 h 347281"/>
                <a:gd name="connsiteX60" fmla="*/ 404776 w 405041"/>
                <a:gd name="connsiteY60" fmla="*/ 107748 h 347281"/>
                <a:gd name="connsiteX61" fmla="*/ 398565 w 405041"/>
                <a:gd name="connsiteY61" fmla="*/ 104967 h 347281"/>
                <a:gd name="connsiteX62" fmla="*/ 394060 w 405041"/>
                <a:gd name="connsiteY62" fmla="*/ 100080 h 347281"/>
                <a:gd name="connsiteX63" fmla="*/ 389907 w 405041"/>
                <a:gd name="connsiteY63" fmla="*/ 95023 h 347281"/>
                <a:gd name="connsiteX64" fmla="*/ 383458 w 405041"/>
                <a:gd name="connsiteY64" fmla="*/ 90413 h 347281"/>
                <a:gd name="connsiteX65" fmla="*/ 376838 w 405041"/>
                <a:gd name="connsiteY65" fmla="*/ 86679 h 347281"/>
                <a:gd name="connsiteX66" fmla="*/ 374667 w 405041"/>
                <a:gd name="connsiteY66" fmla="*/ 79268 h 347281"/>
                <a:gd name="connsiteX67" fmla="*/ 373876 w 405041"/>
                <a:gd name="connsiteY67" fmla="*/ 73201 h 347281"/>
                <a:gd name="connsiteX68" fmla="*/ 371771 w 405041"/>
                <a:gd name="connsiteY68" fmla="*/ 66962 h 347281"/>
                <a:gd name="connsiteX69" fmla="*/ 371895 w 405041"/>
                <a:gd name="connsiteY69" fmla="*/ 60247 h 347281"/>
                <a:gd name="connsiteX70" fmla="*/ 370276 w 405041"/>
                <a:gd name="connsiteY70" fmla="*/ 53141 h 347281"/>
                <a:gd name="connsiteX71" fmla="*/ 369485 w 405041"/>
                <a:gd name="connsiteY71" fmla="*/ 44321 h 347281"/>
                <a:gd name="connsiteX72" fmla="*/ 367904 w 405041"/>
                <a:gd name="connsiteY72" fmla="*/ 33805 h 347281"/>
                <a:gd name="connsiteX73" fmla="*/ 365580 w 405041"/>
                <a:gd name="connsiteY73" fmla="*/ 23214 h 347281"/>
                <a:gd name="connsiteX74" fmla="*/ 369657 w 405041"/>
                <a:gd name="connsiteY74" fmla="*/ 27871 h 347281"/>
                <a:gd name="connsiteX75" fmla="*/ 364256 w 405041"/>
                <a:gd name="connsiteY75" fmla="*/ 17756 h 347281"/>
                <a:gd name="connsiteX76" fmla="*/ 359055 w 405041"/>
                <a:gd name="connsiteY76" fmla="*/ 5659 h 347281"/>
                <a:gd name="connsiteX77" fmla="*/ 290628 w 405041"/>
                <a:gd name="connsiteY77" fmla="*/ -94 h 347281"/>
                <a:gd name="connsiteX78" fmla="*/ 289047 w 405041"/>
                <a:gd name="connsiteY78" fmla="*/ 6383 h 347281"/>
                <a:gd name="connsiteX79" fmla="*/ 282998 w 405041"/>
                <a:gd name="connsiteY79" fmla="*/ 7031 h 347281"/>
                <a:gd name="connsiteX80" fmla="*/ 268396 w 405041"/>
                <a:gd name="connsiteY80" fmla="*/ -94 h 347281"/>
                <a:gd name="connsiteX81" fmla="*/ 225363 w 405041"/>
                <a:gd name="connsiteY81" fmla="*/ -94 h 347281"/>
                <a:gd name="connsiteX82" fmla="*/ 69591 w 405041"/>
                <a:gd name="connsiteY82" fmla="*/ -94 h 347281"/>
                <a:gd name="connsiteX83" fmla="*/ 71896 w 405041"/>
                <a:gd name="connsiteY83" fmla="*/ 55142 h 347281"/>
                <a:gd name="connsiteX84" fmla="*/ 47445 w 405041"/>
                <a:gd name="connsiteY84" fmla="*/ 55418 h 347281"/>
                <a:gd name="connsiteX85" fmla="*/ 51445 w 405041"/>
                <a:gd name="connsiteY85" fmla="*/ 174852 h 347281"/>
                <a:gd name="connsiteX86" fmla="*/ 40434 w 405041"/>
                <a:gd name="connsiteY86" fmla="*/ 172880 h 347281"/>
                <a:gd name="connsiteX87" fmla="*/ 29566 w 405041"/>
                <a:gd name="connsiteY87" fmla="*/ 174366 h 347281"/>
                <a:gd name="connsiteX88" fmla="*/ 25032 w 405041"/>
                <a:gd name="connsiteY88" fmla="*/ 180491 h 347281"/>
                <a:gd name="connsiteX89" fmla="*/ 26814 w 405041"/>
                <a:gd name="connsiteY89" fmla="*/ 188653 h 347281"/>
                <a:gd name="connsiteX90" fmla="*/ 22327 w 405041"/>
                <a:gd name="connsiteY90" fmla="*/ 194168 h 347281"/>
                <a:gd name="connsiteX91" fmla="*/ 20775 w 405041"/>
                <a:gd name="connsiteY91" fmla="*/ 202893 h 347281"/>
                <a:gd name="connsiteX92" fmla="*/ 13784 w 405041"/>
                <a:gd name="connsiteY92" fmla="*/ 205303 h 347281"/>
                <a:gd name="connsiteX93" fmla="*/ 15117 w 405041"/>
                <a:gd name="connsiteY93" fmla="*/ 215504 h 347281"/>
                <a:gd name="connsiteX94" fmla="*/ 11336 w 405041"/>
                <a:gd name="connsiteY94" fmla="*/ 221886 h 347281"/>
                <a:gd name="connsiteX95" fmla="*/ 6354 w 405041"/>
                <a:gd name="connsiteY95" fmla="*/ 227449 h 347281"/>
                <a:gd name="connsiteX96" fmla="*/ 10431 w 405041"/>
                <a:gd name="connsiteY96" fmla="*/ 238574 h 347281"/>
                <a:gd name="connsiteX97" fmla="*/ 7602 w 405041"/>
                <a:gd name="connsiteY97" fmla="*/ 244156 h 347281"/>
                <a:gd name="connsiteX98" fmla="*/ 2334 w 405041"/>
                <a:gd name="connsiteY98" fmla="*/ 249090 h 347281"/>
                <a:gd name="connsiteX99" fmla="*/ -266 w 405041"/>
                <a:gd name="connsiteY99" fmla="*/ 255271 h 347281"/>
                <a:gd name="connsiteX100" fmla="*/ 7631 w 405041"/>
                <a:gd name="connsiteY100" fmla="*/ 258957 h 347281"/>
                <a:gd name="connsiteX101" fmla="*/ 15460 w 405041"/>
                <a:gd name="connsiteY101" fmla="*/ 260672 h 347281"/>
                <a:gd name="connsiteX102" fmla="*/ 16489 w 405041"/>
                <a:gd name="connsiteY102" fmla="*/ 271902 h 347281"/>
                <a:gd name="connsiteX103" fmla="*/ 19803 w 405041"/>
                <a:gd name="connsiteY103" fmla="*/ 277360 h 347281"/>
                <a:gd name="connsiteX104" fmla="*/ 19089 w 405041"/>
                <a:gd name="connsiteY104" fmla="*/ 288542 h 347281"/>
                <a:gd name="connsiteX105" fmla="*/ 24537 w 405041"/>
                <a:gd name="connsiteY105" fmla="*/ 294095 h 347281"/>
                <a:gd name="connsiteX106" fmla="*/ 29110 w 405041"/>
                <a:gd name="connsiteY106" fmla="*/ 298305 h 347281"/>
                <a:gd name="connsiteX107" fmla="*/ 27461 w 405041"/>
                <a:gd name="connsiteY107" fmla="*/ 305239 h 347281"/>
                <a:gd name="connsiteX108" fmla="*/ 33938 w 405041"/>
                <a:gd name="connsiteY108" fmla="*/ 316336 h 347281"/>
                <a:gd name="connsiteX109" fmla="*/ 45102 w 405041"/>
                <a:gd name="connsiteY109" fmla="*/ 332967 h 347281"/>
                <a:gd name="connsiteX110" fmla="*/ 47930 w 405041"/>
                <a:gd name="connsiteY110" fmla="*/ 342120 h 347281"/>
                <a:gd name="connsiteX111" fmla="*/ 57379 w 405041"/>
                <a:gd name="connsiteY111" fmla="*/ 342568 h 347281"/>
                <a:gd name="connsiteX112" fmla="*/ 64181 w 405041"/>
                <a:gd name="connsiteY112" fmla="*/ 338539 h 347281"/>
                <a:gd name="connsiteX113" fmla="*/ 74401 w 405041"/>
                <a:gd name="connsiteY113" fmla="*/ 338539 h 347281"/>
                <a:gd name="connsiteX114" fmla="*/ 79697 w 405041"/>
                <a:gd name="connsiteY114" fmla="*/ 335777 h 347281"/>
                <a:gd name="connsiteX115" fmla="*/ 81239 w 405041"/>
                <a:gd name="connsiteY115" fmla="*/ 327471 h 347281"/>
                <a:gd name="connsiteX116" fmla="*/ 93860 w 405041"/>
                <a:gd name="connsiteY116" fmla="*/ 321918 h 347281"/>
                <a:gd name="connsiteX117" fmla="*/ 101004 w 405041"/>
                <a:gd name="connsiteY117" fmla="*/ 321908 h 347281"/>
                <a:gd name="connsiteX118" fmla="*/ 103052 w 405041"/>
                <a:gd name="connsiteY118" fmla="*/ 328023 h 347281"/>
                <a:gd name="connsiteX119" fmla="*/ 107748 w 405041"/>
                <a:gd name="connsiteY119" fmla="*/ 332995 h 347281"/>
                <a:gd name="connsiteX120" fmla="*/ 113282 w 405041"/>
                <a:gd name="connsiteY120" fmla="*/ 343911 h 347281"/>
                <a:gd name="connsiteX121" fmla="*/ 122474 w 405041"/>
                <a:gd name="connsiteY121" fmla="*/ 347187 h 34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05041" h="347281">
                  <a:moveTo>
                    <a:pt x="122474" y="347187"/>
                  </a:moveTo>
                  <a:lnTo>
                    <a:pt x="133303" y="343368"/>
                  </a:lnTo>
                  <a:lnTo>
                    <a:pt x="152258" y="343825"/>
                  </a:lnTo>
                  <a:lnTo>
                    <a:pt x="150134" y="328376"/>
                  </a:lnTo>
                  <a:lnTo>
                    <a:pt x="179014" y="328376"/>
                  </a:lnTo>
                  <a:lnTo>
                    <a:pt x="179300" y="342149"/>
                  </a:lnTo>
                  <a:lnTo>
                    <a:pt x="192577" y="339939"/>
                  </a:lnTo>
                  <a:lnTo>
                    <a:pt x="192397" y="330728"/>
                  </a:lnTo>
                  <a:lnTo>
                    <a:pt x="203684" y="325004"/>
                  </a:lnTo>
                  <a:lnTo>
                    <a:pt x="217057" y="334100"/>
                  </a:lnTo>
                  <a:lnTo>
                    <a:pt x="224714" y="341006"/>
                  </a:lnTo>
                  <a:lnTo>
                    <a:pt x="237383" y="338558"/>
                  </a:lnTo>
                  <a:lnTo>
                    <a:pt x="249146" y="322480"/>
                  </a:lnTo>
                  <a:lnTo>
                    <a:pt x="252594" y="314946"/>
                  </a:lnTo>
                  <a:lnTo>
                    <a:pt x="261138" y="307135"/>
                  </a:lnTo>
                  <a:lnTo>
                    <a:pt x="262101" y="300220"/>
                  </a:lnTo>
                  <a:lnTo>
                    <a:pt x="261643" y="285637"/>
                  </a:lnTo>
                  <a:lnTo>
                    <a:pt x="254147" y="278846"/>
                  </a:lnTo>
                  <a:lnTo>
                    <a:pt x="270187" y="278846"/>
                  </a:lnTo>
                  <a:lnTo>
                    <a:pt x="269949" y="271950"/>
                  </a:lnTo>
                  <a:lnTo>
                    <a:pt x="283456" y="271750"/>
                  </a:lnTo>
                  <a:lnTo>
                    <a:pt x="281846" y="278788"/>
                  </a:lnTo>
                  <a:lnTo>
                    <a:pt x="280760" y="288542"/>
                  </a:lnTo>
                  <a:lnTo>
                    <a:pt x="281970" y="298305"/>
                  </a:lnTo>
                  <a:lnTo>
                    <a:pt x="284179" y="310021"/>
                  </a:lnTo>
                  <a:lnTo>
                    <a:pt x="290590" y="315384"/>
                  </a:lnTo>
                  <a:lnTo>
                    <a:pt x="294352" y="320737"/>
                  </a:lnTo>
                  <a:lnTo>
                    <a:pt x="302105" y="328947"/>
                  </a:lnTo>
                  <a:lnTo>
                    <a:pt x="301991" y="338539"/>
                  </a:lnTo>
                  <a:lnTo>
                    <a:pt x="300201" y="346883"/>
                  </a:lnTo>
                  <a:lnTo>
                    <a:pt x="307011" y="338558"/>
                  </a:lnTo>
                  <a:lnTo>
                    <a:pt x="311154" y="327576"/>
                  </a:lnTo>
                  <a:lnTo>
                    <a:pt x="309402" y="318051"/>
                  </a:lnTo>
                  <a:lnTo>
                    <a:pt x="313554" y="310907"/>
                  </a:lnTo>
                  <a:lnTo>
                    <a:pt x="319822" y="310735"/>
                  </a:lnTo>
                  <a:lnTo>
                    <a:pt x="326308" y="309002"/>
                  </a:lnTo>
                  <a:lnTo>
                    <a:pt x="326784" y="299734"/>
                  </a:lnTo>
                  <a:lnTo>
                    <a:pt x="328490" y="288618"/>
                  </a:lnTo>
                  <a:lnTo>
                    <a:pt x="333509" y="277493"/>
                  </a:lnTo>
                  <a:lnTo>
                    <a:pt x="336281" y="272035"/>
                  </a:lnTo>
                  <a:lnTo>
                    <a:pt x="342168" y="260862"/>
                  </a:lnTo>
                  <a:lnTo>
                    <a:pt x="353388" y="257843"/>
                  </a:lnTo>
                  <a:lnTo>
                    <a:pt x="353607" y="249728"/>
                  </a:lnTo>
                  <a:lnTo>
                    <a:pt x="355369" y="239507"/>
                  </a:lnTo>
                  <a:lnTo>
                    <a:pt x="359113" y="233135"/>
                  </a:lnTo>
                  <a:lnTo>
                    <a:pt x="359674" y="223162"/>
                  </a:lnTo>
                  <a:lnTo>
                    <a:pt x="362179" y="214818"/>
                  </a:lnTo>
                  <a:lnTo>
                    <a:pt x="359007" y="194616"/>
                  </a:lnTo>
                  <a:lnTo>
                    <a:pt x="360493" y="187844"/>
                  </a:lnTo>
                  <a:lnTo>
                    <a:pt x="362379" y="180624"/>
                  </a:lnTo>
                  <a:lnTo>
                    <a:pt x="363770" y="173309"/>
                  </a:lnTo>
                  <a:lnTo>
                    <a:pt x="368323" y="160974"/>
                  </a:lnTo>
                  <a:lnTo>
                    <a:pt x="368028" y="149820"/>
                  </a:lnTo>
                  <a:lnTo>
                    <a:pt x="369818" y="138752"/>
                  </a:lnTo>
                  <a:lnTo>
                    <a:pt x="379048" y="137180"/>
                  </a:lnTo>
                  <a:lnTo>
                    <a:pt x="381277" y="129913"/>
                  </a:lnTo>
                  <a:lnTo>
                    <a:pt x="387412" y="127655"/>
                  </a:lnTo>
                  <a:lnTo>
                    <a:pt x="394279" y="123483"/>
                  </a:lnTo>
                  <a:lnTo>
                    <a:pt x="401461" y="120807"/>
                  </a:lnTo>
                  <a:lnTo>
                    <a:pt x="403718" y="113730"/>
                  </a:lnTo>
                  <a:lnTo>
                    <a:pt x="404776" y="107748"/>
                  </a:lnTo>
                  <a:lnTo>
                    <a:pt x="398565" y="104967"/>
                  </a:lnTo>
                  <a:lnTo>
                    <a:pt x="394060" y="100080"/>
                  </a:lnTo>
                  <a:lnTo>
                    <a:pt x="389907" y="95023"/>
                  </a:lnTo>
                  <a:lnTo>
                    <a:pt x="383458" y="90413"/>
                  </a:lnTo>
                  <a:lnTo>
                    <a:pt x="376838" y="86679"/>
                  </a:lnTo>
                  <a:lnTo>
                    <a:pt x="374667" y="79268"/>
                  </a:lnTo>
                  <a:lnTo>
                    <a:pt x="373876" y="73201"/>
                  </a:lnTo>
                  <a:lnTo>
                    <a:pt x="371771" y="66962"/>
                  </a:lnTo>
                  <a:lnTo>
                    <a:pt x="371895" y="60247"/>
                  </a:lnTo>
                  <a:lnTo>
                    <a:pt x="370276" y="53141"/>
                  </a:lnTo>
                  <a:lnTo>
                    <a:pt x="369485" y="44321"/>
                  </a:lnTo>
                  <a:lnTo>
                    <a:pt x="367904" y="33805"/>
                  </a:lnTo>
                  <a:lnTo>
                    <a:pt x="365580" y="23214"/>
                  </a:lnTo>
                  <a:lnTo>
                    <a:pt x="369657" y="27871"/>
                  </a:lnTo>
                  <a:lnTo>
                    <a:pt x="364256" y="17756"/>
                  </a:lnTo>
                  <a:lnTo>
                    <a:pt x="359055" y="5659"/>
                  </a:lnTo>
                  <a:lnTo>
                    <a:pt x="290628" y="-94"/>
                  </a:lnTo>
                  <a:lnTo>
                    <a:pt x="289047" y="6383"/>
                  </a:lnTo>
                  <a:lnTo>
                    <a:pt x="282998" y="7031"/>
                  </a:lnTo>
                  <a:lnTo>
                    <a:pt x="268396" y="-94"/>
                  </a:lnTo>
                  <a:lnTo>
                    <a:pt x="225363" y="-94"/>
                  </a:lnTo>
                  <a:lnTo>
                    <a:pt x="69591" y="-94"/>
                  </a:lnTo>
                  <a:lnTo>
                    <a:pt x="71896" y="55142"/>
                  </a:lnTo>
                  <a:lnTo>
                    <a:pt x="47445" y="55418"/>
                  </a:lnTo>
                  <a:lnTo>
                    <a:pt x="51445" y="174852"/>
                  </a:lnTo>
                  <a:lnTo>
                    <a:pt x="40434" y="172880"/>
                  </a:lnTo>
                  <a:lnTo>
                    <a:pt x="29566" y="174366"/>
                  </a:lnTo>
                  <a:lnTo>
                    <a:pt x="25032" y="180491"/>
                  </a:lnTo>
                  <a:lnTo>
                    <a:pt x="26814" y="188653"/>
                  </a:lnTo>
                  <a:lnTo>
                    <a:pt x="22327" y="194168"/>
                  </a:lnTo>
                  <a:lnTo>
                    <a:pt x="20775" y="202893"/>
                  </a:lnTo>
                  <a:lnTo>
                    <a:pt x="13784" y="205303"/>
                  </a:lnTo>
                  <a:lnTo>
                    <a:pt x="15117" y="215504"/>
                  </a:lnTo>
                  <a:lnTo>
                    <a:pt x="11336" y="221886"/>
                  </a:lnTo>
                  <a:lnTo>
                    <a:pt x="6354" y="227449"/>
                  </a:lnTo>
                  <a:lnTo>
                    <a:pt x="10431" y="238574"/>
                  </a:lnTo>
                  <a:lnTo>
                    <a:pt x="7602" y="244156"/>
                  </a:lnTo>
                  <a:lnTo>
                    <a:pt x="2334" y="249090"/>
                  </a:lnTo>
                  <a:lnTo>
                    <a:pt x="-266" y="255271"/>
                  </a:lnTo>
                  <a:lnTo>
                    <a:pt x="7631" y="258957"/>
                  </a:lnTo>
                  <a:lnTo>
                    <a:pt x="15460" y="260672"/>
                  </a:lnTo>
                  <a:lnTo>
                    <a:pt x="16489" y="271902"/>
                  </a:lnTo>
                  <a:lnTo>
                    <a:pt x="19803" y="277360"/>
                  </a:lnTo>
                  <a:lnTo>
                    <a:pt x="19089" y="288542"/>
                  </a:lnTo>
                  <a:lnTo>
                    <a:pt x="24537" y="294095"/>
                  </a:lnTo>
                  <a:lnTo>
                    <a:pt x="29110" y="298305"/>
                  </a:lnTo>
                  <a:lnTo>
                    <a:pt x="27461" y="305239"/>
                  </a:lnTo>
                  <a:lnTo>
                    <a:pt x="33938" y="316336"/>
                  </a:lnTo>
                  <a:lnTo>
                    <a:pt x="45102" y="332967"/>
                  </a:lnTo>
                  <a:lnTo>
                    <a:pt x="47930" y="342120"/>
                  </a:lnTo>
                  <a:lnTo>
                    <a:pt x="57379" y="342568"/>
                  </a:lnTo>
                  <a:lnTo>
                    <a:pt x="64181" y="338539"/>
                  </a:lnTo>
                  <a:lnTo>
                    <a:pt x="74401" y="338539"/>
                  </a:lnTo>
                  <a:lnTo>
                    <a:pt x="79697" y="335777"/>
                  </a:lnTo>
                  <a:lnTo>
                    <a:pt x="81239" y="327471"/>
                  </a:lnTo>
                  <a:lnTo>
                    <a:pt x="93860" y="321918"/>
                  </a:lnTo>
                  <a:lnTo>
                    <a:pt x="101004" y="321908"/>
                  </a:lnTo>
                  <a:lnTo>
                    <a:pt x="103052" y="328023"/>
                  </a:lnTo>
                  <a:lnTo>
                    <a:pt x="107748" y="332995"/>
                  </a:lnTo>
                  <a:lnTo>
                    <a:pt x="113282" y="343911"/>
                  </a:lnTo>
                  <a:lnTo>
                    <a:pt x="122474" y="347187"/>
                  </a:lnTo>
                  <a:close/>
                </a:path>
              </a:pathLst>
            </a:custGeom>
            <a:solidFill>
              <a:srgbClr val="FFC00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0" name="Freeform: Shape 49">
              <a:extLst>
                <a:ext uri="{FF2B5EF4-FFF2-40B4-BE49-F238E27FC236}">
                  <a16:creationId xmlns:a16="http://schemas.microsoft.com/office/drawing/2014/main" id="{9581933B-7060-6FF8-9D44-2FF1A26CF1C6}"/>
                </a:ext>
              </a:extLst>
            </p:cNvPr>
            <p:cNvSpPr/>
            <p:nvPr/>
          </p:nvSpPr>
          <p:spPr>
            <a:xfrm>
              <a:off x="4948899" y="1535688"/>
              <a:ext cx="129811" cy="394924"/>
            </a:xfrm>
            <a:custGeom>
              <a:avLst/>
              <a:gdLst>
                <a:gd name="connsiteX0" fmla="*/ 30976 w 45548"/>
                <a:gd name="connsiteY0" fmla="*/ 138380 h 138474"/>
                <a:gd name="connsiteX1" fmla="*/ 41624 w 45548"/>
                <a:gd name="connsiteY1" fmla="*/ 134971 h 138474"/>
                <a:gd name="connsiteX2" fmla="*/ 45282 w 45548"/>
                <a:gd name="connsiteY2" fmla="*/ 130218 h 138474"/>
                <a:gd name="connsiteX3" fmla="*/ 41815 w 45548"/>
                <a:gd name="connsiteY3" fmla="*/ 124865 h 138474"/>
                <a:gd name="connsiteX4" fmla="*/ 41206 w 45548"/>
                <a:gd name="connsiteY4" fmla="*/ 118597 h 138474"/>
                <a:gd name="connsiteX5" fmla="*/ 41977 w 45548"/>
                <a:gd name="connsiteY5" fmla="*/ 108272 h 138474"/>
                <a:gd name="connsiteX6" fmla="*/ 42263 w 45548"/>
                <a:gd name="connsiteY6" fmla="*/ 98957 h 138474"/>
                <a:gd name="connsiteX7" fmla="*/ 41977 w 45548"/>
                <a:gd name="connsiteY7" fmla="*/ 91679 h 138474"/>
                <a:gd name="connsiteX8" fmla="*/ 41777 w 45548"/>
                <a:gd name="connsiteY8" fmla="*/ 83593 h 138474"/>
                <a:gd name="connsiteX9" fmla="*/ 41720 w 45548"/>
                <a:gd name="connsiteY9" fmla="*/ 76049 h 138474"/>
                <a:gd name="connsiteX10" fmla="*/ 41511 w 45548"/>
                <a:gd name="connsiteY10" fmla="*/ 63904 h 138474"/>
                <a:gd name="connsiteX11" fmla="*/ 40996 w 45548"/>
                <a:gd name="connsiteY11" fmla="*/ 55456 h 138474"/>
                <a:gd name="connsiteX12" fmla="*/ 36662 w 45548"/>
                <a:gd name="connsiteY12" fmla="*/ 49855 h 138474"/>
                <a:gd name="connsiteX13" fmla="*/ 34328 w 45548"/>
                <a:gd name="connsiteY13" fmla="*/ 43169 h 138474"/>
                <a:gd name="connsiteX14" fmla="*/ 34957 w 45548"/>
                <a:gd name="connsiteY14" fmla="*/ 36901 h 138474"/>
                <a:gd name="connsiteX15" fmla="*/ 34662 w 45548"/>
                <a:gd name="connsiteY15" fmla="*/ 30538 h 138474"/>
                <a:gd name="connsiteX16" fmla="*/ 26804 w 45548"/>
                <a:gd name="connsiteY16" fmla="*/ 25043 h 138474"/>
                <a:gd name="connsiteX17" fmla="*/ 20422 w 45548"/>
                <a:gd name="connsiteY17" fmla="*/ 20013 h 138474"/>
                <a:gd name="connsiteX18" fmla="*/ 21051 w 45548"/>
                <a:gd name="connsiteY18" fmla="*/ 10641 h 138474"/>
                <a:gd name="connsiteX19" fmla="*/ 23175 w 45548"/>
                <a:gd name="connsiteY19" fmla="*/ 4926 h 138474"/>
                <a:gd name="connsiteX20" fmla="*/ 17431 w 45548"/>
                <a:gd name="connsiteY20" fmla="*/ 2783 h 138474"/>
                <a:gd name="connsiteX21" fmla="*/ 2172 w 45548"/>
                <a:gd name="connsiteY21" fmla="*/ -94 h 138474"/>
                <a:gd name="connsiteX22" fmla="*/ 572 w 45548"/>
                <a:gd name="connsiteY22" fmla="*/ 6002 h 138474"/>
                <a:gd name="connsiteX23" fmla="*/ -266 w 45548"/>
                <a:gd name="connsiteY23" fmla="*/ 12917 h 138474"/>
                <a:gd name="connsiteX24" fmla="*/ 5125 w 45548"/>
                <a:gd name="connsiteY24" fmla="*/ 17280 h 138474"/>
                <a:gd name="connsiteX25" fmla="*/ 9573 w 45548"/>
                <a:gd name="connsiteY25" fmla="*/ 21442 h 138474"/>
                <a:gd name="connsiteX26" fmla="*/ 9992 w 45548"/>
                <a:gd name="connsiteY26" fmla="*/ 27891 h 138474"/>
                <a:gd name="connsiteX27" fmla="*/ 10002 w 45548"/>
                <a:gd name="connsiteY27" fmla="*/ 34806 h 138474"/>
                <a:gd name="connsiteX28" fmla="*/ 10430 w 45548"/>
                <a:gd name="connsiteY28" fmla="*/ 41340 h 138474"/>
                <a:gd name="connsiteX29" fmla="*/ 14250 w 45548"/>
                <a:gd name="connsiteY29" fmla="*/ 46274 h 138474"/>
                <a:gd name="connsiteX30" fmla="*/ 14412 w 45548"/>
                <a:gd name="connsiteY30" fmla="*/ 52408 h 138474"/>
                <a:gd name="connsiteX31" fmla="*/ 13450 w 45548"/>
                <a:gd name="connsiteY31" fmla="*/ 59504 h 138474"/>
                <a:gd name="connsiteX32" fmla="*/ 10459 w 45548"/>
                <a:gd name="connsiteY32" fmla="*/ 65048 h 138474"/>
                <a:gd name="connsiteX33" fmla="*/ 13822 w 45548"/>
                <a:gd name="connsiteY33" fmla="*/ 70096 h 138474"/>
                <a:gd name="connsiteX34" fmla="*/ 18203 w 45548"/>
                <a:gd name="connsiteY34" fmla="*/ 74563 h 138474"/>
                <a:gd name="connsiteX35" fmla="*/ 15784 w 45548"/>
                <a:gd name="connsiteY35" fmla="*/ 80430 h 138474"/>
                <a:gd name="connsiteX36" fmla="*/ 16421 w 45548"/>
                <a:gd name="connsiteY36" fmla="*/ 87527 h 138474"/>
                <a:gd name="connsiteX37" fmla="*/ 16745 w 45548"/>
                <a:gd name="connsiteY37" fmla="*/ 94194 h 138474"/>
                <a:gd name="connsiteX38" fmla="*/ 14059 w 45548"/>
                <a:gd name="connsiteY38" fmla="*/ 99557 h 138474"/>
                <a:gd name="connsiteX39" fmla="*/ 17527 w 45548"/>
                <a:gd name="connsiteY39" fmla="*/ 104929 h 138474"/>
                <a:gd name="connsiteX40" fmla="*/ 16431 w 45548"/>
                <a:gd name="connsiteY40" fmla="*/ 110987 h 138474"/>
                <a:gd name="connsiteX41" fmla="*/ 15050 w 45548"/>
                <a:gd name="connsiteY41" fmla="*/ 116864 h 138474"/>
                <a:gd name="connsiteX42" fmla="*/ 17317 w 45548"/>
                <a:gd name="connsiteY42" fmla="*/ 122779 h 138474"/>
                <a:gd name="connsiteX43" fmla="*/ 19793 w 45548"/>
                <a:gd name="connsiteY43" fmla="*/ 129056 h 138474"/>
                <a:gd name="connsiteX44" fmla="*/ 26109 w 45548"/>
                <a:gd name="connsiteY44" fmla="*/ 132189 h 138474"/>
                <a:gd name="connsiteX45" fmla="*/ 30976 w 45548"/>
                <a:gd name="connsiteY45" fmla="*/ 136809 h 13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5548" h="138474">
                  <a:moveTo>
                    <a:pt x="30976" y="138380"/>
                  </a:moveTo>
                  <a:lnTo>
                    <a:pt x="41624" y="134971"/>
                  </a:lnTo>
                  <a:lnTo>
                    <a:pt x="45282" y="130218"/>
                  </a:lnTo>
                  <a:lnTo>
                    <a:pt x="41815" y="124865"/>
                  </a:lnTo>
                  <a:lnTo>
                    <a:pt x="41206" y="118597"/>
                  </a:lnTo>
                  <a:lnTo>
                    <a:pt x="41977" y="108272"/>
                  </a:lnTo>
                  <a:lnTo>
                    <a:pt x="42263" y="98957"/>
                  </a:lnTo>
                  <a:lnTo>
                    <a:pt x="41977" y="91679"/>
                  </a:lnTo>
                  <a:lnTo>
                    <a:pt x="41777" y="83593"/>
                  </a:lnTo>
                  <a:lnTo>
                    <a:pt x="41720" y="76049"/>
                  </a:lnTo>
                  <a:lnTo>
                    <a:pt x="41511" y="63904"/>
                  </a:lnTo>
                  <a:lnTo>
                    <a:pt x="40996" y="55456"/>
                  </a:lnTo>
                  <a:lnTo>
                    <a:pt x="36662" y="49855"/>
                  </a:lnTo>
                  <a:lnTo>
                    <a:pt x="34328" y="43169"/>
                  </a:lnTo>
                  <a:lnTo>
                    <a:pt x="34957" y="36901"/>
                  </a:lnTo>
                  <a:lnTo>
                    <a:pt x="34662" y="30538"/>
                  </a:lnTo>
                  <a:lnTo>
                    <a:pt x="26804" y="25043"/>
                  </a:lnTo>
                  <a:lnTo>
                    <a:pt x="20422" y="20013"/>
                  </a:lnTo>
                  <a:lnTo>
                    <a:pt x="21051" y="10641"/>
                  </a:lnTo>
                  <a:lnTo>
                    <a:pt x="23175" y="4926"/>
                  </a:lnTo>
                  <a:lnTo>
                    <a:pt x="17431" y="2783"/>
                  </a:lnTo>
                  <a:lnTo>
                    <a:pt x="2172" y="-94"/>
                  </a:lnTo>
                  <a:lnTo>
                    <a:pt x="572" y="6002"/>
                  </a:lnTo>
                  <a:lnTo>
                    <a:pt x="-266" y="12917"/>
                  </a:lnTo>
                  <a:lnTo>
                    <a:pt x="5125" y="17280"/>
                  </a:lnTo>
                  <a:lnTo>
                    <a:pt x="9573" y="21442"/>
                  </a:lnTo>
                  <a:lnTo>
                    <a:pt x="9992" y="27891"/>
                  </a:lnTo>
                  <a:lnTo>
                    <a:pt x="10002" y="34806"/>
                  </a:lnTo>
                  <a:lnTo>
                    <a:pt x="10430" y="41340"/>
                  </a:lnTo>
                  <a:lnTo>
                    <a:pt x="14250" y="46274"/>
                  </a:lnTo>
                  <a:lnTo>
                    <a:pt x="14412" y="52408"/>
                  </a:lnTo>
                  <a:lnTo>
                    <a:pt x="13450" y="59504"/>
                  </a:lnTo>
                  <a:lnTo>
                    <a:pt x="10459" y="65048"/>
                  </a:lnTo>
                  <a:lnTo>
                    <a:pt x="13822" y="70096"/>
                  </a:lnTo>
                  <a:lnTo>
                    <a:pt x="18203" y="74563"/>
                  </a:lnTo>
                  <a:lnTo>
                    <a:pt x="15784" y="80430"/>
                  </a:lnTo>
                  <a:lnTo>
                    <a:pt x="16421" y="87527"/>
                  </a:lnTo>
                  <a:lnTo>
                    <a:pt x="16745" y="94194"/>
                  </a:lnTo>
                  <a:lnTo>
                    <a:pt x="14059" y="99557"/>
                  </a:lnTo>
                  <a:lnTo>
                    <a:pt x="17527" y="104929"/>
                  </a:lnTo>
                  <a:lnTo>
                    <a:pt x="16431" y="110987"/>
                  </a:lnTo>
                  <a:lnTo>
                    <a:pt x="15050" y="116864"/>
                  </a:lnTo>
                  <a:lnTo>
                    <a:pt x="17317" y="122779"/>
                  </a:lnTo>
                  <a:lnTo>
                    <a:pt x="19793" y="129056"/>
                  </a:lnTo>
                  <a:lnTo>
                    <a:pt x="26109" y="132189"/>
                  </a:lnTo>
                  <a:lnTo>
                    <a:pt x="30976" y="136809"/>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1" name="Freeform: Shape 50">
              <a:extLst>
                <a:ext uri="{FF2B5EF4-FFF2-40B4-BE49-F238E27FC236}">
                  <a16:creationId xmlns:a16="http://schemas.microsoft.com/office/drawing/2014/main" id="{4D0AD1E7-87D7-90DE-EDD0-8FB4104005F3}"/>
                </a:ext>
              </a:extLst>
            </p:cNvPr>
            <p:cNvSpPr/>
            <p:nvPr/>
          </p:nvSpPr>
          <p:spPr>
            <a:xfrm>
              <a:off x="5412771" y="2383753"/>
              <a:ext cx="15199" cy="29230"/>
            </a:xfrm>
            <a:custGeom>
              <a:avLst/>
              <a:gdLst>
                <a:gd name="connsiteX0" fmla="*/ 553 w 5333"/>
                <a:gd name="connsiteY0" fmla="*/ 10155 h 10249"/>
                <a:gd name="connsiteX1" fmla="*/ 4887 w 5333"/>
                <a:gd name="connsiteY1" fmla="*/ 5936 h 10249"/>
                <a:gd name="connsiteX2" fmla="*/ 5068 w 5333"/>
                <a:gd name="connsiteY2" fmla="*/ -94 h 10249"/>
                <a:gd name="connsiteX3" fmla="*/ -266 w 5333"/>
                <a:gd name="connsiteY3" fmla="*/ 2764 h 10249"/>
                <a:gd name="connsiteX4" fmla="*/ 535 w 5333"/>
                <a:gd name="connsiteY4" fmla="*/ 8679 h 10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3" h="10249">
                  <a:moveTo>
                    <a:pt x="553" y="10155"/>
                  </a:moveTo>
                  <a:lnTo>
                    <a:pt x="4887" y="5936"/>
                  </a:lnTo>
                  <a:lnTo>
                    <a:pt x="5068" y="-94"/>
                  </a:lnTo>
                  <a:lnTo>
                    <a:pt x="-266" y="2764"/>
                  </a:lnTo>
                  <a:lnTo>
                    <a:pt x="535" y="8679"/>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2" name="Freeform: Shape 51">
              <a:extLst>
                <a:ext uri="{FF2B5EF4-FFF2-40B4-BE49-F238E27FC236}">
                  <a16:creationId xmlns:a16="http://schemas.microsoft.com/office/drawing/2014/main" id="{3A0AD6C4-1BB9-DCA0-499F-BDDDD718F770}"/>
                </a:ext>
              </a:extLst>
            </p:cNvPr>
            <p:cNvSpPr/>
            <p:nvPr/>
          </p:nvSpPr>
          <p:spPr>
            <a:xfrm>
              <a:off x="5459599" y="-541513"/>
              <a:ext cx="271433" cy="562913"/>
            </a:xfrm>
            <a:custGeom>
              <a:avLst/>
              <a:gdLst>
                <a:gd name="connsiteX0" fmla="*/ 78611 w 95240"/>
                <a:gd name="connsiteY0" fmla="*/ 102843 h 197377"/>
                <a:gd name="connsiteX1" fmla="*/ 82535 w 95240"/>
                <a:gd name="connsiteY1" fmla="*/ 98166 h 197377"/>
                <a:gd name="connsiteX2" fmla="*/ 76143 w 95240"/>
                <a:gd name="connsiteY2" fmla="*/ 95309 h 197377"/>
                <a:gd name="connsiteX3" fmla="*/ 78325 w 95240"/>
                <a:gd name="connsiteY3" fmla="*/ 101204 h 197377"/>
                <a:gd name="connsiteX4" fmla="*/ 50112 w 95240"/>
                <a:gd name="connsiteY4" fmla="*/ 197283 h 197377"/>
                <a:gd name="connsiteX5" fmla="*/ 56817 w 95240"/>
                <a:gd name="connsiteY5" fmla="*/ 194283 h 197377"/>
                <a:gd name="connsiteX6" fmla="*/ 62056 w 95240"/>
                <a:gd name="connsiteY6" fmla="*/ 189539 h 197377"/>
                <a:gd name="connsiteX7" fmla="*/ 65438 w 95240"/>
                <a:gd name="connsiteY7" fmla="*/ 184091 h 197377"/>
                <a:gd name="connsiteX8" fmla="*/ 66914 w 95240"/>
                <a:gd name="connsiteY8" fmla="*/ 177624 h 197377"/>
                <a:gd name="connsiteX9" fmla="*/ 65933 w 95240"/>
                <a:gd name="connsiteY9" fmla="*/ 171194 h 197377"/>
                <a:gd name="connsiteX10" fmla="*/ 63599 w 95240"/>
                <a:gd name="connsiteY10" fmla="*/ 165422 h 197377"/>
                <a:gd name="connsiteX11" fmla="*/ 65751 w 95240"/>
                <a:gd name="connsiteY11" fmla="*/ 157926 h 197377"/>
                <a:gd name="connsiteX12" fmla="*/ 71162 w 95240"/>
                <a:gd name="connsiteY12" fmla="*/ 154954 h 197377"/>
                <a:gd name="connsiteX13" fmla="*/ 74191 w 95240"/>
                <a:gd name="connsiteY13" fmla="*/ 149754 h 197377"/>
                <a:gd name="connsiteX14" fmla="*/ 79439 w 95240"/>
                <a:gd name="connsiteY14" fmla="*/ 145753 h 197377"/>
                <a:gd name="connsiteX15" fmla="*/ 88469 w 95240"/>
                <a:gd name="connsiteY15" fmla="*/ 140095 h 197377"/>
                <a:gd name="connsiteX16" fmla="*/ 94603 w 95240"/>
                <a:gd name="connsiteY16" fmla="*/ 137104 h 197377"/>
                <a:gd name="connsiteX17" fmla="*/ 93803 w 95240"/>
                <a:gd name="connsiteY17" fmla="*/ 130189 h 197377"/>
                <a:gd name="connsiteX18" fmla="*/ 93660 w 95240"/>
                <a:gd name="connsiteY18" fmla="*/ 122655 h 197377"/>
                <a:gd name="connsiteX19" fmla="*/ 94974 w 95240"/>
                <a:gd name="connsiteY19" fmla="*/ 116483 h 197377"/>
                <a:gd name="connsiteX20" fmla="*/ 89240 w 95240"/>
                <a:gd name="connsiteY20" fmla="*/ 112968 h 197377"/>
                <a:gd name="connsiteX21" fmla="*/ 83868 w 95240"/>
                <a:gd name="connsiteY21" fmla="*/ 110406 h 197377"/>
                <a:gd name="connsiteX22" fmla="*/ 83135 w 95240"/>
                <a:gd name="connsiteY22" fmla="*/ 103862 h 197377"/>
                <a:gd name="connsiteX23" fmla="*/ 77753 w 95240"/>
                <a:gd name="connsiteY23" fmla="*/ 106415 h 197377"/>
                <a:gd name="connsiteX24" fmla="*/ 74981 w 95240"/>
                <a:gd name="connsiteY24" fmla="*/ 100995 h 197377"/>
                <a:gd name="connsiteX25" fmla="*/ 69190 w 95240"/>
                <a:gd name="connsiteY25" fmla="*/ 102890 h 197377"/>
                <a:gd name="connsiteX26" fmla="*/ 64237 w 95240"/>
                <a:gd name="connsiteY26" fmla="*/ 99557 h 197377"/>
                <a:gd name="connsiteX27" fmla="*/ 60018 w 95240"/>
                <a:gd name="connsiteY27" fmla="*/ 95261 h 197377"/>
                <a:gd name="connsiteX28" fmla="*/ 57751 w 95240"/>
                <a:gd name="connsiteY28" fmla="*/ 89441 h 197377"/>
                <a:gd name="connsiteX29" fmla="*/ 59989 w 95240"/>
                <a:gd name="connsiteY29" fmla="*/ 83802 h 197377"/>
                <a:gd name="connsiteX30" fmla="*/ 65314 w 95240"/>
                <a:gd name="connsiteY30" fmla="*/ 81030 h 197377"/>
                <a:gd name="connsiteX31" fmla="*/ 70829 w 95240"/>
                <a:gd name="connsiteY31" fmla="*/ 77678 h 197377"/>
                <a:gd name="connsiteX32" fmla="*/ 74467 w 95240"/>
                <a:gd name="connsiteY32" fmla="*/ 72525 h 197377"/>
                <a:gd name="connsiteX33" fmla="*/ 78134 w 95240"/>
                <a:gd name="connsiteY33" fmla="*/ 65962 h 197377"/>
                <a:gd name="connsiteX34" fmla="*/ 81077 w 95240"/>
                <a:gd name="connsiteY34" fmla="*/ 60533 h 197377"/>
                <a:gd name="connsiteX35" fmla="*/ 80287 w 95240"/>
                <a:gd name="connsiteY35" fmla="*/ 54551 h 197377"/>
                <a:gd name="connsiteX36" fmla="*/ 80144 w 95240"/>
                <a:gd name="connsiteY36" fmla="*/ 48512 h 197377"/>
                <a:gd name="connsiteX37" fmla="*/ 75076 w 95240"/>
                <a:gd name="connsiteY37" fmla="*/ 45017 h 197377"/>
                <a:gd name="connsiteX38" fmla="*/ 70209 w 95240"/>
                <a:gd name="connsiteY38" fmla="*/ 41349 h 197377"/>
                <a:gd name="connsiteX39" fmla="*/ 67104 w 95240"/>
                <a:gd name="connsiteY39" fmla="*/ 36215 h 197377"/>
                <a:gd name="connsiteX40" fmla="*/ 66485 w 95240"/>
                <a:gd name="connsiteY40" fmla="*/ 30177 h 197377"/>
                <a:gd name="connsiteX41" fmla="*/ 70809 w 95240"/>
                <a:gd name="connsiteY41" fmla="*/ 25509 h 197377"/>
                <a:gd name="connsiteX42" fmla="*/ 75458 w 95240"/>
                <a:gd name="connsiteY42" fmla="*/ 20613 h 197377"/>
                <a:gd name="connsiteX43" fmla="*/ 78658 w 95240"/>
                <a:gd name="connsiteY43" fmla="*/ 15165 h 197377"/>
                <a:gd name="connsiteX44" fmla="*/ 78991 w 95240"/>
                <a:gd name="connsiteY44" fmla="*/ 8631 h 197377"/>
                <a:gd name="connsiteX45" fmla="*/ 71162 w 95240"/>
                <a:gd name="connsiteY45" fmla="*/ 12727 h 197377"/>
                <a:gd name="connsiteX46" fmla="*/ 65923 w 95240"/>
                <a:gd name="connsiteY46" fmla="*/ 16689 h 197377"/>
                <a:gd name="connsiteX47" fmla="*/ 61884 w 95240"/>
                <a:gd name="connsiteY47" fmla="*/ 11793 h 197377"/>
                <a:gd name="connsiteX48" fmla="*/ 59170 w 95240"/>
                <a:gd name="connsiteY48" fmla="*/ 5621 h 197377"/>
                <a:gd name="connsiteX49" fmla="*/ 53626 w 95240"/>
                <a:gd name="connsiteY49" fmla="*/ 2678 h 197377"/>
                <a:gd name="connsiteX50" fmla="*/ 48140 w 95240"/>
                <a:gd name="connsiteY50" fmla="*/ -94 h 197377"/>
                <a:gd name="connsiteX51" fmla="*/ 41777 w 95240"/>
                <a:gd name="connsiteY51" fmla="*/ 2173 h 197377"/>
                <a:gd name="connsiteX52" fmla="*/ 35367 w 95240"/>
                <a:gd name="connsiteY52" fmla="*/ 3335 h 197377"/>
                <a:gd name="connsiteX53" fmla="*/ 30052 w 95240"/>
                <a:gd name="connsiteY53" fmla="*/ 7793 h 197377"/>
                <a:gd name="connsiteX54" fmla="*/ 24623 w 95240"/>
                <a:gd name="connsiteY54" fmla="*/ 10565 h 197377"/>
                <a:gd name="connsiteX55" fmla="*/ 21451 w 95240"/>
                <a:gd name="connsiteY55" fmla="*/ 15794 h 197377"/>
                <a:gd name="connsiteX56" fmla="*/ 17460 w 95240"/>
                <a:gd name="connsiteY56" fmla="*/ 20566 h 197377"/>
                <a:gd name="connsiteX57" fmla="*/ 11945 w 95240"/>
                <a:gd name="connsiteY57" fmla="*/ 23442 h 197377"/>
                <a:gd name="connsiteX58" fmla="*/ 17917 w 95240"/>
                <a:gd name="connsiteY58" fmla="*/ 25509 h 197377"/>
                <a:gd name="connsiteX59" fmla="*/ 16384 w 95240"/>
                <a:gd name="connsiteY59" fmla="*/ 31634 h 197377"/>
                <a:gd name="connsiteX60" fmla="*/ 15603 w 95240"/>
                <a:gd name="connsiteY60" fmla="*/ 38482 h 197377"/>
                <a:gd name="connsiteX61" fmla="*/ 15184 w 95240"/>
                <a:gd name="connsiteY61" fmla="*/ 44636 h 197377"/>
                <a:gd name="connsiteX62" fmla="*/ 17603 w 95240"/>
                <a:gd name="connsiteY62" fmla="*/ 50313 h 197377"/>
                <a:gd name="connsiteX63" fmla="*/ 16984 w 95240"/>
                <a:gd name="connsiteY63" fmla="*/ 56837 h 197377"/>
                <a:gd name="connsiteX64" fmla="*/ 17012 w 95240"/>
                <a:gd name="connsiteY64" fmla="*/ 64600 h 197377"/>
                <a:gd name="connsiteX65" fmla="*/ 16412 w 95240"/>
                <a:gd name="connsiteY65" fmla="*/ 71229 h 197377"/>
                <a:gd name="connsiteX66" fmla="*/ 13907 w 95240"/>
                <a:gd name="connsiteY66" fmla="*/ 76668 h 197377"/>
                <a:gd name="connsiteX67" fmla="*/ 8888 w 95240"/>
                <a:gd name="connsiteY67" fmla="*/ 80211 h 197377"/>
                <a:gd name="connsiteX68" fmla="*/ 5544 w 95240"/>
                <a:gd name="connsiteY68" fmla="*/ 86498 h 197377"/>
                <a:gd name="connsiteX69" fmla="*/ 77 w 95240"/>
                <a:gd name="connsiteY69" fmla="*/ 89946 h 197377"/>
                <a:gd name="connsiteX70" fmla="*/ -266 w 95240"/>
                <a:gd name="connsiteY70" fmla="*/ 97156 h 197377"/>
                <a:gd name="connsiteX71" fmla="*/ 1944 w 95240"/>
                <a:gd name="connsiteY71" fmla="*/ 104433 h 197377"/>
                <a:gd name="connsiteX72" fmla="*/ 4430 w 95240"/>
                <a:gd name="connsiteY72" fmla="*/ 109968 h 197377"/>
                <a:gd name="connsiteX73" fmla="*/ 8545 w 95240"/>
                <a:gd name="connsiteY73" fmla="*/ 115216 h 197377"/>
                <a:gd name="connsiteX74" fmla="*/ 13659 w 95240"/>
                <a:gd name="connsiteY74" fmla="*/ 118912 h 197377"/>
                <a:gd name="connsiteX75" fmla="*/ 18746 w 95240"/>
                <a:gd name="connsiteY75" fmla="*/ 125274 h 197377"/>
                <a:gd name="connsiteX76" fmla="*/ 19784 w 95240"/>
                <a:gd name="connsiteY76" fmla="*/ 134180 h 197377"/>
                <a:gd name="connsiteX77" fmla="*/ 26213 w 95240"/>
                <a:gd name="connsiteY77" fmla="*/ 138590 h 197377"/>
                <a:gd name="connsiteX78" fmla="*/ 37148 w 95240"/>
                <a:gd name="connsiteY78" fmla="*/ 145781 h 197377"/>
                <a:gd name="connsiteX79" fmla="*/ 39062 w 95240"/>
                <a:gd name="connsiteY79" fmla="*/ 153230 h 197377"/>
                <a:gd name="connsiteX80" fmla="*/ 40539 w 95240"/>
                <a:gd name="connsiteY80" fmla="*/ 159126 h 197377"/>
                <a:gd name="connsiteX81" fmla="*/ 44730 w 95240"/>
                <a:gd name="connsiteY81" fmla="*/ 175890 h 197377"/>
                <a:gd name="connsiteX82" fmla="*/ 48845 w 95240"/>
                <a:gd name="connsiteY82" fmla="*/ 192263 h 19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5240" h="197377">
                  <a:moveTo>
                    <a:pt x="78611" y="102843"/>
                  </a:moveTo>
                  <a:lnTo>
                    <a:pt x="82535" y="98166"/>
                  </a:lnTo>
                  <a:lnTo>
                    <a:pt x="76143" y="95309"/>
                  </a:lnTo>
                  <a:lnTo>
                    <a:pt x="78325" y="101204"/>
                  </a:lnTo>
                  <a:close/>
                  <a:moveTo>
                    <a:pt x="50112" y="197283"/>
                  </a:moveTo>
                  <a:lnTo>
                    <a:pt x="56817" y="194283"/>
                  </a:lnTo>
                  <a:lnTo>
                    <a:pt x="62056" y="189539"/>
                  </a:lnTo>
                  <a:lnTo>
                    <a:pt x="65438" y="184091"/>
                  </a:lnTo>
                  <a:lnTo>
                    <a:pt x="66914" y="177624"/>
                  </a:lnTo>
                  <a:lnTo>
                    <a:pt x="65933" y="171194"/>
                  </a:lnTo>
                  <a:lnTo>
                    <a:pt x="63599" y="165422"/>
                  </a:lnTo>
                  <a:lnTo>
                    <a:pt x="65751" y="157926"/>
                  </a:lnTo>
                  <a:lnTo>
                    <a:pt x="71162" y="154954"/>
                  </a:lnTo>
                  <a:lnTo>
                    <a:pt x="74191" y="149754"/>
                  </a:lnTo>
                  <a:lnTo>
                    <a:pt x="79439" y="145753"/>
                  </a:lnTo>
                  <a:lnTo>
                    <a:pt x="88469" y="140095"/>
                  </a:lnTo>
                  <a:lnTo>
                    <a:pt x="94603" y="137104"/>
                  </a:lnTo>
                  <a:lnTo>
                    <a:pt x="93803" y="130189"/>
                  </a:lnTo>
                  <a:lnTo>
                    <a:pt x="93660" y="122655"/>
                  </a:lnTo>
                  <a:lnTo>
                    <a:pt x="94974" y="116483"/>
                  </a:lnTo>
                  <a:lnTo>
                    <a:pt x="89240" y="112968"/>
                  </a:lnTo>
                  <a:lnTo>
                    <a:pt x="83868" y="110406"/>
                  </a:lnTo>
                  <a:lnTo>
                    <a:pt x="83135" y="103862"/>
                  </a:lnTo>
                  <a:lnTo>
                    <a:pt x="77753" y="106415"/>
                  </a:lnTo>
                  <a:lnTo>
                    <a:pt x="74981" y="100995"/>
                  </a:lnTo>
                  <a:lnTo>
                    <a:pt x="69190" y="102890"/>
                  </a:lnTo>
                  <a:lnTo>
                    <a:pt x="64237" y="99557"/>
                  </a:lnTo>
                  <a:lnTo>
                    <a:pt x="60018" y="95261"/>
                  </a:lnTo>
                  <a:lnTo>
                    <a:pt x="57751" y="89441"/>
                  </a:lnTo>
                  <a:lnTo>
                    <a:pt x="59989" y="83802"/>
                  </a:lnTo>
                  <a:lnTo>
                    <a:pt x="65314" y="81030"/>
                  </a:lnTo>
                  <a:lnTo>
                    <a:pt x="70829" y="77678"/>
                  </a:lnTo>
                  <a:lnTo>
                    <a:pt x="74467" y="72525"/>
                  </a:lnTo>
                  <a:lnTo>
                    <a:pt x="78134" y="65962"/>
                  </a:lnTo>
                  <a:lnTo>
                    <a:pt x="81077" y="60533"/>
                  </a:lnTo>
                  <a:lnTo>
                    <a:pt x="80287" y="54551"/>
                  </a:lnTo>
                  <a:lnTo>
                    <a:pt x="80144" y="48512"/>
                  </a:lnTo>
                  <a:lnTo>
                    <a:pt x="75076" y="45017"/>
                  </a:lnTo>
                  <a:lnTo>
                    <a:pt x="70209" y="41349"/>
                  </a:lnTo>
                  <a:lnTo>
                    <a:pt x="67104" y="36215"/>
                  </a:lnTo>
                  <a:lnTo>
                    <a:pt x="66485" y="30177"/>
                  </a:lnTo>
                  <a:lnTo>
                    <a:pt x="70809" y="25509"/>
                  </a:lnTo>
                  <a:lnTo>
                    <a:pt x="75458" y="20613"/>
                  </a:lnTo>
                  <a:lnTo>
                    <a:pt x="78658" y="15165"/>
                  </a:lnTo>
                  <a:lnTo>
                    <a:pt x="78991" y="8631"/>
                  </a:lnTo>
                  <a:lnTo>
                    <a:pt x="71162" y="12727"/>
                  </a:lnTo>
                  <a:lnTo>
                    <a:pt x="65923" y="16689"/>
                  </a:lnTo>
                  <a:lnTo>
                    <a:pt x="61884" y="11793"/>
                  </a:lnTo>
                  <a:lnTo>
                    <a:pt x="59170" y="5621"/>
                  </a:lnTo>
                  <a:lnTo>
                    <a:pt x="53626" y="2678"/>
                  </a:lnTo>
                  <a:lnTo>
                    <a:pt x="48140" y="-94"/>
                  </a:lnTo>
                  <a:lnTo>
                    <a:pt x="41777" y="2173"/>
                  </a:lnTo>
                  <a:lnTo>
                    <a:pt x="35367" y="3335"/>
                  </a:lnTo>
                  <a:lnTo>
                    <a:pt x="30052" y="7793"/>
                  </a:lnTo>
                  <a:lnTo>
                    <a:pt x="24623" y="10565"/>
                  </a:lnTo>
                  <a:lnTo>
                    <a:pt x="21451" y="15794"/>
                  </a:lnTo>
                  <a:lnTo>
                    <a:pt x="17460" y="20566"/>
                  </a:lnTo>
                  <a:lnTo>
                    <a:pt x="11945" y="23442"/>
                  </a:lnTo>
                  <a:lnTo>
                    <a:pt x="17917" y="25509"/>
                  </a:lnTo>
                  <a:lnTo>
                    <a:pt x="16384" y="31634"/>
                  </a:lnTo>
                  <a:lnTo>
                    <a:pt x="15603" y="38482"/>
                  </a:lnTo>
                  <a:lnTo>
                    <a:pt x="15184" y="44636"/>
                  </a:lnTo>
                  <a:lnTo>
                    <a:pt x="17603" y="50313"/>
                  </a:lnTo>
                  <a:lnTo>
                    <a:pt x="16984" y="56837"/>
                  </a:lnTo>
                  <a:lnTo>
                    <a:pt x="17012" y="64600"/>
                  </a:lnTo>
                  <a:lnTo>
                    <a:pt x="16412" y="71229"/>
                  </a:lnTo>
                  <a:lnTo>
                    <a:pt x="13907" y="76668"/>
                  </a:lnTo>
                  <a:lnTo>
                    <a:pt x="8888" y="80211"/>
                  </a:lnTo>
                  <a:lnTo>
                    <a:pt x="5544" y="86498"/>
                  </a:lnTo>
                  <a:lnTo>
                    <a:pt x="77" y="89946"/>
                  </a:lnTo>
                  <a:lnTo>
                    <a:pt x="-266" y="97156"/>
                  </a:lnTo>
                  <a:lnTo>
                    <a:pt x="1944" y="104433"/>
                  </a:lnTo>
                  <a:lnTo>
                    <a:pt x="4430" y="109968"/>
                  </a:lnTo>
                  <a:lnTo>
                    <a:pt x="8545" y="115216"/>
                  </a:lnTo>
                  <a:lnTo>
                    <a:pt x="13659" y="118912"/>
                  </a:lnTo>
                  <a:lnTo>
                    <a:pt x="18746" y="125274"/>
                  </a:lnTo>
                  <a:lnTo>
                    <a:pt x="19784" y="134180"/>
                  </a:lnTo>
                  <a:lnTo>
                    <a:pt x="26213" y="138590"/>
                  </a:lnTo>
                  <a:lnTo>
                    <a:pt x="37148" y="145781"/>
                  </a:lnTo>
                  <a:lnTo>
                    <a:pt x="39062" y="153230"/>
                  </a:lnTo>
                  <a:lnTo>
                    <a:pt x="40539" y="159126"/>
                  </a:lnTo>
                  <a:lnTo>
                    <a:pt x="44730" y="175890"/>
                  </a:lnTo>
                  <a:lnTo>
                    <a:pt x="48845" y="192263"/>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3" name="Freeform: Shape 52">
              <a:extLst>
                <a:ext uri="{FF2B5EF4-FFF2-40B4-BE49-F238E27FC236}">
                  <a16:creationId xmlns:a16="http://schemas.microsoft.com/office/drawing/2014/main" id="{7D2DEC7F-9275-74D2-84D2-03D2F356C76A}"/>
                </a:ext>
              </a:extLst>
            </p:cNvPr>
            <p:cNvSpPr/>
            <p:nvPr/>
          </p:nvSpPr>
          <p:spPr>
            <a:xfrm>
              <a:off x="7030354" y="2493633"/>
              <a:ext cx="776079" cy="851949"/>
            </a:xfrm>
            <a:custGeom>
              <a:avLst/>
              <a:gdLst>
                <a:gd name="connsiteX0" fmla="*/ 173480 w 272310"/>
                <a:gd name="connsiteY0" fmla="*/ 298629 h 298723"/>
                <a:gd name="connsiteX1" fmla="*/ 180481 w 272310"/>
                <a:gd name="connsiteY1" fmla="*/ 294152 h 298723"/>
                <a:gd name="connsiteX2" fmla="*/ 186834 w 272310"/>
                <a:gd name="connsiteY2" fmla="*/ 294133 h 298723"/>
                <a:gd name="connsiteX3" fmla="*/ 192911 w 272310"/>
                <a:gd name="connsiteY3" fmla="*/ 295295 h 298723"/>
                <a:gd name="connsiteX4" fmla="*/ 199864 w 272310"/>
                <a:gd name="connsiteY4" fmla="*/ 294876 h 298723"/>
                <a:gd name="connsiteX5" fmla="*/ 205798 w 272310"/>
                <a:gd name="connsiteY5" fmla="*/ 288599 h 298723"/>
                <a:gd name="connsiteX6" fmla="*/ 216342 w 272310"/>
                <a:gd name="connsiteY6" fmla="*/ 285180 h 298723"/>
                <a:gd name="connsiteX7" fmla="*/ 221371 w 272310"/>
                <a:gd name="connsiteY7" fmla="*/ 288580 h 298723"/>
                <a:gd name="connsiteX8" fmla="*/ 229182 w 272310"/>
                <a:gd name="connsiteY8" fmla="*/ 285075 h 298723"/>
                <a:gd name="connsiteX9" fmla="*/ 238507 w 272310"/>
                <a:gd name="connsiteY9" fmla="*/ 281475 h 298723"/>
                <a:gd name="connsiteX10" fmla="*/ 244784 w 272310"/>
                <a:gd name="connsiteY10" fmla="*/ 279560 h 298723"/>
                <a:gd name="connsiteX11" fmla="*/ 250441 w 272310"/>
                <a:gd name="connsiteY11" fmla="*/ 276112 h 298723"/>
                <a:gd name="connsiteX12" fmla="*/ 257100 w 272310"/>
                <a:gd name="connsiteY12" fmla="*/ 273350 h 298723"/>
                <a:gd name="connsiteX13" fmla="*/ 262529 w 272310"/>
                <a:gd name="connsiteY13" fmla="*/ 270578 h 298723"/>
                <a:gd name="connsiteX14" fmla="*/ 268168 w 272310"/>
                <a:gd name="connsiteY14" fmla="*/ 265444 h 298723"/>
                <a:gd name="connsiteX15" fmla="*/ 272044 w 272310"/>
                <a:gd name="connsiteY15" fmla="*/ 259548 h 298723"/>
                <a:gd name="connsiteX16" fmla="*/ 267005 w 272310"/>
                <a:gd name="connsiteY16" fmla="*/ 255509 h 298723"/>
                <a:gd name="connsiteX17" fmla="*/ 261005 w 272310"/>
                <a:gd name="connsiteY17" fmla="*/ 253290 h 298723"/>
                <a:gd name="connsiteX18" fmla="*/ 255604 w 272310"/>
                <a:gd name="connsiteY18" fmla="*/ 249032 h 298723"/>
                <a:gd name="connsiteX19" fmla="*/ 255423 w 272310"/>
                <a:gd name="connsiteY19" fmla="*/ 242784 h 298723"/>
                <a:gd name="connsiteX20" fmla="*/ 254185 w 272310"/>
                <a:gd name="connsiteY20" fmla="*/ 236478 h 298723"/>
                <a:gd name="connsiteX21" fmla="*/ 249841 w 272310"/>
                <a:gd name="connsiteY21" fmla="*/ 232173 h 298723"/>
                <a:gd name="connsiteX22" fmla="*/ 252937 w 272310"/>
                <a:gd name="connsiteY22" fmla="*/ 226906 h 298723"/>
                <a:gd name="connsiteX23" fmla="*/ 250518 w 272310"/>
                <a:gd name="connsiteY23" fmla="*/ 221248 h 298723"/>
                <a:gd name="connsiteX24" fmla="*/ 248289 w 272310"/>
                <a:gd name="connsiteY24" fmla="*/ 214942 h 298723"/>
                <a:gd name="connsiteX25" fmla="*/ 246013 w 272310"/>
                <a:gd name="connsiteY25" fmla="*/ 209370 h 298723"/>
                <a:gd name="connsiteX26" fmla="*/ 244260 w 272310"/>
                <a:gd name="connsiteY26" fmla="*/ 202979 h 298723"/>
                <a:gd name="connsiteX27" fmla="*/ 249041 w 272310"/>
                <a:gd name="connsiteY27" fmla="*/ 194226 h 298723"/>
                <a:gd name="connsiteX28" fmla="*/ 247317 w 272310"/>
                <a:gd name="connsiteY28" fmla="*/ 187872 h 298723"/>
                <a:gd name="connsiteX29" fmla="*/ 245908 w 272310"/>
                <a:gd name="connsiteY29" fmla="*/ 179100 h 298723"/>
                <a:gd name="connsiteX30" fmla="*/ 249165 w 272310"/>
                <a:gd name="connsiteY30" fmla="*/ 172080 h 298723"/>
                <a:gd name="connsiteX31" fmla="*/ 252033 w 272310"/>
                <a:gd name="connsiteY31" fmla="*/ 166479 h 298723"/>
                <a:gd name="connsiteX32" fmla="*/ 246413 w 272310"/>
                <a:gd name="connsiteY32" fmla="*/ 161336 h 298723"/>
                <a:gd name="connsiteX33" fmla="*/ 243127 w 272310"/>
                <a:gd name="connsiteY33" fmla="*/ 156059 h 298723"/>
                <a:gd name="connsiteX34" fmla="*/ 238250 w 272310"/>
                <a:gd name="connsiteY34" fmla="*/ 151315 h 298723"/>
                <a:gd name="connsiteX35" fmla="*/ 235592 w 272310"/>
                <a:gd name="connsiteY35" fmla="*/ 144257 h 298723"/>
                <a:gd name="connsiteX36" fmla="*/ 235335 w 272310"/>
                <a:gd name="connsiteY36" fmla="*/ 133180 h 298723"/>
                <a:gd name="connsiteX37" fmla="*/ 237802 w 272310"/>
                <a:gd name="connsiteY37" fmla="*/ 127608 h 298723"/>
                <a:gd name="connsiteX38" fmla="*/ 240088 w 272310"/>
                <a:gd name="connsiteY38" fmla="*/ 122055 h 298723"/>
                <a:gd name="connsiteX39" fmla="*/ 242345 w 272310"/>
                <a:gd name="connsiteY39" fmla="*/ 115806 h 298723"/>
                <a:gd name="connsiteX40" fmla="*/ 242736 w 272310"/>
                <a:gd name="connsiteY40" fmla="*/ 108939 h 298723"/>
                <a:gd name="connsiteX41" fmla="*/ 244698 w 272310"/>
                <a:gd name="connsiteY41" fmla="*/ 101681 h 298723"/>
                <a:gd name="connsiteX42" fmla="*/ 235573 w 272310"/>
                <a:gd name="connsiteY42" fmla="*/ 94423 h 298723"/>
                <a:gd name="connsiteX43" fmla="*/ 223105 w 272310"/>
                <a:gd name="connsiteY43" fmla="*/ 84650 h 298723"/>
                <a:gd name="connsiteX44" fmla="*/ 214437 w 272310"/>
                <a:gd name="connsiteY44" fmla="*/ 77649 h 298723"/>
                <a:gd name="connsiteX45" fmla="*/ 209341 w 272310"/>
                <a:gd name="connsiteY45" fmla="*/ 72182 h 298723"/>
                <a:gd name="connsiteX46" fmla="*/ 205008 w 272310"/>
                <a:gd name="connsiteY46" fmla="*/ 67657 h 298723"/>
                <a:gd name="connsiteX47" fmla="*/ 207274 w 272310"/>
                <a:gd name="connsiteY47" fmla="*/ 57123 h 298723"/>
                <a:gd name="connsiteX48" fmla="*/ 196939 w 272310"/>
                <a:gd name="connsiteY48" fmla="*/ 50226 h 298723"/>
                <a:gd name="connsiteX49" fmla="*/ 171156 w 272310"/>
                <a:gd name="connsiteY49" fmla="*/ 33939 h 298723"/>
                <a:gd name="connsiteX50" fmla="*/ 152658 w 272310"/>
                <a:gd name="connsiteY50" fmla="*/ 22166 h 298723"/>
                <a:gd name="connsiteX51" fmla="*/ 145076 w 272310"/>
                <a:gd name="connsiteY51" fmla="*/ 17432 h 298723"/>
                <a:gd name="connsiteX52" fmla="*/ 135313 w 272310"/>
                <a:gd name="connsiteY52" fmla="*/ 11193 h 298723"/>
                <a:gd name="connsiteX53" fmla="*/ 118463 w 272310"/>
                <a:gd name="connsiteY53" fmla="*/ 525 h 298723"/>
                <a:gd name="connsiteX54" fmla="*/ 110253 w 272310"/>
                <a:gd name="connsiteY54" fmla="*/ -84 h 298723"/>
                <a:gd name="connsiteX55" fmla="*/ 35539 w 272310"/>
                <a:gd name="connsiteY55" fmla="*/ -94 h 298723"/>
                <a:gd name="connsiteX56" fmla="*/ 28595 w 272310"/>
                <a:gd name="connsiteY56" fmla="*/ 1620 h 298723"/>
                <a:gd name="connsiteX57" fmla="*/ 31072 w 272310"/>
                <a:gd name="connsiteY57" fmla="*/ 9298 h 298723"/>
                <a:gd name="connsiteX58" fmla="*/ 35405 w 272310"/>
                <a:gd name="connsiteY58" fmla="*/ 14441 h 298723"/>
                <a:gd name="connsiteX59" fmla="*/ 37367 w 272310"/>
                <a:gd name="connsiteY59" fmla="*/ 20947 h 298723"/>
                <a:gd name="connsiteX60" fmla="*/ 39091 w 272310"/>
                <a:gd name="connsiteY60" fmla="*/ 29643 h 298723"/>
                <a:gd name="connsiteX61" fmla="*/ 38015 w 272310"/>
                <a:gd name="connsiteY61" fmla="*/ 36358 h 298723"/>
                <a:gd name="connsiteX62" fmla="*/ 32243 w 272310"/>
                <a:gd name="connsiteY62" fmla="*/ 38787 h 298723"/>
                <a:gd name="connsiteX63" fmla="*/ 28033 w 272310"/>
                <a:gd name="connsiteY63" fmla="*/ 44245 h 298723"/>
                <a:gd name="connsiteX64" fmla="*/ 26690 w 272310"/>
                <a:gd name="connsiteY64" fmla="*/ 51560 h 298723"/>
                <a:gd name="connsiteX65" fmla="*/ 33176 w 272310"/>
                <a:gd name="connsiteY65" fmla="*/ 55246 h 298723"/>
                <a:gd name="connsiteX66" fmla="*/ 37567 w 272310"/>
                <a:gd name="connsiteY66" fmla="*/ 59990 h 298723"/>
                <a:gd name="connsiteX67" fmla="*/ 32395 w 272310"/>
                <a:gd name="connsiteY67" fmla="*/ 65190 h 298723"/>
                <a:gd name="connsiteX68" fmla="*/ 28690 w 272310"/>
                <a:gd name="connsiteY68" fmla="*/ 69867 h 298723"/>
                <a:gd name="connsiteX69" fmla="*/ 26023 w 272310"/>
                <a:gd name="connsiteY69" fmla="*/ 75258 h 298723"/>
                <a:gd name="connsiteX70" fmla="*/ 21699 w 272310"/>
                <a:gd name="connsiteY70" fmla="*/ 83059 h 298723"/>
                <a:gd name="connsiteX71" fmla="*/ 17965 w 272310"/>
                <a:gd name="connsiteY71" fmla="*/ 88660 h 298723"/>
                <a:gd name="connsiteX72" fmla="*/ 12993 w 272310"/>
                <a:gd name="connsiteY72" fmla="*/ 93832 h 298723"/>
                <a:gd name="connsiteX73" fmla="*/ 2249 w 272310"/>
                <a:gd name="connsiteY73" fmla="*/ 95651 h 298723"/>
                <a:gd name="connsiteX74" fmla="*/ -266 w 272310"/>
                <a:gd name="connsiteY74" fmla="*/ 101281 h 298723"/>
                <a:gd name="connsiteX75" fmla="*/ 382 w 272310"/>
                <a:gd name="connsiteY75" fmla="*/ 110948 h 298723"/>
                <a:gd name="connsiteX76" fmla="*/ 3973 w 272310"/>
                <a:gd name="connsiteY76" fmla="*/ 121931 h 298723"/>
                <a:gd name="connsiteX77" fmla="*/ 6145 w 272310"/>
                <a:gd name="connsiteY77" fmla="*/ 128294 h 298723"/>
                <a:gd name="connsiteX78" fmla="*/ 4087 w 272310"/>
                <a:gd name="connsiteY78" fmla="*/ 135923 h 298723"/>
                <a:gd name="connsiteX79" fmla="*/ 4087 w 272310"/>
                <a:gd name="connsiteY79" fmla="*/ 144210 h 298723"/>
                <a:gd name="connsiteX80" fmla="*/ 7049 w 272310"/>
                <a:gd name="connsiteY80" fmla="*/ 151353 h 298723"/>
                <a:gd name="connsiteX81" fmla="*/ 12412 w 272310"/>
                <a:gd name="connsiteY81" fmla="*/ 159478 h 298723"/>
                <a:gd name="connsiteX82" fmla="*/ 20470 w 272310"/>
                <a:gd name="connsiteY82" fmla="*/ 166451 h 298723"/>
                <a:gd name="connsiteX83" fmla="*/ 23642 w 272310"/>
                <a:gd name="connsiteY83" fmla="*/ 172013 h 298723"/>
                <a:gd name="connsiteX84" fmla="*/ 26433 w 272310"/>
                <a:gd name="connsiteY84" fmla="*/ 183100 h 298723"/>
                <a:gd name="connsiteX85" fmla="*/ 29519 w 272310"/>
                <a:gd name="connsiteY85" fmla="*/ 188596 h 298723"/>
                <a:gd name="connsiteX86" fmla="*/ 32272 w 272310"/>
                <a:gd name="connsiteY86" fmla="*/ 194168 h 298723"/>
                <a:gd name="connsiteX87" fmla="*/ 35072 w 272310"/>
                <a:gd name="connsiteY87" fmla="*/ 203417 h 298723"/>
                <a:gd name="connsiteX88" fmla="*/ 39920 w 272310"/>
                <a:gd name="connsiteY88" fmla="*/ 210656 h 298723"/>
                <a:gd name="connsiteX89" fmla="*/ 45968 w 272310"/>
                <a:gd name="connsiteY89" fmla="*/ 211761 h 298723"/>
                <a:gd name="connsiteX90" fmla="*/ 52845 w 272310"/>
                <a:gd name="connsiteY90" fmla="*/ 213371 h 298723"/>
                <a:gd name="connsiteX91" fmla="*/ 55913 w 272310"/>
                <a:gd name="connsiteY91" fmla="*/ 219514 h 298723"/>
                <a:gd name="connsiteX92" fmla="*/ 62523 w 272310"/>
                <a:gd name="connsiteY92" fmla="*/ 220229 h 298723"/>
                <a:gd name="connsiteX93" fmla="*/ 67704 w 272310"/>
                <a:gd name="connsiteY93" fmla="*/ 223582 h 298723"/>
                <a:gd name="connsiteX94" fmla="*/ 74439 w 272310"/>
                <a:gd name="connsiteY94" fmla="*/ 225268 h 298723"/>
                <a:gd name="connsiteX95" fmla="*/ 82373 w 272310"/>
                <a:gd name="connsiteY95" fmla="*/ 229897 h 298723"/>
                <a:gd name="connsiteX96" fmla="*/ 88202 w 272310"/>
                <a:gd name="connsiteY96" fmla="*/ 232202 h 298723"/>
                <a:gd name="connsiteX97" fmla="*/ 93574 w 272310"/>
                <a:gd name="connsiteY97" fmla="*/ 236126 h 298723"/>
                <a:gd name="connsiteX98" fmla="*/ 100842 w 272310"/>
                <a:gd name="connsiteY98" fmla="*/ 239365 h 298723"/>
                <a:gd name="connsiteX99" fmla="*/ 106852 w 272310"/>
                <a:gd name="connsiteY99" fmla="*/ 238231 h 298723"/>
                <a:gd name="connsiteX100" fmla="*/ 114044 w 272310"/>
                <a:gd name="connsiteY100" fmla="*/ 235678 h 298723"/>
                <a:gd name="connsiteX101" fmla="*/ 121425 w 272310"/>
                <a:gd name="connsiteY101" fmla="*/ 244070 h 298723"/>
                <a:gd name="connsiteX102" fmla="*/ 125245 w 272310"/>
                <a:gd name="connsiteY102" fmla="*/ 249737 h 298723"/>
                <a:gd name="connsiteX103" fmla="*/ 127036 w 272310"/>
                <a:gd name="connsiteY103" fmla="*/ 258300 h 298723"/>
                <a:gd name="connsiteX104" fmla="*/ 126569 w 272310"/>
                <a:gd name="connsiteY104" fmla="*/ 265330 h 298723"/>
                <a:gd name="connsiteX105" fmla="*/ 128798 w 272310"/>
                <a:gd name="connsiteY105" fmla="*/ 271940 h 298723"/>
                <a:gd name="connsiteX106" fmla="*/ 127522 w 272310"/>
                <a:gd name="connsiteY106" fmla="*/ 280694 h 298723"/>
                <a:gd name="connsiteX107" fmla="*/ 131436 w 272310"/>
                <a:gd name="connsiteY107" fmla="*/ 285218 h 298723"/>
                <a:gd name="connsiteX108" fmla="*/ 135113 w 272310"/>
                <a:gd name="connsiteY108" fmla="*/ 293467 h 298723"/>
                <a:gd name="connsiteX109" fmla="*/ 145666 w 272310"/>
                <a:gd name="connsiteY109" fmla="*/ 293733 h 298723"/>
                <a:gd name="connsiteX110" fmla="*/ 152029 w 272310"/>
                <a:gd name="connsiteY110" fmla="*/ 293124 h 298723"/>
                <a:gd name="connsiteX111" fmla="*/ 156716 w 272310"/>
                <a:gd name="connsiteY111" fmla="*/ 288904 h 298723"/>
                <a:gd name="connsiteX112" fmla="*/ 162411 w 272310"/>
                <a:gd name="connsiteY112" fmla="*/ 292504 h 298723"/>
                <a:gd name="connsiteX113" fmla="*/ 167364 w 272310"/>
                <a:gd name="connsiteY113" fmla="*/ 296657 h 298723"/>
                <a:gd name="connsiteX114" fmla="*/ 173508 w 272310"/>
                <a:gd name="connsiteY114" fmla="*/ 296877 h 298723"/>
                <a:gd name="connsiteX115" fmla="*/ 251413 w 272310"/>
                <a:gd name="connsiteY115" fmla="*/ 151973 h 298723"/>
                <a:gd name="connsiteX116" fmla="*/ 252290 w 272310"/>
                <a:gd name="connsiteY116" fmla="*/ 144267 h 298723"/>
                <a:gd name="connsiteX117" fmla="*/ 248632 w 272310"/>
                <a:gd name="connsiteY117" fmla="*/ 138714 h 298723"/>
                <a:gd name="connsiteX118" fmla="*/ 246813 w 272310"/>
                <a:gd name="connsiteY118" fmla="*/ 130989 h 298723"/>
                <a:gd name="connsiteX119" fmla="*/ 244307 w 272310"/>
                <a:gd name="connsiteY119" fmla="*/ 136914 h 298723"/>
                <a:gd name="connsiteX120" fmla="*/ 243621 w 272310"/>
                <a:gd name="connsiteY120" fmla="*/ 143229 h 298723"/>
                <a:gd name="connsiteX121" fmla="*/ 248232 w 272310"/>
                <a:gd name="connsiteY121" fmla="*/ 147582 h 298723"/>
                <a:gd name="connsiteX122" fmla="*/ 257452 w 272310"/>
                <a:gd name="connsiteY122" fmla="*/ 124102 h 298723"/>
                <a:gd name="connsiteX123" fmla="*/ 260795 w 272310"/>
                <a:gd name="connsiteY123" fmla="*/ 116502 h 298723"/>
                <a:gd name="connsiteX124" fmla="*/ 261510 w 272310"/>
                <a:gd name="connsiteY124" fmla="*/ 108262 h 298723"/>
                <a:gd name="connsiteX125" fmla="*/ 256395 w 272310"/>
                <a:gd name="connsiteY125" fmla="*/ 112187 h 298723"/>
                <a:gd name="connsiteX126" fmla="*/ 257414 w 272310"/>
                <a:gd name="connsiteY126" fmla="*/ 118930 h 298723"/>
                <a:gd name="connsiteX127" fmla="*/ 254918 w 272310"/>
                <a:gd name="connsiteY127" fmla="*/ 194083 h 298723"/>
                <a:gd name="connsiteX128" fmla="*/ 259948 w 272310"/>
                <a:gd name="connsiteY128" fmla="*/ 188672 h 298723"/>
                <a:gd name="connsiteX129" fmla="*/ 254575 w 272310"/>
                <a:gd name="connsiteY129" fmla="*/ 191492 h 2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72310" h="298723">
                  <a:moveTo>
                    <a:pt x="173480" y="298629"/>
                  </a:moveTo>
                  <a:lnTo>
                    <a:pt x="180481" y="294152"/>
                  </a:lnTo>
                  <a:lnTo>
                    <a:pt x="186834" y="294133"/>
                  </a:lnTo>
                  <a:lnTo>
                    <a:pt x="192911" y="295295"/>
                  </a:lnTo>
                  <a:lnTo>
                    <a:pt x="199864" y="294876"/>
                  </a:lnTo>
                  <a:lnTo>
                    <a:pt x="205798" y="288599"/>
                  </a:lnTo>
                  <a:lnTo>
                    <a:pt x="216342" y="285180"/>
                  </a:lnTo>
                  <a:lnTo>
                    <a:pt x="221371" y="288580"/>
                  </a:lnTo>
                  <a:lnTo>
                    <a:pt x="229182" y="285075"/>
                  </a:lnTo>
                  <a:lnTo>
                    <a:pt x="238507" y="281475"/>
                  </a:lnTo>
                  <a:lnTo>
                    <a:pt x="244784" y="279560"/>
                  </a:lnTo>
                  <a:lnTo>
                    <a:pt x="250441" y="276112"/>
                  </a:lnTo>
                  <a:lnTo>
                    <a:pt x="257100" y="273350"/>
                  </a:lnTo>
                  <a:lnTo>
                    <a:pt x="262529" y="270578"/>
                  </a:lnTo>
                  <a:lnTo>
                    <a:pt x="268168" y="265444"/>
                  </a:lnTo>
                  <a:lnTo>
                    <a:pt x="272044" y="259548"/>
                  </a:lnTo>
                  <a:lnTo>
                    <a:pt x="267005" y="255509"/>
                  </a:lnTo>
                  <a:lnTo>
                    <a:pt x="261005" y="253290"/>
                  </a:lnTo>
                  <a:lnTo>
                    <a:pt x="255604" y="249032"/>
                  </a:lnTo>
                  <a:lnTo>
                    <a:pt x="255423" y="242784"/>
                  </a:lnTo>
                  <a:lnTo>
                    <a:pt x="254185" y="236478"/>
                  </a:lnTo>
                  <a:lnTo>
                    <a:pt x="249841" y="232173"/>
                  </a:lnTo>
                  <a:lnTo>
                    <a:pt x="252937" y="226906"/>
                  </a:lnTo>
                  <a:lnTo>
                    <a:pt x="250518" y="221248"/>
                  </a:lnTo>
                  <a:lnTo>
                    <a:pt x="248289" y="214942"/>
                  </a:lnTo>
                  <a:lnTo>
                    <a:pt x="246013" y="209370"/>
                  </a:lnTo>
                  <a:lnTo>
                    <a:pt x="244260" y="202979"/>
                  </a:lnTo>
                  <a:lnTo>
                    <a:pt x="249041" y="194226"/>
                  </a:lnTo>
                  <a:lnTo>
                    <a:pt x="247317" y="187872"/>
                  </a:lnTo>
                  <a:lnTo>
                    <a:pt x="245908" y="179100"/>
                  </a:lnTo>
                  <a:lnTo>
                    <a:pt x="249165" y="172080"/>
                  </a:lnTo>
                  <a:lnTo>
                    <a:pt x="252033" y="166479"/>
                  </a:lnTo>
                  <a:lnTo>
                    <a:pt x="246413" y="161336"/>
                  </a:lnTo>
                  <a:lnTo>
                    <a:pt x="243127" y="156059"/>
                  </a:lnTo>
                  <a:lnTo>
                    <a:pt x="238250" y="151315"/>
                  </a:lnTo>
                  <a:lnTo>
                    <a:pt x="235592" y="144257"/>
                  </a:lnTo>
                  <a:lnTo>
                    <a:pt x="235335" y="133180"/>
                  </a:lnTo>
                  <a:lnTo>
                    <a:pt x="237802" y="127608"/>
                  </a:lnTo>
                  <a:lnTo>
                    <a:pt x="240088" y="122055"/>
                  </a:lnTo>
                  <a:lnTo>
                    <a:pt x="242345" y="115806"/>
                  </a:lnTo>
                  <a:lnTo>
                    <a:pt x="242736" y="108939"/>
                  </a:lnTo>
                  <a:lnTo>
                    <a:pt x="244698" y="101681"/>
                  </a:lnTo>
                  <a:lnTo>
                    <a:pt x="235573" y="94423"/>
                  </a:lnTo>
                  <a:lnTo>
                    <a:pt x="223105" y="84650"/>
                  </a:lnTo>
                  <a:lnTo>
                    <a:pt x="214437" y="77649"/>
                  </a:lnTo>
                  <a:lnTo>
                    <a:pt x="209341" y="72182"/>
                  </a:lnTo>
                  <a:lnTo>
                    <a:pt x="205008" y="67657"/>
                  </a:lnTo>
                  <a:lnTo>
                    <a:pt x="207274" y="57123"/>
                  </a:lnTo>
                  <a:lnTo>
                    <a:pt x="196939" y="50226"/>
                  </a:lnTo>
                  <a:lnTo>
                    <a:pt x="171156" y="33939"/>
                  </a:lnTo>
                  <a:lnTo>
                    <a:pt x="152658" y="22166"/>
                  </a:lnTo>
                  <a:lnTo>
                    <a:pt x="145076" y="17432"/>
                  </a:lnTo>
                  <a:lnTo>
                    <a:pt x="135313" y="11193"/>
                  </a:lnTo>
                  <a:lnTo>
                    <a:pt x="118463" y="525"/>
                  </a:lnTo>
                  <a:lnTo>
                    <a:pt x="110253" y="-84"/>
                  </a:lnTo>
                  <a:lnTo>
                    <a:pt x="35539" y="-94"/>
                  </a:lnTo>
                  <a:lnTo>
                    <a:pt x="28595" y="1620"/>
                  </a:lnTo>
                  <a:lnTo>
                    <a:pt x="31072" y="9298"/>
                  </a:lnTo>
                  <a:lnTo>
                    <a:pt x="35405" y="14441"/>
                  </a:lnTo>
                  <a:lnTo>
                    <a:pt x="37367" y="20947"/>
                  </a:lnTo>
                  <a:lnTo>
                    <a:pt x="39091" y="29643"/>
                  </a:lnTo>
                  <a:lnTo>
                    <a:pt x="38015" y="36358"/>
                  </a:lnTo>
                  <a:lnTo>
                    <a:pt x="32243" y="38787"/>
                  </a:lnTo>
                  <a:lnTo>
                    <a:pt x="28033" y="44245"/>
                  </a:lnTo>
                  <a:lnTo>
                    <a:pt x="26690" y="51560"/>
                  </a:lnTo>
                  <a:lnTo>
                    <a:pt x="33176" y="55246"/>
                  </a:lnTo>
                  <a:lnTo>
                    <a:pt x="37567" y="59990"/>
                  </a:lnTo>
                  <a:lnTo>
                    <a:pt x="32395" y="65190"/>
                  </a:lnTo>
                  <a:lnTo>
                    <a:pt x="28690" y="69867"/>
                  </a:lnTo>
                  <a:lnTo>
                    <a:pt x="26023" y="75258"/>
                  </a:lnTo>
                  <a:lnTo>
                    <a:pt x="21699" y="83059"/>
                  </a:lnTo>
                  <a:lnTo>
                    <a:pt x="17965" y="88660"/>
                  </a:lnTo>
                  <a:lnTo>
                    <a:pt x="12993" y="93832"/>
                  </a:lnTo>
                  <a:lnTo>
                    <a:pt x="2249" y="95651"/>
                  </a:lnTo>
                  <a:lnTo>
                    <a:pt x="-266" y="101281"/>
                  </a:lnTo>
                  <a:lnTo>
                    <a:pt x="382" y="110948"/>
                  </a:lnTo>
                  <a:lnTo>
                    <a:pt x="3973" y="121931"/>
                  </a:lnTo>
                  <a:lnTo>
                    <a:pt x="6145" y="128294"/>
                  </a:lnTo>
                  <a:lnTo>
                    <a:pt x="4087" y="135923"/>
                  </a:lnTo>
                  <a:lnTo>
                    <a:pt x="4087" y="144210"/>
                  </a:lnTo>
                  <a:lnTo>
                    <a:pt x="7049" y="151353"/>
                  </a:lnTo>
                  <a:lnTo>
                    <a:pt x="12412" y="159478"/>
                  </a:lnTo>
                  <a:lnTo>
                    <a:pt x="20470" y="166451"/>
                  </a:lnTo>
                  <a:lnTo>
                    <a:pt x="23642" y="172013"/>
                  </a:lnTo>
                  <a:lnTo>
                    <a:pt x="26433" y="183100"/>
                  </a:lnTo>
                  <a:lnTo>
                    <a:pt x="29519" y="188596"/>
                  </a:lnTo>
                  <a:lnTo>
                    <a:pt x="32272" y="194168"/>
                  </a:lnTo>
                  <a:lnTo>
                    <a:pt x="35072" y="203417"/>
                  </a:lnTo>
                  <a:lnTo>
                    <a:pt x="39920" y="210656"/>
                  </a:lnTo>
                  <a:lnTo>
                    <a:pt x="45968" y="211761"/>
                  </a:lnTo>
                  <a:lnTo>
                    <a:pt x="52845" y="213371"/>
                  </a:lnTo>
                  <a:lnTo>
                    <a:pt x="55913" y="219514"/>
                  </a:lnTo>
                  <a:lnTo>
                    <a:pt x="62523" y="220229"/>
                  </a:lnTo>
                  <a:lnTo>
                    <a:pt x="67704" y="223582"/>
                  </a:lnTo>
                  <a:lnTo>
                    <a:pt x="74439" y="225268"/>
                  </a:lnTo>
                  <a:lnTo>
                    <a:pt x="82373" y="229897"/>
                  </a:lnTo>
                  <a:lnTo>
                    <a:pt x="88202" y="232202"/>
                  </a:lnTo>
                  <a:lnTo>
                    <a:pt x="93574" y="236126"/>
                  </a:lnTo>
                  <a:lnTo>
                    <a:pt x="100842" y="239365"/>
                  </a:lnTo>
                  <a:lnTo>
                    <a:pt x="106852" y="238231"/>
                  </a:lnTo>
                  <a:lnTo>
                    <a:pt x="114044" y="235678"/>
                  </a:lnTo>
                  <a:lnTo>
                    <a:pt x="121425" y="244070"/>
                  </a:lnTo>
                  <a:lnTo>
                    <a:pt x="125245" y="249737"/>
                  </a:lnTo>
                  <a:lnTo>
                    <a:pt x="127036" y="258300"/>
                  </a:lnTo>
                  <a:lnTo>
                    <a:pt x="126569" y="265330"/>
                  </a:lnTo>
                  <a:lnTo>
                    <a:pt x="128798" y="271940"/>
                  </a:lnTo>
                  <a:lnTo>
                    <a:pt x="127522" y="280694"/>
                  </a:lnTo>
                  <a:lnTo>
                    <a:pt x="131436" y="285218"/>
                  </a:lnTo>
                  <a:lnTo>
                    <a:pt x="135113" y="293467"/>
                  </a:lnTo>
                  <a:lnTo>
                    <a:pt x="145666" y="293733"/>
                  </a:lnTo>
                  <a:lnTo>
                    <a:pt x="152029" y="293124"/>
                  </a:lnTo>
                  <a:lnTo>
                    <a:pt x="156716" y="288904"/>
                  </a:lnTo>
                  <a:lnTo>
                    <a:pt x="162411" y="292504"/>
                  </a:lnTo>
                  <a:lnTo>
                    <a:pt x="167364" y="296657"/>
                  </a:lnTo>
                  <a:lnTo>
                    <a:pt x="173508" y="296877"/>
                  </a:lnTo>
                  <a:close/>
                  <a:moveTo>
                    <a:pt x="251413" y="151973"/>
                  </a:moveTo>
                  <a:lnTo>
                    <a:pt x="252290" y="144267"/>
                  </a:lnTo>
                  <a:lnTo>
                    <a:pt x="248632" y="138714"/>
                  </a:lnTo>
                  <a:lnTo>
                    <a:pt x="246813" y="130989"/>
                  </a:lnTo>
                  <a:lnTo>
                    <a:pt x="244307" y="136914"/>
                  </a:lnTo>
                  <a:lnTo>
                    <a:pt x="243621" y="143229"/>
                  </a:lnTo>
                  <a:lnTo>
                    <a:pt x="248232" y="147582"/>
                  </a:lnTo>
                  <a:close/>
                  <a:moveTo>
                    <a:pt x="257452" y="124102"/>
                  </a:moveTo>
                  <a:lnTo>
                    <a:pt x="260795" y="116502"/>
                  </a:lnTo>
                  <a:lnTo>
                    <a:pt x="261510" y="108262"/>
                  </a:lnTo>
                  <a:lnTo>
                    <a:pt x="256395" y="112187"/>
                  </a:lnTo>
                  <a:lnTo>
                    <a:pt x="257414" y="118930"/>
                  </a:lnTo>
                  <a:close/>
                  <a:moveTo>
                    <a:pt x="254918" y="194083"/>
                  </a:moveTo>
                  <a:lnTo>
                    <a:pt x="259948" y="188672"/>
                  </a:lnTo>
                  <a:lnTo>
                    <a:pt x="254575" y="191492"/>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4" name="Freeform: Shape 53">
              <a:extLst>
                <a:ext uri="{FF2B5EF4-FFF2-40B4-BE49-F238E27FC236}">
                  <a16:creationId xmlns:a16="http://schemas.microsoft.com/office/drawing/2014/main" id="{79796C73-A579-364F-782A-F8F25D29C8D9}"/>
                </a:ext>
              </a:extLst>
            </p:cNvPr>
            <p:cNvSpPr/>
            <p:nvPr/>
          </p:nvSpPr>
          <p:spPr>
            <a:xfrm>
              <a:off x="7049463" y="2083660"/>
              <a:ext cx="383819" cy="448196"/>
            </a:xfrm>
            <a:custGeom>
              <a:avLst/>
              <a:gdLst>
                <a:gd name="connsiteX0" fmla="*/ 8088 w 134674"/>
                <a:gd name="connsiteY0" fmla="*/ 157059 h 157153"/>
                <a:gd name="connsiteX1" fmla="*/ 13412 w 134674"/>
                <a:gd name="connsiteY1" fmla="*/ 153754 h 157153"/>
                <a:gd name="connsiteX2" fmla="*/ 17517 w 134674"/>
                <a:gd name="connsiteY2" fmla="*/ 148925 h 157153"/>
                <a:gd name="connsiteX3" fmla="*/ 23404 w 134674"/>
                <a:gd name="connsiteY3" fmla="*/ 145781 h 157153"/>
                <a:gd name="connsiteX4" fmla="*/ 29319 w 134674"/>
                <a:gd name="connsiteY4" fmla="*/ 143267 h 157153"/>
                <a:gd name="connsiteX5" fmla="*/ 45483 w 134674"/>
                <a:gd name="connsiteY5" fmla="*/ 143667 h 157153"/>
                <a:gd name="connsiteX6" fmla="*/ 68572 w 134674"/>
                <a:gd name="connsiteY6" fmla="*/ 143667 h 157153"/>
                <a:gd name="connsiteX7" fmla="*/ 108110 w 134674"/>
                <a:gd name="connsiteY7" fmla="*/ 143667 h 157153"/>
                <a:gd name="connsiteX8" fmla="*/ 108072 w 134674"/>
                <a:gd name="connsiteY8" fmla="*/ 135428 h 157153"/>
                <a:gd name="connsiteX9" fmla="*/ 108129 w 134674"/>
                <a:gd name="connsiteY9" fmla="*/ 128617 h 157153"/>
                <a:gd name="connsiteX10" fmla="*/ 109577 w 134674"/>
                <a:gd name="connsiteY10" fmla="*/ 119626 h 157153"/>
                <a:gd name="connsiteX11" fmla="*/ 107729 w 134674"/>
                <a:gd name="connsiteY11" fmla="*/ 113139 h 157153"/>
                <a:gd name="connsiteX12" fmla="*/ 110920 w 134674"/>
                <a:gd name="connsiteY12" fmla="*/ 108005 h 157153"/>
                <a:gd name="connsiteX13" fmla="*/ 112939 w 134674"/>
                <a:gd name="connsiteY13" fmla="*/ 101547 h 157153"/>
                <a:gd name="connsiteX14" fmla="*/ 117654 w 134674"/>
                <a:gd name="connsiteY14" fmla="*/ 96537 h 157153"/>
                <a:gd name="connsiteX15" fmla="*/ 121064 w 134674"/>
                <a:gd name="connsiteY15" fmla="*/ 90984 h 157153"/>
                <a:gd name="connsiteX16" fmla="*/ 124045 w 134674"/>
                <a:gd name="connsiteY16" fmla="*/ 85412 h 157153"/>
                <a:gd name="connsiteX17" fmla="*/ 129722 w 134674"/>
                <a:gd name="connsiteY17" fmla="*/ 81754 h 157153"/>
                <a:gd name="connsiteX18" fmla="*/ 130656 w 134674"/>
                <a:gd name="connsiteY18" fmla="*/ 75458 h 157153"/>
                <a:gd name="connsiteX19" fmla="*/ 134256 w 134674"/>
                <a:gd name="connsiteY19" fmla="*/ 69705 h 157153"/>
                <a:gd name="connsiteX20" fmla="*/ 134408 w 134674"/>
                <a:gd name="connsiteY20" fmla="*/ 61438 h 157153"/>
                <a:gd name="connsiteX21" fmla="*/ 133065 w 134674"/>
                <a:gd name="connsiteY21" fmla="*/ 54913 h 157153"/>
                <a:gd name="connsiteX22" fmla="*/ 132208 w 134674"/>
                <a:gd name="connsiteY22" fmla="*/ 48665 h 157153"/>
                <a:gd name="connsiteX23" fmla="*/ 128636 w 134674"/>
                <a:gd name="connsiteY23" fmla="*/ 41026 h 157153"/>
                <a:gd name="connsiteX24" fmla="*/ 125207 w 134674"/>
                <a:gd name="connsiteY24" fmla="*/ 35225 h 157153"/>
                <a:gd name="connsiteX25" fmla="*/ 122826 w 134674"/>
                <a:gd name="connsiteY25" fmla="*/ 28843 h 157153"/>
                <a:gd name="connsiteX26" fmla="*/ 119902 w 134674"/>
                <a:gd name="connsiteY26" fmla="*/ 23119 h 157153"/>
                <a:gd name="connsiteX27" fmla="*/ 120502 w 134674"/>
                <a:gd name="connsiteY27" fmla="*/ 16661 h 157153"/>
                <a:gd name="connsiteX28" fmla="*/ 115739 w 134674"/>
                <a:gd name="connsiteY28" fmla="*/ 11870 h 157153"/>
                <a:gd name="connsiteX29" fmla="*/ 112415 w 134674"/>
                <a:gd name="connsiteY29" fmla="*/ 5954 h 157153"/>
                <a:gd name="connsiteX30" fmla="*/ 110186 w 134674"/>
                <a:gd name="connsiteY30" fmla="*/ -94 h 157153"/>
                <a:gd name="connsiteX31" fmla="*/ 102842 w 134674"/>
                <a:gd name="connsiteY31" fmla="*/ 5059 h 157153"/>
                <a:gd name="connsiteX32" fmla="*/ 96965 w 134674"/>
                <a:gd name="connsiteY32" fmla="*/ 11765 h 157153"/>
                <a:gd name="connsiteX33" fmla="*/ 88679 w 134674"/>
                <a:gd name="connsiteY33" fmla="*/ 11003 h 157153"/>
                <a:gd name="connsiteX34" fmla="*/ 81792 w 134674"/>
                <a:gd name="connsiteY34" fmla="*/ 9993 h 157153"/>
                <a:gd name="connsiteX35" fmla="*/ 69734 w 134674"/>
                <a:gd name="connsiteY35" fmla="*/ 11936 h 157153"/>
                <a:gd name="connsiteX36" fmla="*/ 64342 w 134674"/>
                <a:gd name="connsiteY36" fmla="*/ 15965 h 157153"/>
                <a:gd name="connsiteX37" fmla="*/ 58418 w 134674"/>
                <a:gd name="connsiteY37" fmla="*/ 16765 h 157153"/>
                <a:gd name="connsiteX38" fmla="*/ 55693 w 134674"/>
                <a:gd name="connsiteY38" fmla="*/ 10469 h 157153"/>
                <a:gd name="connsiteX39" fmla="*/ 48883 w 134674"/>
                <a:gd name="connsiteY39" fmla="*/ 13698 h 157153"/>
                <a:gd name="connsiteX40" fmla="*/ 41730 w 134674"/>
                <a:gd name="connsiteY40" fmla="*/ 10527 h 157153"/>
                <a:gd name="connsiteX41" fmla="*/ 36015 w 134674"/>
                <a:gd name="connsiteY41" fmla="*/ 12279 h 157153"/>
                <a:gd name="connsiteX42" fmla="*/ 31805 w 134674"/>
                <a:gd name="connsiteY42" fmla="*/ 17242 h 157153"/>
                <a:gd name="connsiteX43" fmla="*/ 31986 w 134674"/>
                <a:gd name="connsiteY43" fmla="*/ 23900 h 157153"/>
                <a:gd name="connsiteX44" fmla="*/ 29595 w 134674"/>
                <a:gd name="connsiteY44" fmla="*/ 30720 h 157153"/>
                <a:gd name="connsiteX45" fmla="*/ 31852 w 134674"/>
                <a:gd name="connsiteY45" fmla="*/ 37835 h 157153"/>
                <a:gd name="connsiteX46" fmla="*/ 29129 w 134674"/>
                <a:gd name="connsiteY46" fmla="*/ 43702 h 157153"/>
                <a:gd name="connsiteX47" fmla="*/ 31072 w 134674"/>
                <a:gd name="connsiteY47" fmla="*/ 49712 h 157153"/>
                <a:gd name="connsiteX48" fmla="*/ 36996 w 134674"/>
                <a:gd name="connsiteY48" fmla="*/ 51808 h 157153"/>
                <a:gd name="connsiteX49" fmla="*/ 42502 w 134674"/>
                <a:gd name="connsiteY49" fmla="*/ 56037 h 157153"/>
                <a:gd name="connsiteX50" fmla="*/ 33443 w 134674"/>
                <a:gd name="connsiteY50" fmla="*/ 68658 h 157153"/>
                <a:gd name="connsiteX51" fmla="*/ 26966 w 134674"/>
                <a:gd name="connsiteY51" fmla="*/ 76878 h 157153"/>
                <a:gd name="connsiteX52" fmla="*/ 22623 w 134674"/>
                <a:gd name="connsiteY52" fmla="*/ 81478 h 157153"/>
                <a:gd name="connsiteX53" fmla="*/ 16936 w 134674"/>
                <a:gd name="connsiteY53" fmla="*/ 83640 h 157153"/>
                <a:gd name="connsiteX54" fmla="*/ 15146 w 134674"/>
                <a:gd name="connsiteY54" fmla="*/ 89384 h 157153"/>
                <a:gd name="connsiteX55" fmla="*/ 10107 w 134674"/>
                <a:gd name="connsiteY55" fmla="*/ 92642 h 157153"/>
                <a:gd name="connsiteX56" fmla="*/ 9660 w 134674"/>
                <a:gd name="connsiteY56" fmla="*/ 99242 h 157153"/>
                <a:gd name="connsiteX57" fmla="*/ 7240 w 134674"/>
                <a:gd name="connsiteY57" fmla="*/ 105138 h 157153"/>
                <a:gd name="connsiteX58" fmla="*/ 5973 w 134674"/>
                <a:gd name="connsiteY58" fmla="*/ 111311 h 157153"/>
                <a:gd name="connsiteX59" fmla="*/ 3754 w 134674"/>
                <a:gd name="connsiteY59" fmla="*/ 117064 h 157153"/>
                <a:gd name="connsiteX60" fmla="*/ 2744 w 134674"/>
                <a:gd name="connsiteY60" fmla="*/ 126884 h 157153"/>
                <a:gd name="connsiteX61" fmla="*/ 2001 w 134674"/>
                <a:gd name="connsiteY61" fmla="*/ 133275 h 157153"/>
                <a:gd name="connsiteX62" fmla="*/ 1020 w 134674"/>
                <a:gd name="connsiteY62" fmla="*/ 139838 h 157153"/>
                <a:gd name="connsiteX63" fmla="*/ -266 w 134674"/>
                <a:gd name="connsiteY63" fmla="*/ 147267 h 157153"/>
                <a:gd name="connsiteX64" fmla="*/ 39 w 134674"/>
                <a:gd name="connsiteY64" fmla="*/ 154430 h 157153"/>
                <a:gd name="connsiteX65" fmla="*/ 5859 w 134674"/>
                <a:gd name="connsiteY65" fmla="*/ 152239 h 157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4674" h="157153">
                  <a:moveTo>
                    <a:pt x="8088" y="157059"/>
                  </a:moveTo>
                  <a:lnTo>
                    <a:pt x="13412" y="153754"/>
                  </a:lnTo>
                  <a:lnTo>
                    <a:pt x="17517" y="148925"/>
                  </a:lnTo>
                  <a:lnTo>
                    <a:pt x="23404" y="145781"/>
                  </a:lnTo>
                  <a:lnTo>
                    <a:pt x="29319" y="143267"/>
                  </a:lnTo>
                  <a:lnTo>
                    <a:pt x="45483" y="143667"/>
                  </a:lnTo>
                  <a:lnTo>
                    <a:pt x="68572" y="143667"/>
                  </a:lnTo>
                  <a:lnTo>
                    <a:pt x="108110" y="143667"/>
                  </a:lnTo>
                  <a:lnTo>
                    <a:pt x="108072" y="135428"/>
                  </a:lnTo>
                  <a:lnTo>
                    <a:pt x="108129" y="128617"/>
                  </a:lnTo>
                  <a:lnTo>
                    <a:pt x="109577" y="119626"/>
                  </a:lnTo>
                  <a:lnTo>
                    <a:pt x="107729" y="113139"/>
                  </a:lnTo>
                  <a:lnTo>
                    <a:pt x="110920" y="108005"/>
                  </a:lnTo>
                  <a:lnTo>
                    <a:pt x="112939" y="101547"/>
                  </a:lnTo>
                  <a:lnTo>
                    <a:pt x="117654" y="96537"/>
                  </a:lnTo>
                  <a:lnTo>
                    <a:pt x="121064" y="90984"/>
                  </a:lnTo>
                  <a:lnTo>
                    <a:pt x="124045" y="85412"/>
                  </a:lnTo>
                  <a:lnTo>
                    <a:pt x="129722" y="81754"/>
                  </a:lnTo>
                  <a:lnTo>
                    <a:pt x="130656" y="75458"/>
                  </a:lnTo>
                  <a:lnTo>
                    <a:pt x="134256" y="69705"/>
                  </a:lnTo>
                  <a:lnTo>
                    <a:pt x="134408" y="61438"/>
                  </a:lnTo>
                  <a:lnTo>
                    <a:pt x="133065" y="54913"/>
                  </a:lnTo>
                  <a:lnTo>
                    <a:pt x="132208" y="48665"/>
                  </a:lnTo>
                  <a:lnTo>
                    <a:pt x="128636" y="41026"/>
                  </a:lnTo>
                  <a:lnTo>
                    <a:pt x="125207" y="35225"/>
                  </a:lnTo>
                  <a:lnTo>
                    <a:pt x="122826" y="28843"/>
                  </a:lnTo>
                  <a:lnTo>
                    <a:pt x="119902" y="23119"/>
                  </a:lnTo>
                  <a:lnTo>
                    <a:pt x="120502" y="16661"/>
                  </a:lnTo>
                  <a:lnTo>
                    <a:pt x="115739" y="11870"/>
                  </a:lnTo>
                  <a:lnTo>
                    <a:pt x="112415" y="5954"/>
                  </a:lnTo>
                  <a:lnTo>
                    <a:pt x="110186" y="-94"/>
                  </a:lnTo>
                  <a:lnTo>
                    <a:pt x="102842" y="5059"/>
                  </a:lnTo>
                  <a:lnTo>
                    <a:pt x="96965" y="11765"/>
                  </a:lnTo>
                  <a:lnTo>
                    <a:pt x="88679" y="11003"/>
                  </a:lnTo>
                  <a:lnTo>
                    <a:pt x="81792" y="9993"/>
                  </a:lnTo>
                  <a:lnTo>
                    <a:pt x="69734" y="11936"/>
                  </a:lnTo>
                  <a:lnTo>
                    <a:pt x="64342" y="15965"/>
                  </a:lnTo>
                  <a:lnTo>
                    <a:pt x="58418" y="16765"/>
                  </a:lnTo>
                  <a:lnTo>
                    <a:pt x="55693" y="10469"/>
                  </a:lnTo>
                  <a:lnTo>
                    <a:pt x="48883" y="13698"/>
                  </a:lnTo>
                  <a:lnTo>
                    <a:pt x="41730" y="10527"/>
                  </a:lnTo>
                  <a:lnTo>
                    <a:pt x="36015" y="12279"/>
                  </a:lnTo>
                  <a:lnTo>
                    <a:pt x="31805" y="17242"/>
                  </a:lnTo>
                  <a:lnTo>
                    <a:pt x="31986" y="23900"/>
                  </a:lnTo>
                  <a:lnTo>
                    <a:pt x="29595" y="30720"/>
                  </a:lnTo>
                  <a:lnTo>
                    <a:pt x="31852" y="37835"/>
                  </a:lnTo>
                  <a:lnTo>
                    <a:pt x="29129" y="43702"/>
                  </a:lnTo>
                  <a:lnTo>
                    <a:pt x="31072" y="49712"/>
                  </a:lnTo>
                  <a:lnTo>
                    <a:pt x="36996" y="51808"/>
                  </a:lnTo>
                  <a:lnTo>
                    <a:pt x="42502" y="56037"/>
                  </a:lnTo>
                  <a:lnTo>
                    <a:pt x="33443" y="68658"/>
                  </a:lnTo>
                  <a:lnTo>
                    <a:pt x="26966" y="76878"/>
                  </a:lnTo>
                  <a:lnTo>
                    <a:pt x="22623" y="81478"/>
                  </a:lnTo>
                  <a:lnTo>
                    <a:pt x="16936" y="83640"/>
                  </a:lnTo>
                  <a:lnTo>
                    <a:pt x="15146" y="89384"/>
                  </a:lnTo>
                  <a:lnTo>
                    <a:pt x="10107" y="92642"/>
                  </a:lnTo>
                  <a:lnTo>
                    <a:pt x="9660" y="99242"/>
                  </a:lnTo>
                  <a:lnTo>
                    <a:pt x="7240" y="105138"/>
                  </a:lnTo>
                  <a:lnTo>
                    <a:pt x="5973" y="111311"/>
                  </a:lnTo>
                  <a:lnTo>
                    <a:pt x="3754" y="117064"/>
                  </a:lnTo>
                  <a:lnTo>
                    <a:pt x="2744" y="126884"/>
                  </a:lnTo>
                  <a:lnTo>
                    <a:pt x="2001" y="133275"/>
                  </a:lnTo>
                  <a:lnTo>
                    <a:pt x="1020" y="139838"/>
                  </a:lnTo>
                  <a:lnTo>
                    <a:pt x="-266" y="147267"/>
                  </a:lnTo>
                  <a:lnTo>
                    <a:pt x="39" y="154430"/>
                  </a:lnTo>
                  <a:lnTo>
                    <a:pt x="5859" y="152239"/>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5" name="Freeform: Shape 54">
              <a:extLst>
                <a:ext uri="{FF2B5EF4-FFF2-40B4-BE49-F238E27FC236}">
                  <a16:creationId xmlns:a16="http://schemas.microsoft.com/office/drawing/2014/main" id="{4D6638D6-56D3-E33D-0EEE-B5CAF2F4FFD8}"/>
                </a:ext>
              </a:extLst>
            </p:cNvPr>
            <p:cNvSpPr/>
            <p:nvPr/>
          </p:nvSpPr>
          <p:spPr>
            <a:xfrm>
              <a:off x="4564157" y="1220383"/>
              <a:ext cx="553969" cy="449145"/>
            </a:xfrm>
            <a:custGeom>
              <a:avLst/>
              <a:gdLst>
                <a:gd name="connsiteX0" fmla="*/ 67628 w 194376"/>
                <a:gd name="connsiteY0" fmla="*/ 157392 h 157486"/>
                <a:gd name="connsiteX1" fmla="*/ 68190 w 194376"/>
                <a:gd name="connsiteY1" fmla="*/ 150982 h 157486"/>
                <a:gd name="connsiteX2" fmla="*/ 67790 w 194376"/>
                <a:gd name="connsiteY2" fmla="*/ 144248 h 157486"/>
                <a:gd name="connsiteX3" fmla="*/ 67028 w 194376"/>
                <a:gd name="connsiteY3" fmla="*/ 137523 h 157486"/>
                <a:gd name="connsiteX4" fmla="*/ 66009 w 194376"/>
                <a:gd name="connsiteY4" fmla="*/ 130456 h 157486"/>
                <a:gd name="connsiteX5" fmla="*/ 63761 w 194376"/>
                <a:gd name="connsiteY5" fmla="*/ 124398 h 157486"/>
                <a:gd name="connsiteX6" fmla="*/ 64952 w 194376"/>
                <a:gd name="connsiteY6" fmla="*/ 117949 h 157486"/>
                <a:gd name="connsiteX7" fmla="*/ 70429 w 194376"/>
                <a:gd name="connsiteY7" fmla="*/ 113253 h 157486"/>
                <a:gd name="connsiteX8" fmla="*/ 81173 w 194376"/>
                <a:gd name="connsiteY8" fmla="*/ 113435 h 157486"/>
                <a:gd name="connsiteX9" fmla="*/ 92907 w 194376"/>
                <a:gd name="connsiteY9" fmla="*/ 113701 h 157486"/>
                <a:gd name="connsiteX10" fmla="*/ 100937 w 194376"/>
                <a:gd name="connsiteY10" fmla="*/ 112682 h 157486"/>
                <a:gd name="connsiteX11" fmla="*/ 108615 w 194376"/>
                <a:gd name="connsiteY11" fmla="*/ 113596 h 157486"/>
                <a:gd name="connsiteX12" fmla="*/ 114672 w 194376"/>
                <a:gd name="connsiteY12" fmla="*/ 114196 h 157486"/>
                <a:gd name="connsiteX13" fmla="*/ 120711 w 194376"/>
                <a:gd name="connsiteY13" fmla="*/ 114968 h 157486"/>
                <a:gd name="connsiteX14" fmla="*/ 125616 w 194376"/>
                <a:gd name="connsiteY14" fmla="*/ 110091 h 157486"/>
                <a:gd name="connsiteX15" fmla="*/ 136199 w 194376"/>
                <a:gd name="connsiteY15" fmla="*/ 110186 h 157486"/>
                <a:gd name="connsiteX16" fmla="*/ 148686 w 194376"/>
                <a:gd name="connsiteY16" fmla="*/ 113006 h 157486"/>
                <a:gd name="connsiteX17" fmla="*/ 158763 w 194376"/>
                <a:gd name="connsiteY17" fmla="*/ 113368 h 157486"/>
                <a:gd name="connsiteX18" fmla="*/ 163402 w 194376"/>
                <a:gd name="connsiteY18" fmla="*/ 109015 h 157486"/>
                <a:gd name="connsiteX19" fmla="*/ 167403 w 194376"/>
                <a:gd name="connsiteY19" fmla="*/ 104376 h 157486"/>
                <a:gd name="connsiteX20" fmla="*/ 171994 w 194376"/>
                <a:gd name="connsiteY20" fmla="*/ 99909 h 157486"/>
                <a:gd name="connsiteX21" fmla="*/ 177889 w 194376"/>
                <a:gd name="connsiteY21" fmla="*/ 101881 h 157486"/>
                <a:gd name="connsiteX22" fmla="*/ 183909 w 194376"/>
                <a:gd name="connsiteY22" fmla="*/ 101662 h 157486"/>
                <a:gd name="connsiteX23" fmla="*/ 190329 w 194376"/>
                <a:gd name="connsiteY23" fmla="*/ 96652 h 157486"/>
                <a:gd name="connsiteX24" fmla="*/ 194111 w 194376"/>
                <a:gd name="connsiteY24" fmla="*/ 91803 h 157486"/>
                <a:gd name="connsiteX25" fmla="*/ 190482 w 194376"/>
                <a:gd name="connsiteY25" fmla="*/ 80564 h 157486"/>
                <a:gd name="connsiteX26" fmla="*/ 187443 w 194376"/>
                <a:gd name="connsiteY26" fmla="*/ 75373 h 157486"/>
                <a:gd name="connsiteX27" fmla="*/ 190996 w 194376"/>
                <a:gd name="connsiteY27" fmla="*/ 68962 h 157486"/>
                <a:gd name="connsiteX28" fmla="*/ 185367 w 194376"/>
                <a:gd name="connsiteY28" fmla="*/ 65171 h 157486"/>
                <a:gd name="connsiteX29" fmla="*/ 170908 w 194376"/>
                <a:gd name="connsiteY29" fmla="*/ 61419 h 157486"/>
                <a:gd name="connsiteX30" fmla="*/ 160649 w 194376"/>
                <a:gd name="connsiteY30" fmla="*/ 54865 h 157486"/>
                <a:gd name="connsiteX31" fmla="*/ 160697 w 194376"/>
                <a:gd name="connsiteY31" fmla="*/ 47350 h 157486"/>
                <a:gd name="connsiteX32" fmla="*/ 166803 w 194376"/>
                <a:gd name="connsiteY32" fmla="*/ 48322 h 157486"/>
                <a:gd name="connsiteX33" fmla="*/ 161650 w 194376"/>
                <a:gd name="connsiteY33" fmla="*/ 44912 h 157486"/>
                <a:gd name="connsiteX34" fmla="*/ 157583 w 194376"/>
                <a:gd name="connsiteY34" fmla="*/ 40197 h 157486"/>
                <a:gd name="connsiteX35" fmla="*/ 151610 w 194376"/>
                <a:gd name="connsiteY35" fmla="*/ 38759 h 157486"/>
                <a:gd name="connsiteX36" fmla="*/ 148381 w 194376"/>
                <a:gd name="connsiteY36" fmla="*/ 32939 h 157486"/>
                <a:gd name="connsiteX37" fmla="*/ 140466 w 194376"/>
                <a:gd name="connsiteY37" fmla="*/ 15956 h 157486"/>
                <a:gd name="connsiteX38" fmla="*/ 142009 w 194376"/>
                <a:gd name="connsiteY38" fmla="*/ 9583 h 157486"/>
                <a:gd name="connsiteX39" fmla="*/ 141914 w 194376"/>
                <a:gd name="connsiteY39" fmla="*/ 2240 h 157486"/>
                <a:gd name="connsiteX40" fmla="*/ 130141 w 194376"/>
                <a:gd name="connsiteY40" fmla="*/ 39 h 157486"/>
                <a:gd name="connsiteX41" fmla="*/ 118368 w 194376"/>
                <a:gd name="connsiteY41" fmla="*/ -94 h 157486"/>
                <a:gd name="connsiteX42" fmla="*/ 109862 w 194376"/>
                <a:gd name="connsiteY42" fmla="*/ 8202 h 157486"/>
                <a:gd name="connsiteX43" fmla="*/ 103718 w 194376"/>
                <a:gd name="connsiteY43" fmla="*/ 9736 h 157486"/>
                <a:gd name="connsiteX44" fmla="*/ 94860 w 194376"/>
                <a:gd name="connsiteY44" fmla="*/ 16061 h 157486"/>
                <a:gd name="connsiteX45" fmla="*/ 87393 w 194376"/>
                <a:gd name="connsiteY45" fmla="*/ 16784 h 157486"/>
                <a:gd name="connsiteX46" fmla="*/ 86936 w 194376"/>
                <a:gd name="connsiteY46" fmla="*/ 24671 h 157486"/>
                <a:gd name="connsiteX47" fmla="*/ 79563 w 194376"/>
                <a:gd name="connsiteY47" fmla="*/ 23080 h 157486"/>
                <a:gd name="connsiteX48" fmla="*/ 71991 w 194376"/>
                <a:gd name="connsiteY48" fmla="*/ 24366 h 157486"/>
                <a:gd name="connsiteX49" fmla="*/ 67019 w 194376"/>
                <a:gd name="connsiteY49" fmla="*/ 27852 h 157486"/>
                <a:gd name="connsiteX50" fmla="*/ 64475 w 194376"/>
                <a:gd name="connsiteY50" fmla="*/ 34882 h 157486"/>
                <a:gd name="connsiteX51" fmla="*/ 61618 w 194376"/>
                <a:gd name="connsiteY51" fmla="*/ 40511 h 157486"/>
                <a:gd name="connsiteX52" fmla="*/ 55760 w 194376"/>
                <a:gd name="connsiteY52" fmla="*/ 37920 h 157486"/>
                <a:gd name="connsiteX53" fmla="*/ 55817 w 194376"/>
                <a:gd name="connsiteY53" fmla="*/ 46550 h 157486"/>
                <a:gd name="connsiteX54" fmla="*/ 51112 w 194376"/>
                <a:gd name="connsiteY54" fmla="*/ 50627 h 157486"/>
                <a:gd name="connsiteX55" fmla="*/ 43968 w 194376"/>
                <a:gd name="connsiteY55" fmla="*/ 49331 h 157486"/>
                <a:gd name="connsiteX56" fmla="*/ 38462 w 194376"/>
                <a:gd name="connsiteY56" fmla="*/ 46683 h 157486"/>
                <a:gd name="connsiteX57" fmla="*/ 33395 w 194376"/>
                <a:gd name="connsiteY57" fmla="*/ 50065 h 157486"/>
                <a:gd name="connsiteX58" fmla="*/ 28900 w 194376"/>
                <a:gd name="connsiteY58" fmla="*/ 54389 h 157486"/>
                <a:gd name="connsiteX59" fmla="*/ 32052 w 194376"/>
                <a:gd name="connsiteY59" fmla="*/ 60466 h 157486"/>
                <a:gd name="connsiteX60" fmla="*/ 27538 w 194376"/>
                <a:gd name="connsiteY60" fmla="*/ 65610 h 157486"/>
                <a:gd name="connsiteX61" fmla="*/ 27033 w 194376"/>
                <a:gd name="connsiteY61" fmla="*/ 72020 h 157486"/>
                <a:gd name="connsiteX62" fmla="*/ 23061 w 194376"/>
                <a:gd name="connsiteY62" fmla="*/ 79945 h 157486"/>
                <a:gd name="connsiteX63" fmla="*/ 19489 w 194376"/>
                <a:gd name="connsiteY63" fmla="*/ 85050 h 157486"/>
                <a:gd name="connsiteX64" fmla="*/ 13165 w 194376"/>
                <a:gd name="connsiteY64" fmla="*/ 85603 h 157486"/>
                <a:gd name="connsiteX65" fmla="*/ 7468 w 194376"/>
                <a:gd name="connsiteY65" fmla="*/ 88498 h 157486"/>
                <a:gd name="connsiteX66" fmla="*/ 6049 w 194376"/>
                <a:gd name="connsiteY66" fmla="*/ 94403 h 157486"/>
                <a:gd name="connsiteX67" fmla="*/ 7382 w 194376"/>
                <a:gd name="connsiteY67" fmla="*/ 100566 h 157486"/>
                <a:gd name="connsiteX68" fmla="*/ 6125 w 194376"/>
                <a:gd name="connsiteY68" fmla="*/ 106577 h 157486"/>
                <a:gd name="connsiteX69" fmla="*/ 429 w 194376"/>
                <a:gd name="connsiteY69" fmla="*/ 110958 h 157486"/>
                <a:gd name="connsiteX70" fmla="*/ 2182 w 194376"/>
                <a:gd name="connsiteY70" fmla="*/ 116654 h 157486"/>
                <a:gd name="connsiteX71" fmla="*/ 1039 w 194376"/>
                <a:gd name="connsiteY71" fmla="*/ 123150 h 157486"/>
                <a:gd name="connsiteX72" fmla="*/ -266 w 194376"/>
                <a:gd name="connsiteY72" fmla="*/ 129065 h 157486"/>
                <a:gd name="connsiteX73" fmla="*/ 4420 w 194376"/>
                <a:gd name="connsiteY73" fmla="*/ 132961 h 157486"/>
                <a:gd name="connsiteX74" fmla="*/ 9983 w 194376"/>
                <a:gd name="connsiteY74" fmla="*/ 135132 h 157486"/>
                <a:gd name="connsiteX75" fmla="*/ 13335 w 194376"/>
                <a:gd name="connsiteY75" fmla="*/ 140362 h 157486"/>
                <a:gd name="connsiteX76" fmla="*/ 16870 w 194376"/>
                <a:gd name="connsiteY76" fmla="*/ 145362 h 157486"/>
                <a:gd name="connsiteX77" fmla="*/ 21737 w 194376"/>
                <a:gd name="connsiteY77" fmla="*/ 149277 h 157486"/>
                <a:gd name="connsiteX78" fmla="*/ 27338 w 194376"/>
                <a:gd name="connsiteY78" fmla="*/ 152106 h 157486"/>
                <a:gd name="connsiteX79" fmla="*/ 31709 w 194376"/>
                <a:gd name="connsiteY79" fmla="*/ 147420 h 157486"/>
                <a:gd name="connsiteX80" fmla="*/ 37519 w 194376"/>
                <a:gd name="connsiteY80" fmla="*/ 145763 h 157486"/>
                <a:gd name="connsiteX81" fmla="*/ 44216 w 194376"/>
                <a:gd name="connsiteY81" fmla="*/ 142800 h 157486"/>
                <a:gd name="connsiteX82" fmla="*/ 50188 w 194376"/>
                <a:gd name="connsiteY82" fmla="*/ 142800 h 157486"/>
                <a:gd name="connsiteX83" fmla="*/ 56056 w 194376"/>
                <a:gd name="connsiteY83" fmla="*/ 143886 h 157486"/>
                <a:gd name="connsiteX84" fmla="*/ 60484 w 194376"/>
                <a:gd name="connsiteY84" fmla="*/ 148639 h 157486"/>
                <a:gd name="connsiteX85" fmla="*/ 66238 w 194376"/>
                <a:gd name="connsiteY85" fmla="*/ 156259 h 15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94376" h="157486">
                  <a:moveTo>
                    <a:pt x="67628" y="157392"/>
                  </a:moveTo>
                  <a:lnTo>
                    <a:pt x="68190" y="150982"/>
                  </a:lnTo>
                  <a:lnTo>
                    <a:pt x="67790" y="144248"/>
                  </a:lnTo>
                  <a:lnTo>
                    <a:pt x="67028" y="137523"/>
                  </a:lnTo>
                  <a:lnTo>
                    <a:pt x="66009" y="130456"/>
                  </a:lnTo>
                  <a:lnTo>
                    <a:pt x="63761" y="124398"/>
                  </a:lnTo>
                  <a:lnTo>
                    <a:pt x="64952" y="117949"/>
                  </a:lnTo>
                  <a:lnTo>
                    <a:pt x="70429" y="113253"/>
                  </a:lnTo>
                  <a:lnTo>
                    <a:pt x="81173" y="113435"/>
                  </a:lnTo>
                  <a:lnTo>
                    <a:pt x="92907" y="113701"/>
                  </a:lnTo>
                  <a:lnTo>
                    <a:pt x="100937" y="112682"/>
                  </a:lnTo>
                  <a:lnTo>
                    <a:pt x="108615" y="113596"/>
                  </a:lnTo>
                  <a:lnTo>
                    <a:pt x="114672" y="114196"/>
                  </a:lnTo>
                  <a:lnTo>
                    <a:pt x="120711" y="114968"/>
                  </a:lnTo>
                  <a:lnTo>
                    <a:pt x="125616" y="110091"/>
                  </a:lnTo>
                  <a:lnTo>
                    <a:pt x="136199" y="110186"/>
                  </a:lnTo>
                  <a:lnTo>
                    <a:pt x="148686" y="113006"/>
                  </a:lnTo>
                  <a:lnTo>
                    <a:pt x="158763" y="113368"/>
                  </a:lnTo>
                  <a:lnTo>
                    <a:pt x="163402" y="109015"/>
                  </a:lnTo>
                  <a:lnTo>
                    <a:pt x="167403" y="104376"/>
                  </a:lnTo>
                  <a:lnTo>
                    <a:pt x="171994" y="99909"/>
                  </a:lnTo>
                  <a:lnTo>
                    <a:pt x="177889" y="101881"/>
                  </a:lnTo>
                  <a:lnTo>
                    <a:pt x="183909" y="101662"/>
                  </a:lnTo>
                  <a:lnTo>
                    <a:pt x="190329" y="96652"/>
                  </a:lnTo>
                  <a:lnTo>
                    <a:pt x="194111" y="91803"/>
                  </a:lnTo>
                  <a:lnTo>
                    <a:pt x="190482" y="80564"/>
                  </a:lnTo>
                  <a:lnTo>
                    <a:pt x="187443" y="75373"/>
                  </a:lnTo>
                  <a:lnTo>
                    <a:pt x="190996" y="68962"/>
                  </a:lnTo>
                  <a:lnTo>
                    <a:pt x="185367" y="65171"/>
                  </a:lnTo>
                  <a:lnTo>
                    <a:pt x="170908" y="61419"/>
                  </a:lnTo>
                  <a:lnTo>
                    <a:pt x="160649" y="54865"/>
                  </a:lnTo>
                  <a:lnTo>
                    <a:pt x="160697" y="47350"/>
                  </a:lnTo>
                  <a:lnTo>
                    <a:pt x="166803" y="48322"/>
                  </a:lnTo>
                  <a:lnTo>
                    <a:pt x="161650" y="44912"/>
                  </a:lnTo>
                  <a:lnTo>
                    <a:pt x="157583" y="40197"/>
                  </a:lnTo>
                  <a:lnTo>
                    <a:pt x="151610" y="38759"/>
                  </a:lnTo>
                  <a:lnTo>
                    <a:pt x="148381" y="32939"/>
                  </a:lnTo>
                  <a:lnTo>
                    <a:pt x="140466" y="15956"/>
                  </a:lnTo>
                  <a:lnTo>
                    <a:pt x="142009" y="9583"/>
                  </a:lnTo>
                  <a:lnTo>
                    <a:pt x="141914" y="2240"/>
                  </a:lnTo>
                  <a:lnTo>
                    <a:pt x="130141" y="39"/>
                  </a:lnTo>
                  <a:lnTo>
                    <a:pt x="118368" y="-94"/>
                  </a:lnTo>
                  <a:lnTo>
                    <a:pt x="109862" y="8202"/>
                  </a:lnTo>
                  <a:lnTo>
                    <a:pt x="103718" y="9736"/>
                  </a:lnTo>
                  <a:lnTo>
                    <a:pt x="94860" y="16061"/>
                  </a:lnTo>
                  <a:lnTo>
                    <a:pt x="87393" y="16784"/>
                  </a:lnTo>
                  <a:lnTo>
                    <a:pt x="86936" y="24671"/>
                  </a:lnTo>
                  <a:lnTo>
                    <a:pt x="79563" y="23080"/>
                  </a:lnTo>
                  <a:lnTo>
                    <a:pt x="71991" y="24366"/>
                  </a:lnTo>
                  <a:lnTo>
                    <a:pt x="67019" y="27852"/>
                  </a:lnTo>
                  <a:lnTo>
                    <a:pt x="64475" y="34882"/>
                  </a:lnTo>
                  <a:lnTo>
                    <a:pt x="61618" y="40511"/>
                  </a:lnTo>
                  <a:lnTo>
                    <a:pt x="55760" y="37920"/>
                  </a:lnTo>
                  <a:lnTo>
                    <a:pt x="55817" y="46550"/>
                  </a:lnTo>
                  <a:lnTo>
                    <a:pt x="51112" y="50627"/>
                  </a:lnTo>
                  <a:lnTo>
                    <a:pt x="43968" y="49331"/>
                  </a:lnTo>
                  <a:lnTo>
                    <a:pt x="38462" y="46683"/>
                  </a:lnTo>
                  <a:lnTo>
                    <a:pt x="33395" y="50065"/>
                  </a:lnTo>
                  <a:lnTo>
                    <a:pt x="28900" y="54389"/>
                  </a:lnTo>
                  <a:lnTo>
                    <a:pt x="32052" y="60466"/>
                  </a:lnTo>
                  <a:lnTo>
                    <a:pt x="27538" y="65610"/>
                  </a:lnTo>
                  <a:lnTo>
                    <a:pt x="27033" y="72020"/>
                  </a:lnTo>
                  <a:lnTo>
                    <a:pt x="23061" y="79945"/>
                  </a:lnTo>
                  <a:lnTo>
                    <a:pt x="19489" y="85050"/>
                  </a:lnTo>
                  <a:lnTo>
                    <a:pt x="13165" y="85603"/>
                  </a:lnTo>
                  <a:lnTo>
                    <a:pt x="7468" y="88498"/>
                  </a:lnTo>
                  <a:lnTo>
                    <a:pt x="6049" y="94403"/>
                  </a:lnTo>
                  <a:lnTo>
                    <a:pt x="7382" y="100566"/>
                  </a:lnTo>
                  <a:lnTo>
                    <a:pt x="6125" y="106577"/>
                  </a:lnTo>
                  <a:lnTo>
                    <a:pt x="429" y="110958"/>
                  </a:lnTo>
                  <a:lnTo>
                    <a:pt x="2182" y="116654"/>
                  </a:lnTo>
                  <a:lnTo>
                    <a:pt x="1039" y="123150"/>
                  </a:lnTo>
                  <a:lnTo>
                    <a:pt x="-266" y="129065"/>
                  </a:lnTo>
                  <a:lnTo>
                    <a:pt x="4420" y="132961"/>
                  </a:lnTo>
                  <a:lnTo>
                    <a:pt x="9983" y="135132"/>
                  </a:lnTo>
                  <a:lnTo>
                    <a:pt x="13335" y="140362"/>
                  </a:lnTo>
                  <a:lnTo>
                    <a:pt x="16870" y="145362"/>
                  </a:lnTo>
                  <a:lnTo>
                    <a:pt x="21737" y="149277"/>
                  </a:lnTo>
                  <a:lnTo>
                    <a:pt x="27338" y="152106"/>
                  </a:lnTo>
                  <a:lnTo>
                    <a:pt x="31709" y="147420"/>
                  </a:lnTo>
                  <a:lnTo>
                    <a:pt x="37519" y="145763"/>
                  </a:lnTo>
                  <a:lnTo>
                    <a:pt x="44216" y="142800"/>
                  </a:lnTo>
                  <a:lnTo>
                    <a:pt x="50188" y="142800"/>
                  </a:lnTo>
                  <a:lnTo>
                    <a:pt x="56056" y="143886"/>
                  </a:lnTo>
                  <a:lnTo>
                    <a:pt x="60484" y="148639"/>
                  </a:lnTo>
                  <a:lnTo>
                    <a:pt x="66238" y="156259"/>
                  </a:lnTo>
                  <a:close/>
                </a:path>
              </a:pathLst>
            </a:custGeom>
            <a:solidFill>
              <a:srgbClr val="FF6B0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6" name="Freeform: Shape 55">
              <a:extLst>
                <a:ext uri="{FF2B5EF4-FFF2-40B4-BE49-F238E27FC236}">
                  <a16:creationId xmlns:a16="http://schemas.microsoft.com/office/drawing/2014/main" id="{C5447E3D-D464-C421-8874-139D1141A6A8}"/>
                </a:ext>
              </a:extLst>
            </p:cNvPr>
            <p:cNvSpPr/>
            <p:nvPr/>
          </p:nvSpPr>
          <p:spPr>
            <a:xfrm>
              <a:off x="7067518" y="4450521"/>
              <a:ext cx="93542" cy="126559"/>
            </a:xfrm>
            <a:custGeom>
              <a:avLst/>
              <a:gdLst>
                <a:gd name="connsiteX0" fmla="*/ 27090 w 32822"/>
                <a:gd name="connsiteY0" fmla="*/ 44283 h 44376"/>
                <a:gd name="connsiteX1" fmla="*/ 27595 w 32822"/>
                <a:gd name="connsiteY1" fmla="*/ 37996 h 44376"/>
                <a:gd name="connsiteX2" fmla="*/ 29033 w 32822"/>
                <a:gd name="connsiteY2" fmla="*/ 30481 h 44376"/>
                <a:gd name="connsiteX3" fmla="*/ 32290 w 32822"/>
                <a:gd name="connsiteY3" fmla="*/ 25223 h 44376"/>
                <a:gd name="connsiteX4" fmla="*/ 31376 w 32822"/>
                <a:gd name="connsiteY4" fmla="*/ 18975 h 44376"/>
                <a:gd name="connsiteX5" fmla="*/ 32557 w 32822"/>
                <a:gd name="connsiteY5" fmla="*/ 12202 h 44376"/>
                <a:gd name="connsiteX6" fmla="*/ 29852 w 32822"/>
                <a:gd name="connsiteY6" fmla="*/ 6402 h 44376"/>
                <a:gd name="connsiteX7" fmla="*/ 21965 w 32822"/>
                <a:gd name="connsiteY7" fmla="*/ 3783 h 44376"/>
                <a:gd name="connsiteX8" fmla="*/ 16831 w 32822"/>
                <a:gd name="connsiteY8" fmla="*/ -94 h 44376"/>
                <a:gd name="connsiteX9" fmla="*/ 9421 w 32822"/>
                <a:gd name="connsiteY9" fmla="*/ 5525 h 44376"/>
                <a:gd name="connsiteX10" fmla="*/ 5754 w 32822"/>
                <a:gd name="connsiteY10" fmla="*/ 13193 h 44376"/>
                <a:gd name="connsiteX11" fmla="*/ 2001 w 32822"/>
                <a:gd name="connsiteY11" fmla="*/ 18365 h 44376"/>
                <a:gd name="connsiteX12" fmla="*/ -266 w 32822"/>
                <a:gd name="connsiteY12" fmla="*/ 27662 h 44376"/>
                <a:gd name="connsiteX13" fmla="*/ 3296 w 32822"/>
                <a:gd name="connsiteY13" fmla="*/ 32510 h 44376"/>
                <a:gd name="connsiteX14" fmla="*/ 5487 w 32822"/>
                <a:gd name="connsiteY14" fmla="*/ 38139 h 44376"/>
                <a:gd name="connsiteX15" fmla="*/ 10659 w 32822"/>
                <a:gd name="connsiteY15" fmla="*/ 42349 h 44376"/>
                <a:gd name="connsiteX16" fmla="*/ 18975 w 32822"/>
                <a:gd name="connsiteY16" fmla="*/ 44245 h 44376"/>
                <a:gd name="connsiteX17" fmla="*/ 27090 w 32822"/>
                <a:gd name="connsiteY17" fmla="*/ 44283 h 4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822" h="44376">
                  <a:moveTo>
                    <a:pt x="27090" y="44283"/>
                  </a:moveTo>
                  <a:lnTo>
                    <a:pt x="27595" y="37996"/>
                  </a:lnTo>
                  <a:lnTo>
                    <a:pt x="29033" y="30481"/>
                  </a:lnTo>
                  <a:lnTo>
                    <a:pt x="32290" y="25223"/>
                  </a:lnTo>
                  <a:lnTo>
                    <a:pt x="31376" y="18975"/>
                  </a:lnTo>
                  <a:lnTo>
                    <a:pt x="32557" y="12202"/>
                  </a:lnTo>
                  <a:lnTo>
                    <a:pt x="29852" y="6402"/>
                  </a:lnTo>
                  <a:lnTo>
                    <a:pt x="21965" y="3783"/>
                  </a:lnTo>
                  <a:lnTo>
                    <a:pt x="16831" y="-94"/>
                  </a:lnTo>
                  <a:lnTo>
                    <a:pt x="9421" y="5525"/>
                  </a:lnTo>
                  <a:lnTo>
                    <a:pt x="5754" y="13193"/>
                  </a:lnTo>
                  <a:lnTo>
                    <a:pt x="2001" y="18365"/>
                  </a:lnTo>
                  <a:lnTo>
                    <a:pt x="-266" y="27662"/>
                  </a:lnTo>
                  <a:lnTo>
                    <a:pt x="3296" y="32510"/>
                  </a:lnTo>
                  <a:lnTo>
                    <a:pt x="5487" y="38139"/>
                  </a:lnTo>
                  <a:lnTo>
                    <a:pt x="10659" y="42349"/>
                  </a:lnTo>
                  <a:lnTo>
                    <a:pt x="18975" y="44245"/>
                  </a:lnTo>
                  <a:lnTo>
                    <a:pt x="27090" y="44283"/>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7" name="Freeform: Shape 56">
              <a:extLst>
                <a:ext uri="{FF2B5EF4-FFF2-40B4-BE49-F238E27FC236}">
                  <a16:creationId xmlns:a16="http://schemas.microsoft.com/office/drawing/2014/main" id="{EFDE2D1C-CB98-9A7C-3D31-B31AC66FCB76}"/>
                </a:ext>
              </a:extLst>
            </p:cNvPr>
            <p:cNvSpPr/>
            <p:nvPr/>
          </p:nvSpPr>
          <p:spPr>
            <a:xfrm>
              <a:off x="6494708" y="3071300"/>
              <a:ext cx="834199" cy="774201"/>
            </a:xfrm>
            <a:custGeom>
              <a:avLst/>
              <a:gdLst>
                <a:gd name="connsiteX0" fmla="*/ 113110 w 292703"/>
                <a:gd name="connsiteY0" fmla="*/ 271368 h 271462"/>
                <a:gd name="connsiteX1" fmla="*/ 121702 w 292703"/>
                <a:gd name="connsiteY1" fmla="*/ 268111 h 271462"/>
                <a:gd name="connsiteX2" fmla="*/ 128788 w 292703"/>
                <a:gd name="connsiteY2" fmla="*/ 258148 h 271462"/>
                <a:gd name="connsiteX3" fmla="*/ 135132 w 292703"/>
                <a:gd name="connsiteY3" fmla="*/ 252661 h 271462"/>
                <a:gd name="connsiteX4" fmla="*/ 141352 w 292703"/>
                <a:gd name="connsiteY4" fmla="*/ 241641 h 271462"/>
                <a:gd name="connsiteX5" fmla="*/ 146952 w 292703"/>
                <a:gd name="connsiteY5" fmla="*/ 238021 h 271462"/>
                <a:gd name="connsiteX6" fmla="*/ 153163 w 292703"/>
                <a:gd name="connsiteY6" fmla="*/ 233668 h 271462"/>
                <a:gd name="connsiteX7" fmla="*/ 160554 w 292703"/>
                <a:gd name="connsiteY7" fmla="*/ 230411 h 271462"/>
                <a:gd name="connsiteX8" fmla="*/ 166850 w 292703"/>
                <a:gd name="connsiteY8" fmla="*/ 227210 h 271462"/>
                <a:gd name="connsiteX9" fmla="*/ 168155 w 292703"/>
                <a:gd name="connsiteY9" fmla="*/ 220514 h 271462"/>
                <a:gd name="connsiteX10" fmla="*/ 169070 w 292703"/>
                <a:gd name="connsiteY10" fmla="*/ 213875 h 271462"/>
                <a:gd name="connsiteX11" fmla="*/ 176451 w 292703"/>
                <a:gd name="connsiteY11" fmla="*/ 208189 h 271462"/>
                <a:gd name="connsiteX12" fmla="*/ 182509 w 292703"/>
                <a:gd name="connsiteY12" fmla="*/ 205036 h 271462"/>
                <a:gd name="connsiteX13" fmla="*/ 192777 w 292703"/>
                <a:gd name="connsiteY13" fmla="*/ 202903 h 271462"/>
                <a:gd name="connsiteX14" fmla="*/ 200950 w 292703"/>
                <a:gd name="connsiteY14" fmla="*/ 203150 h 271462"/>
                <a:gd name="connsiteX15" fmla="*/ 207313 w 292703"/>
                <a:gd name="connsiteY15" fmla="*/ 203217 h 271462"/>
                <a:gd name="connsiteX16" fmla="*/ 206550 w 292703"/>
                <a:gd name="connsiteY16" fmla="*/ 197159 h 271462"/>
                <a:gd name="connsiteX17" fmla="*/ 203855 w 292703"/>
                <a:gd name="connsiteY17" fmla="*/ 191549 h 271462"/>
                <a:gd name="connsiteX18" fmla="*/ 216609 w 292703"/>
                <a:gd name="connsiteY18" fmla="*/ 180481 h 271462"/>
                <a:gd name="connsiteX19" fmla="*/ 235011 w 292703"/>
                <a:gd name="connsiteY19" fmla="*/ 175166 h 271462"/>
                <a:gd name="connsiteX20" fmla="*/ 242945 w 292703"/>
                <a:gd name="connsiteY20" fmla="*/ 171613 h 271462"/>
                <a:gd name="connsiteX21" fmla="*/ 258652 w 292703"/>
                <a:gd name="connsiteY21" fmla="*/ 166107 h 271462"/>
                <a:gd name="connsiteX22" fmla="*/ 273692 w 292703"/>
                <a:gd name="connsiteY22" fmla="*/ 159954 h 271462"/>
                <a:gd name="connsiteX23" fmla="*/ 269920 w 292703"/>
                <a:gd name="connsiteY23" fmla="*/ 153087 h 271462"/>
                <a:gd name="connsiteX24" fmla="*/ 264720 w 292703"/>
                <a:gd name="connsiteY24" fmla="*/ 147753 h 271462"/>
                <a:gd name="connsiteX25" fmla="*/ 269130 w 292703"/>
                <a:gd name="connsiteY25" fmla="*/ 143324 h 271462"/>
                <a:gd name="connsiteX26" fmla="*/ 273359 w 292703"/>
                <a:gd name="connsiteY26" fmla="*/ 136142 h 271462"/>
                <a:gd name="connsiteX27" fmla="*/ 274121 w 292703"/>
                <a:gd name="connsiteY27" fmla="*/ 128027 h 271462"/>
                <a:gd name="connsiteX28" fmla="*/ 274854 w 292703"/>
                <a:gd name="connsiteY28" fmla="*/ 119416 h 271462"/>
                <a:gd name="connsiteX29" fmla="*/ 282007 w 292703"/>
                <a:gd name="connsiteY29" fmla="*/ 117492 h 271462"/>
                <a:gd name="connsiteX30" fmla="*/ 287456 w 292703"/>
                <a:gd name="connsiteY30" fmla="*/ 112806 h 271462"/>
                <a:gd name="connsiteX31" fmla="*/ 281703 w 292703"/>
                <a:gd name="connsiteY31" fmla="*/ 109605 h 271462"/>
                <a:gd name="connsiteX32" fmla="*/ 281893 w 292703"/>
                <a:gd name="connsiteY32" fmla="*/ 102842 h 271462"/>
                <a:gd name="connsiteX33" fmla="*/ 282217 w 292703"/>
                <a:gd name="connsiteY33" fmla="*/ 91641 h 271462"/>
                <a:gd name="connsiteX34" fmla="*/ 283770 w 292703"/>
                <a:gd name="connsiteY34" fmla="*/ 81888 h 271462"/>
                <a:gd name="connsiteX35" fmla="*/ 282770 w 292703"/>
                <a:gd name="connsiteY35" fmla="*/ 75039 h 271462"/>
                <a:gd name="connsiteX36" fmla="*/ 285636 w 292703"/>
                <a:gd name="connsiteY36" fmla="*/ 69229 h 271462"/>
                <a:gd name="connsiteX37" fmla="*/ 292437 w 292703"/>
                <a:gd name="connsiteY37" fmla="*/ 63885 h 271462"/>
                <a:gd name="connsiteX38" fmla="*/ 289818 w 292703"/>
                <a:gd name="connsiteY38" fmla="*/ 58323 h 271462"/>
                <a:gd name="connsiteX39" fmla="*/ 284550 w 292703"/>
                <a:gd name="connsiteY39" fmla="*/ 49636 h 271462"/>
                <a:gd name="connsiteX40" fmla="*/ 284884 w 292703"/>
                <a:gd name="connsiteY40" fmla="*/ 42082 h 271462"/>
                <a:gd name="connsiteX41" fmla="*/ 281655 w 292703"/>
                <a:gd name="connsiteY41" fmla="*/ 36720 h 271462"/>
                <a:gd name="connsiteX42" fmla="*/ 276617 w 292703"/>
                <a:gd name="connsiteY42" fmla="*/ 33377 h 271462"/>
                <a:gd name="connsiteX43" fmla="*/ 270549 w 292703"/>
                <a:gd name="connsiteY43" fmla="*/ 28395 h 271462"/>
                <a:gd name="connsiteX44" fmla="*/ 264510 w 292703"/>
                <a:gd name="connsiteY44" fmla="*/ 25490 h 271462"/>
                <a:gd name="connsiteX45" fmla="*/ 258062 w 292703"/>
                <a:gd name="connsiteY45" fmla="*/ 23071 h 271462"/>
                <a:gd name="connsiteX46" fmla="*/ 251613 w 292703"/>
                <a:gd name="connsiteY46" fmla="*/ 21547 h 271462"/>
                <a:gd name="connsiteX47" fmla="*/ 246870 w 292703"/>
                <a:gd name="connsiteY47" fmla="*/ 16241 h 271462"/>
                <a:gd name="connsiteX48" fmla="*/ 241183 w 292703"/>
                <a:gd name="connsiteY48" fmla="*/ 14136 h 271462"/>
                <a:gd name="connsiteX49" fmla="*/ 237240 w 292703"/>
                <a:gd name="connsiteY49" fmla="*/ 9364 h 271462"/>
                <a:gd name="connsiteX50" fmla="*/ 230534 w 292703"/>
                <a:gd name="connsiteY50" fmla="*/ 9240 h 271462"/>
                <a:gd name="connsiteX51" fmla="*/ 224248 w 292703"/>
                <a:gd name="connsiteY51" fmla="*/ 3021 h 271462"/>
                <a:gd name="connsiteX52" fmla="*/ 216323 w 292703"/>
                <a:gd name="connsiteY52" fmla="*/ -94 h 271462"/>
                <a:gd name="connsiteX53" fmla="*/ 195063 w 292703"/>
                <a:gd name="connsiteY53" fmla="*/ 1820 h 271462"/>
                <a:gd name="connsiteX54" fmla="*/ 177842 w 292703"/>
                <a:gd name="connsiteY54" fmla="*/ 4316 h 271462"/>
                <a:gd name="connsiteX55" fmla="*/ 176461 w 292703"/>
                <a:gd name="connsiteY55" fmla="*/ 10707 h 271462"/>
                <a:gd name="connsiteX56" fmla="*/ 170975 w 292703"/>
                <a:gd name="connsiteY56" fmla="*/ 19242 h 271462"/>
                <a:gd name="connsiteX57" fmla="*/ 165364 w 292703"/>
                <a:gd name="connsiteY57" fmla="*/ 24099 h 271462"/>
                <a:gd name="connsiteX58" fmla="*/ 165450 w 292703"/>
                <a:gd name="connsiteY58" fmla="*/ 30472 h 271462"/>
                <a:gd name="connsiteX59" fmla="*/ 167612 w 292703"/>
                <a:gd name="connsiteY59" fmla="*/ 39368 h 271462"/>
                <a:gd name="connsiteX60" fmla="*/ 167584 w 292703"/>
                <a:gd name="connsiteY60" fmla="*/ 47178 h 271462"/>
                <a:gd name="connsiteX61" fmla="*/ 166269 w 292703"/>
                <a:gd name="connsiteY61" fmla="*/ 53465 h 271462"/>
                <a:gd name="connsiteX62" fmla="*/ 167869 w 292703"/>
                <a:gd name="connsiteY62" fmla="*/ 59675 h 271462"/>
                <a:gd name="connsiteX63" fmla="*/ 168927 w 292703"/>
                <a:gd name="connsiteY63" fmla="*/ 65914 h 271462"/>
                <a:gd name="connsiteX64" fmla="*/ 164136 w 292703"/>
                <a:gd name="connsiteY64" fmla="*/ 74896 h 271462"/>
                <a:gd name="connsiteX65" fmla="*/ 163250 w 292703"/>
                <a:gd name="connsiteY65" fmla="*/ 81888 h 271462"/>
                <a:gd name="connsiteX66" fmla="*/ 160611 w 292703"/>
                <a:gd name="connsiteY66" fmla="*/ 91460 h 271462"/>
                <a:gd name="connsiteX67" fmla="*/ 161964 w 292703"/>
                <a:gd name="connsiteY67" fmla="*/ 98223 h 271462"/>
                <a:gd name="connsiteX68" fmla="*/ 167888 w 292703"/>
                <a:gd name="connsiteY68" fmla="*/ 102204 h 271462"/>
                <a:gd name="connsiteX69" fmla="*/ 173718 w 292703"/>
                <a:gd name="connsiteY69" fmla="*/ 108119 h 271462"/>
                <a:gd name="connsiteX70" fmla="*/ 177766 w 292703"/>
                <a:gd name="connsiteY70" fmla="*/ 113130 h 271462"/>
                <a:gd name="connsiteX71" fmla="*/ 186767 w 292703"/>
                <a:gd name="connsiteY71" fmla="*/ 115473 h 271462"/>
                <a:gd name="connsiteX72" fmla="*/ 189158 w 292703"/>
                <a:gd name="connsiteY72" fmla="*/ 108253 h 271462"/>
                <a:gd name="connsiteX73" fmla="*/ 195368 w 292703"/>
                <a:gd name="connsiteY73" fmla="*/ 106881 h 271462"/>
                <a:gd name="connsiteX74" fmla="*/ 194368 w 292703"/>
                <a:gd name="connsiteY74" fmla="*/ 142800 h 271462"/>
                <a:gd name="connsiteX75" fmla="*/ 191244 w 292703"/>
                <a:gd name="connsiteY75" fmla="*/ 137390 h 271462"/>
                <a:gd name="connsiteX76" fmla="*/ 185310 w 292703"/>
                <a:gd name="connsiteY76" fmla="*/ 139123 h 271462"/>
                <a:gd name="connsiteX77" fmla="*/ 178661 w 292703"/>
                <a:gd name="connsiteY77" fmla="*/ 142924 h 271462"/>
                <a:gd name="connsiteX78" fmla="*/ 172432 w 292703"/>
                <a:gd name="connsiteY78" fmla="*/ 136047 h 271462"/>
                <a:gd name="connsiteX79" fmla="*/ 170241 w 292703"/>
                <a:gd name="connsiteY79" fmla="*/ 130494 h 271462"/>
                <a:gd name="connsiteX80" fmla="*/ 166212 w 292703"/>
                <a:gd name="connsiteY80" fmla="*/ 125322 h 271462"/>
                <a:gd name="connsiteX81" fmla="*/ 162526 w 292703"/>
                <a:gd name="connsiteY81" fmla="*/ 119368 h 271462"/>
                <a:gd name="connsiteX82" fmla="*/ 158354 w 292703"/>
                <a:gd name="connsiteY82" fmla="*/ 114368 h 271462"/>
                <a:gd name="connsiteX83" fmla="*/ 152372 w 292703"/>
                <a:gd name="connsiteY83" fmla="*/ 112387 h 271462"/>
                <a:gd name="connsiteX84" fmla="*/ 145857 w 292703"/>
                <a:gd name="connsiteY84" fmla="*/ 108862 h 271462"/>
                <a:gd name="connsiteX85" fmla="*/ 139742 w 292703"/>
                <a:gd name="connsiteY85" fmla="*/ 108291 h 271462"/>
                <a:gd name="connsiteX86" fmla="*/ 137447 w 292703"/>
                <a:gd name="connsiteY86" fmla="*/ 102738 h 271462"/>
                <a:gd name="connsiteX87" fmla="*/ 132979 w 292703"/>
                <a:gd name="connsiteY87" fmla="*/ 97175 h 271462"/>
                <a:gd name="connsiteX88" fmla="*/ 131360 w 292703"/>
                <a:gd name="connsiteY88" fmla="*/ 90574 h 271462"/>
                <a:gd name="connsiteX89" fmla="*/ 126283 w 292703"/>
                <a:gd name="connsiteY89" fmla="*/ 95651 h 271462"/>
                <a:gd name="connsiteX90" fmla="*/ 123292 w 292703"/>
                <a:gd name="connsiteY90" fmla="*/ 102081 h 271462"/>
                <a:gd name="connsiteX91" fmla="*/ 115882 w 292703"/>
                <a:gd name="connsiteY91" fmla="*/ 101795 h 271462"/>
                <a:gd name="connsiteX92" fmla="*/ 109424 w 292703"/>
                <a:gd name="connsiteY92" fmla="*/ 101623 h 271462"/>
                <a:gd name="connsiteX93" fmla="*/ 100794 w 292703"/>
                <a:gd name="connsiteY93" fmla="*/ 101261 h 271462"/>
                <a:gd name="connsiteX94" fmla="*/ 94003 w 292703"/>
                <a:gd name="connsiteY94" fmla="*/ 97175 h 271462"/>
                <a:gd name="connsiteX95" fmla="*/ 88640 w 292703"/>
                <a:gd name="connsiteY95" fmla="*/ 94118 h 271462"/>
                <a:gd name="connsiteX96" fmla="*/ 84116 w 292703"/>
                <a:gd name="connsiteY96" fmla="*/ 89365 h 271462"/>
                <a:gd name="connsiteX97" fmla="*/ 85392 w 292703"/>
                <a:gd name="connsiteY97" fmla="*/ 82735 h 271462"/>
                <a:gd name="connsiteX98" fmla="*/ 77858 w 292703"/>
                <a:gd name="connsiteY98" fmla="*/ 81888 h 271462"/>
                <a:gd name="connsiteX99" fmla="*/ 69514 w 292703"/>
                <a:gd name="connsiteY99" fmla="*/ 84145 h 271462"/>
                <a:gd name="connsiteX100" fmla="*/ 63085 w 292703"/>
                <a:gd name="connsiteY100" fmla="*/ 87907 h 271462"/>
                <a:gd name="connsiteX101" fmla="*/ 62189 w 292703"/>
                <a:gd name="connsiteY101" fmla="*/ 81888 h 271462"/>
                <a:gd name="connsiteX102" fmla="*/ 59923 w 292703"/>
                <a:gd name="connsiteY102" fmla="*/ 76096 h 271462"/>
                <a:gd name="connsiteX103" fmla="*/ 53941 w 292703"/>
                <a:gd name="connsiteY103" fmla="*/ 71839 h 271462"/>
                <a:gd name="connsiteX104" fmla="*/ 52436 w 292703"/>
                <a:gd name="connsiteY104" fmla="*/ 78202 h 271462"/>
                <a:gd name="connsiteX105" fmla="*/ 54388 w 292703"/>
                <a:gd name="connsiteY105" fmla="*/ 86183 h 271462"/>
                <a:gd name="connsiteX106" fmla="*/ 51083 w 292703"/>
                <a:gd name="connsiteY106" fmla="*/ 93270 h 271462"/>
                <a:gd name="connsiteX107" fmla="*/ 51474 w 292703"/>
                <a:gd name="connsiteY107" fmla="*/ 100204 h 271462"/>
                <a:gd name="connsiteX108" fmla="*/ 51674 w 292703"/>
                <a:gd name="connsiteY108" fmla="*/ 108234 h 271462"/>
                <a:gd name="connsiteX109" fmla="*/ 50436 w 292703"/>
                <a:gd name="connsiteY109" fmla="*/ 117130 h 271462"/>
                <a:gd name="connsiteX110" fmla="*/ 48769 w 292703"/>
                <a:gd name="connsiteY110" fmla="*/ 124884 h 271462"/>
                <a:gd name="connsiteX111" fmla="*/ 52588 w 292703"/>
                <a:gd name="connsiteY111" fmla="*/ 130456 h 271462"/>
                <a:gd name="connsiteX112" fmla="*/ 14174 w 292703"/>
                <a:gd name="connsiteY112" fmla="*/ 130465 h 271462"/>
                <a:gd name="connsiteX113" fmla="*/ 1925 w 292703"/>
                <a:gd name="connsiteY113" fmla="*/ 130465 h 271462"/>
                <a:gd name="connsiteX114" fmla="*/ 1534 w 292703"/>
                <a:gd name="connsiteY114" fmla="*/ 145315 h 271462"/>
                <a:gd name="connsiteX115" fmla="*/ -47 w 292703"/>
                <a:gd name="connsiteY115" fmla="*/ 208751 h 271462"/>
                <a:gd name="connsiteX116" fmla="*/ -266 w 292703"/>
                <a:gd name="connsiteY116" fmla="*/ 219257 h 271462"/>
                <a:gd name="connsiteX117" fmla="*/ 3030 w 292703"/>
                <a:gd name="connsiteY117" fmla="*/ 226925 h 271462"/>
                <a:gd name="connsiteX118" fmla="*/ 9478 w 292703"/>
                <a:gd name="connsiteY118" fmla="*/ 234430 h 271462"/>
                <a:gd name="connsiteX119" fmla="*/ 14726 w 292703"/>
                <a:gd name="connsiteY119" fmla="*/ 240831 h 271462"/>
                <a:gd name="connsiteX120" fmla="*/ 18479 w 292703"/>
                <a:gd name="connsiteY120" fmla="*/ 246080 h 271462"/>
                <a:gd name="connsiteX121" fmla="*/ 23451 w 292703"/>
                <a:gd name="connsiteY121" fmla="*/ 249385 h 271462"/>
                <a:gd name="connsiteX122" fmla="*/ 28919 w 292703"/>
                <a:gd name="connsiteY122" fmla="*/ 256671 h 271462"/>
                <a:gd name="connsiteX123" fmla="*/ 53703 w 292703"/>
                <a:gd name="connsiteY123" fmla="*/ 254652 h 271462"/>
                <a:gd name="connsiteX124" fmla="*/ 60951 w 292703"/>
                <a:gd name="connsiteY124" fmla="*/ 255633 h 271462"/>
                <a:gd name="connsiteX125" fmla="*/ 67028 w 292703"/>
                <a:gd name="connsiteY125" fmla="*/ 256395 h 271462"/>
                <a:gd name="connsiteX126" fmla="*/ 73257 w 292703"/>
                <a:gd name="connsiteY126" fmla="*/ 258081 h 271462"/>
                <a:gd name="connsiteX127" fmla="*/ 78468 w 292703"/>
                <a:gd name="connsiteY127" fmla="*/ 263615 h 271462"/>
                <a:gd name="connsiteX128" fmla="*/ 84392 w 292703"/>
                <a:gd name="connsiteY128" fmla="*/ 265520 h 271462"/>
                <a:gd name="connsiteX129" fmla="*/ 92422 w 292703"/>
                <a:gd name="connsiteY129" fmla="*/ 266406 h 271462"/>
                <a:gd name="connsiteX130" fmla="*/ 98404 w 292703"/>
                <a:gd name="connsiteY130" fmla="*/ 268721 h 271462"/>
                <a:gd name="connsiteX131" fmla="*/ 106062 w 292703"/>
                <a:gd name="connsiteY131" fmla="*/ 267482 h 271462"/>
                <a:gd name="connsiteX132" fmla="*/ 113110 w 292703"/>
                <a:gd name="connsiteY132" fmla="*/ 271368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292703" h="271462">
                  <a:moveTo>
                    <a:pt x="113110" y="271368"/>
                  </a:moveTo>
                  <a:lnTo>
                    <a:pt x="121702" y="268111"/>
                  </a:lnTo>
                  <a:lnTo>
                    <a:pt x="128788" y="258148"/>
                  </a:lnTo>
                  <a:lnTo>
                    <a:pt x="135132" y="252661"/>
                  </a:lnTo>
                  <a:lnTo>
                    <a:pt x="141352" y="241641"/>
                  </a:lnTo>
                  <a:lnTo>
                    <a:pt x="146952" y="238021"/>
                  </a:lnTo>
                  <a:lnTo>
                    <a:pt x="153163" y="233668"/>
                  </a:lnTo>
                  <a:lnTo>
                    <a:pt x="160554" y="230411"/>
                  </a:lnTo>
                  <a:lnTo>
                    <a:pt x="166850" y="227210"/>
                  </a:lnTo>
                  <a:lnTo>
                    <a:pt x="168155" y="220514"/>
                  </a:lnTo>
                  <a:lnTo>
                    <a:pt x="169070" y="213875"/>
                  </a:lnTo>
                  <a:lnTo>
                    <a:pt x="176451" y="208189"/>
                  </a:lnTo>
                  <a:lnTo>
                    <a:pt x="182509" y="205036"/>
                  </a:lnTo>
                  <a:lnTo>
                    <a:pt x="192777" y="202903"/>
                  </a:lnTo>
                  <a:lnTo>
                    <a:pt x="200950" y="203150"/>
                  </a:lnTo>
                  <a:lnTo>
                    <a:pt x="207313" y="203217"/>
                  </a:lnTo>
                  <a:lnTo>
                    <a:pt x="206550" y="197159"/>
                  </a:lnTo>
                  <a:lnTo>
                    <a:pt x="203855" y="191549"/>
                  </a:lnTo>
                  <a:lnTo>
                    <a:pt x="216609" y="180481"/>
                  </a:lnTo>
                  <a:lnTo>
                    <a:pt x="235011" y="175166"/>
                  </a:lnTo>
                  <a:lnTo>
                    <a:pt x="242945" y="171613"/>
                  </a:lnTo>
                  <a:lnTo>
                    <a:pt x="258652" y="166107"/>
                  </a:lnTo>
                  <a:lnTo>
                    <a:pt x="273692" y="159954"/>
                  </a:lnTo>
                  <a:lnTo>
                    <a:pt x="269920" y="153087"/>
                  </a:lnTo>
                  <a:lnTo>
                    <a:pt x="264720" y="147753"/>
                  </a:lnTo>
                  <a:lnTo>
                    <a:pt x="269130" y="143324"/>
                  </a:lnTo>
                  <a:lnTo>
                    <a:pt x="273359" y="136142"/>
                  </a:lnTo>
                  <a:lnTo>
                    <a:pt x="274121" y="128027"/>
                  </a:lnTo>
                  <a:lnTo>
                    <a:pt x="274854" y="119416"/>
                  </a:lnTo>
                  <a:lnTo>
                    <a:pt x="282007" y="117492"/>
                  </a:lnTo>
                  <a:lnTo>
                    <a:pt x="287456" y="112806"/>
                  </a:lnTo>
                  <a:lnTo>
                    <a:pt x="281703" y="109605"/>
                  </a:lnTo>
                  <a:lnTo>
                    <a:pt x="281893" y="102842"/>
                  </a:lnTo>
                  <a:lnTo>
                    <a:pt x="282217" y="91641"/>
                  </a:lnTo>
                  <a:lnTo>
                    <a:pt x="283770" y="81888"/>
                  </a:lnTo>
                  <a:lnTo>
                    <a:pt x="282770" y="75039"/>
                  </a:lnTo>
                  <a:lnTo>
                    <a:pt x="285636" y="69229"/>
                  </a:lnTo>
                  <a:lnTo>
                    <a:pt x="292437" y="63885"/>
                  </a:lnTo>
                  <a:lnTo>
                    <a:pt x="289818" y="58323"/>
                  </a:lnTo>
                  <a:lnTo>
                    <a:pt x="284550" y="49636"/>
                  </a:lnTo>
                  <a:lnTo>
                    <a:pt x="284884" y="42082"/>
                  </a:lnTo>
                  <a:lnTo>
                    <a:pt x="281655" y="36720"/>
                  </a:lnTo>
                  <a:lnTo>
                    <a:pt x="276617" y="33377"/>
                  </a:lnTo>
                  <a:lnTo>
                    <a:pt x="270549" y="28395"/>
                  </a:lnTo>
                  <a:lnTo>
                    <a:pt x="264510" y="25490"/>
                  </a:lnTo>
                  <a:lnTo>
                    <a:pt x="258062" y="23071"/>
                  </a:lnTo>
                  <a:lnTo>
                    <a:pt x="251613" y="21547"/>
                  </a:lnTo>
                  <a:lnTo>
                    <a:pt x="246870" y="16241"/>
                  </a:lnTo>
                  <a:lnTo>
                    <a:pt x="241183" y="14136"/>
                  </a:lnTo>
                  <a:lnTo>
                    <a:pt x="237240" y="9364"/>
                  </a:lnTo>
                  <a:lnTo>
                    <a:pt x="230534" y="9240"/>
                  </a:lnTo>
                  <a:lnTo>
                    <a:pt x="224248" y="3021"/>
                  </a:lnTo>
                  <a:lnTo>
                    <a:pt x="216323" y="-94"/>
                  </a:lnTo>
                  <a:lnTo>
                    <a:pt x="195063" y="1820"/>
                  </a:lnTo>
                  <a:lnTo>
                    <a:pt x="177842" y="4316"/>
                  </a:lnTo>
                  <a:lnTo>
                    <a:pt x="176461" y="10707"/>
                  </a:lnTo>
                  <a:lnTo>
                    <a:pt x="170975" y="19242"/>
                  </a:lnTo>
                  <a:lnTo>
                    <a:pt x="165364" y="24099"/>
                  </a:lnTo>
                  <a:lnTo>
                    <a:pt x="165450" y="30472"/>
                  </a:lnTo>
                  <a:lnTo>
                    <a:pt x="167612" y="39368"/>
                  </a:lnTo>
                  <a:lnTo>
                    <a:pt x="167584" y="47178"/>
                  </a:lnTo>
                  <a:lnTo>
                    <a:pt x="166269" y="53465"/>
                  </a:lnTo>
                  <a:lnTo>
                    <a:pt x="167869" y="59675"/>
                  </a:lnTo>
                  <a:lnTo>
                    <a:pt x="168927" y="65914"/>
                  </a:lnTo>
                  <a:lnTo>
                    <a:pt x="164136" y="74896"/>
                  </a:lnTo>
                  <a:lnTo>
                    <a:pt x="163250" y="81888"/>
                  </a:lnTo>
                  <a:lnTo>
                    <a:pt x="160611" y="91460"/>
                  </a:lnTo>
                  <a:lnTo>
                    <a:pt x="161964" y="98223"/>
                  </a:lnTo>
                  <a:lnTo>
                    <a:pt x="167888" y="102204"/>
                  </a:lnTo>
                  <a:lnTo>
                    <a:pt x="173718" y="108119"/>
                  </a:lnTo>
                  <a:lnTo>
                    <a:pt x="177766" y="113130"/>
                  </a:lnTo>
                  <a:lnTo>
                    <a:pt x="186767" y="115473"/>
                  </a:lnTo>
                  <a:lnTo>
                    <a:pt x="189158" y="108253"/>
                  </a:lnTo>
                  <a:lnTo>
                    <a:pt x="195368" y="106881"/>
                  </a:lnTo>
                  <a:lnTo>
                    <a:pt x="194368" y="142800"/>
                  </a:lnTo>
                  <a:lnTo>
                    <a:pt x="191244" y="137390"/>
                  </a:lnTo>
                  <a:lnTo>
                    <a:pt x="185310" y="139123"/>
                  </a:lnTo>
                  <a:lnTo>
                    <a:pt x="178661" y="142924"/>
                  </a:lnTo>
                  <a:lnTo>
                    <a:pt x="172432" y="136047"/>
                  </a:lnTo>
                  <a:lnTo>
                    <a:pt x="170241" y="130494"/>
                  </a:lnTo>
                  <a:lnTo>
                    <a:pt x="166212" y="125322"/>
                  </a:lnTo>
                  <a:lnTo>
                    <a:pt x="162526" y="119368"/>
                  </a:lnTo>
                  <a:lnTo>
                    <a:pt x="158354" y="114368"/>
                  </a:lnTo>
                  <a:lnTo>
                    <a:pt x="152372" y="112387"/>
                  </a:lnTo>
                  <a:lnTo>
                    <a:pt x="145857" y="108862"/>
                  </a:lnTo>
                  <a:lnTo>
                    <a:pt x="139742" y="108291"/>
                  </a:lnTo>
                  <a:lnTo>
                    <a:pt x="137447" y="102738"/>
                  </a:lnTo>
                  <a:lnTo>
                    <a:pt x="132979" y="97175"/>
                  </a:lnTo>
                  <a:lnTo>
                    <a:pt x="131360" y="90574"/>
                  </a:lnTo>
                  <a:lnTo>
                    <a:pt x="126283" y="95651"/>
                  </a:lnTo>
                  <a:lnTo>
                    <a:pt x="123292" y="102081"/>
                  </a:lnTo>
                  <a:lnTo>
                    <a:pt x="115882" y="101795"/>
                  </a:lnTo>
                  <a:lnTo>
                    <a:pt x="109424" y="101623"/>
                  </a:lnTo>
                  <a:lnTo>
                    <a:pt x="100794" y="101261"/>
                  </a:lnTo>
                  <a:lnTo>
                    <a:pt x="94003" y="97175"/>
                  </a:lnTo>
                  <a:lnTo>
                    <a:pt x="88640" y="94118"/>
                  </a:lnTo>
                  <a:lnTo>
                    <a:pt x="84116" y="89365"/>
                  </a:lnTo>
                  <a:lnTo>
                    <a:pt x="85392" y="82735"/>
                  </a:lnTo>
                  <a:lnTo>
                    <a:pt x="77858" y="81888"/>
                  </a:lnTo>
                  <a:lnTo>
                    <a:pt x="69514" y="84145"/>
                  </a:lnTo>
                  <a:lnTo>
                    <a:pt x="63085" y="87907"/>
                  </a:lnTo>
                  <a:lnTo>
                    <a:pt x="62189" y="81888"/>
                  </a:lnTo>
                  <a:lnTo>
                    <a:pt x="59923" y="76096"/>
                  </a:lnTo>
                  <a:lnTo>
                    <a:pt x="53941" y="71839"/>
                  </a:lnTo>
                  <a:lnTo>
                    <a:pt x="52436" y="78202"/>
                  </a:lnTo>
                  <a:lnTo>
                    <a:pt x="54388" y="86183"/>
                  </a:lnTo>
                  <a:lnTo>
                    <a:pt x="51083" y="93270"/>
                  </a:lnTo>
                  <a:lnTo>
                    <a:pt x="51474" y="100204"/>
                  </a:lnTo>
                  <a:lnTo>
                    <a:pt x="51674" y="108234"/>
                  </a:lnTo>
                  <a:lnTo>
                    <a:pt x="50436" y="117130"/>
                  </a:lnTo>
                  <a:lnTo>
                    <a:pt x="48769" y="124884"/>
                  </a:lnTo>
                  <a:lnTo>
                    <a:pt x="52588" y="130456"/>
                  </a:lnTo>
                  <a:lnTo>
                    <a:pt x="14174" y="130465"/>
                  </a:lnTo>
                  <a:lnTo>
                    <a:pt x="1925" y="130465"/>
                  </a:lnTo>
                  <a:lnTo>
                    <a:pt x="1534" y="145315"/>
                  </a:lnTo>
                  <a:lnTo>
                    <a:pt x="-47" y="208751"/>
                  </a:lnTo>
                  <a:lnTo>
                    <a:pt x="-266" y="219257"/>
                  </a:lnTo>
                  <a:lnTo>
                    <a:pt x="3030" y="226925"/>
                  </a:lnTo>
                  <a:lnTo>
                    <a:pt x="9478" y="234430"/>
                  </a:lnTo>
                  <a:lnTo>
                    <a:pt x="14726" y="240831"/>
                  </a:lnTo>
                  <a:lnTo>
                    <a:pt x="18479" y="246080"/>
                  </a:lnTo>
                  <a:lnTo>
                    <a:pt x="23451" y="249385"/>
                  </a:lnTo>
                  <a:lnTo>
                    <a:pt x="28919" y="256671"/>
                  </a:lnTo>
                  <a:lnTo>
                    <a:pt x="53703" y="254652"/>
                  </a:lnTo>
                  <a:lnTo>
                    <a:pt x="60951" y="255633"/>
                  </a:lnTo>
                  <a:lnTo>
                    <a:pt x="67028" y="256395"/>
                  </a:lnTo>
                  <a:lnTo>
                    <a:pt x="73257" y="258081"/>
                  </a:lnTo>
                  <a:lnTo>
                    <a:pt x="78468" y="263615"/>
                  </a:lnTo>
                  <a:lnTo>
                    <a:pt x="84392" y="265520"/>
                  </a:lnTo>
                  <a:lnTo>
                    <a:pt x="92422" y="266406"/>
                  </a:lnTo>
                  <a:lnTo>
                    <a:pt x="98404" y="268721"/>
                  </a:lnTo>
                  <a:lnTo>
                    <a:pt x="106062" y="267482"/>
                  </a:lnTo>
                  <a:lnTo>
                    <a:pt x="113110" y="271368"/>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8" name="Freeform: Shape 57">
              <a:extLst>
                <a:ext uri="{FF2B5EF4-FFF2-40B4-BE49-F238E27FC236}">
                  <a16:creationId xmlns:a16="http://schemas.microsoft.com/office/drawing/2014/main" id="{650B61DC-902C-87FE-A18A-4373B62C70B8}"/>
                </a:ext>
              </a:extLst>
            </p:cNvPr>
            <p:cNvSpPr/>
            <p:nvPr/>
          </p:nvSpPr>
          <p:spPr>
            <a:xfrm>
              <a:off x="6721646" y="3650238"/>
              <a:ext cx="540938" cy="539470"/>
            </a:xfrm>
            <a:custGeom>
              <a:avLst/>
              <a:gdLst>
                <a:gd name="connsiteX0" fmla="*/ 140704 w 189804"/>
                <a:gd name="connsiteY0" fmla="*/ 189063 h 189157"/>
                <a:gd name="connsiteX1" fmla="*/ 161659 w 189804"/>
                <a:gd name="connsiteY1" fmla="*/ 166765 h 189157"/>
                <a:gd name="connsiteX2" fmla="*/ 167041 w 189804"/>
                <a:gd name="connsiteY2" fmla="*/ 160669 h 189157"/>
                <a:gd name="connsiteX3" fmla="*/ 169479 w 189804"/>
                <a:gd name="connsiteY3" fmla="*/ 154383 h 189157"/>
                <a:gd name="connsiteX4" fmla="*/ 172385 w 189804"/>
                <a:gd name="connsiteY4" fmla="*/ 146981 h 189157"/>
                <a:gd name="connsiteX5" fmla="*/ 171937 w 189804"/>
                <a:gd name="connsiteY5" fmla="*/ 139981 h 189157"/>
                <a:gd name="connsiteX6" fmla="*/ 179318 w 189804"/>
                <a:gd name="connsiteY6" fmla="*/ 133056 h 189157"/>
                <a:gd name="connsiteX7" fmla="*/ 181538 w 189804"/>
                <a:gd name="connsiteY7" fmla="*/ 127494 h 189157"/>
                <a:gd name="connsiteX8" fmla="*/ 186186 w 189804"/>
                <a:gd name="connsiteY8" fmla="*/ 122750 h 189157"/>
                <a:gd name="connsiteX9" fmla="*/ 186929 w 189804"/>
                <a:gd name="connsiteY9" fmla="*/ 116378 h 189157"/>
                <a:gd name="connsiteX10" fmla="*/ 181862 w 189804"/>
                <a:gd name="connsiteY10" fmla="*/ 112644 h 189157"/>
                <a:gd name="connsiteX11" fmla="*/ 180871 w 189804"/>
                <a:gd name="connsiteY11" fmla="*/ 105357 h 189157"/>
                <a:gd name="connsiteX12" fmla="*/ 183691 w 189804"/>
                <a:gd name="connsiteY12" fmla="*/ 96727 h 189157"/>
                <a:gd name="connsiteX13" fmla="*/ 179528 w 189804"/>
                <a:gd name="connsiteY13" fmla="*/ 92270 h 189157"/>
                <a:gd name="connsiteX14" fmla="*/ 184795 w 189804"/>
                <a:gd name="connsiteY14" fmla="*/ 88288 h 189157"/>
                <a:gd name="connsiteX15" fmla="*/ 184386 w 189804"/>
                <a:gd name="connsiteY15" fmla="*/ 80669 h 189157"/>
                <a:gd name="connsiteX16" fmla="*/ 189329 w 189804"/>
                <a:gd name="connsiteY16" fmla="*/ 75935 h 189157"/>
                <a:gd name="connsiteX17" fmla="*/ 186491 w 189804"/>
                <a:gd name="connsiteY17" fmla="*/ 67172 h 189157"/>
                <a:gd name="connsiteX18" fmla="*/ 187700 w 189804"/>
                <a:gd name="connsiteY18" fmla="*/ 60704 h 189157"/>
                <a:gd name="connsiteX19" fmla="*/ 187920 w 189804"/>
                <a:gd name="connsiteY19" fmla="*/ 52932 h 189157"/>
                <a:gd name="connsiteX20" fmla="*/ 188939 w 189804"/>
                <a:gd name="connsiteY20" fmla="*/ 46998 h 189157"/>
                <a:gd name="connsiteX21" fmla="*/ 186977 w 189804"/>
                <a:gd name="connsiteY21" fmla="*/ 38997 h 189157"/>
                <a:gd name="connsiteX22" fmla="*/ 189539 w 189804"/>
                <a:gd name="connsiteY22" fmla="*/ 30100 h 189157"/>
                <a:gd name="connsiteX23" fmla="*/ 182509 w 189804"/>
                <a:gd name="connsiteY23" fmla="*/ 29605 h 189157"/>
                <a:gd name="connsiteX24" fmla="*/ 173956 w 189804"/>
                <a:gd name="connsiteY24" fmla="*/ 23204 h 189157"/>
                <a:gd name="connsiteX25" fmla="*/ 166431 w 189804"/>
                <a:gd name="connsiteY25" fmla="*/ 23004 h 189157"/>
                <a:gd name="connsiteX26" fmla="*/ 161497 w 189804"/>
                <a:gd name="connsiteY26" fmla="*/ 19280 h 189157"/>
                <a:gd name="connsiteX27" fmla="*/ 151791 w 189804"/>
                <a:gd name="connsiteY27" fmla="*/ 15184 h 189157"/>
                <a:gd name="connsiteX28" fmla="*/ 146057 w 189804"/>
                <a:gd name="connsiteY28" fmla="*/ 10850 h 189157"/>
                <a:gd name="connsiteX29" fmla="*/ 139466 w 189804"/>
                <a:gd name="connsiteY29" fmla="*/ 10745 h 189157"/>
                <a:gd name="connsiteX30" fmla="*/ 127312 w 189804"/>
                <a:gd name="connsiteY30" fmla="*/ 10736 h 189157"/>
                <a:gd name="connsiteX31" fmla="*/ 127684 w 189804"/>
                <a:gd name="connsiteY31" fmla="*/ 221 h 189157"/>
                <a:gd name="connsiteX32" fmla="*/ 121321 w 189804"/>
                <a:gd name="connsiteY32" fmla="*/ 154 h 189157"/>
                <a:gd name="connsiteX33" fmla="*/ 113149 w 189804"/>
                <a:gd name="connsiteY33" fmla="*/ -94 h 189157"/>
                <a:gd name="connsiteX34" fmla="*/ 106738 w 189804"/>
                <a:gd name="connsiteY34" fmla="*/ 868 h 189157"/>
                <a:gd name="connsiteX35" fmla="*/ 96889 w 189804"/>
                <a:gd name="connsiteY35" fmla="*/ 5145 h 189157"/>
                <a:gd name="connsiteX36" fmla="*/ 90727 w 189804"/>
                <a:gd name="connsiteY36" fmla="*/ 9164 h 189157"/>
                <a:gd name="connsiteX37" fmla="*/ 88155 w 189804"/>
                <a:gd name="connsiteY37" fmla="*/ 16203 h 189157"/>
                <a:gd name="connsiteX38" fmla="*/ 87221 w 189804"/>
                <a:gd name="connsiteY38" fmla="*/ 24214 h 189157"/>
                <a:gd name="connsiteX39" fmla="*/ 81278 w 189804"/>
                <a:gd name="connsiteY39" fmla="*/ 27224 h 189157"/>
                <a:gd name="connsiteX40" fmla="*/ 73534 w 189804"/>
                <a:gd name="connsiteY40" fmla="*/ 30672 h 189157"/>
                <a:gd name="connsiteX41" fmla="*/ 67323 w 189804"/>
                <a:gd name="connsiteY41" fmla="*/ 35025 h 189157"/>
                <a:gd name="connsiteX42" fmla="*/ 58722 w 189804"/>
                <a:gd name="connsiteY42" fmla="*/ 43159 h 189157"/>
                <a:gd name="connsiteX43" fmla="*/ 55789 w 189804"/>
                <a:gd name="connsiteY43" fmla="*/ 49265 h 189157"/>
                <a:gd name="connsiteX44" fmla="*/ 49321 w 189804"/>
                <a:gd name="connsiteY44" fmla="*/ 55018 h 189157"/>
                <a:gd name="connsiteX45" fmla="*/ 44759 w 189804"/>
                <a:gd name="connsiteY45" fmla="*/ 60885 h 189157"/>
                <a:gd name="connsiteX46" fmla="*/ 36806 w 189804"/>
                <a:gd name="connsiteY46" fmla="*/ 66133 h 189157"/>
                <a:gd name="connsiteX47" fmla="*/ 30529 w 189804"/>
                <a:gd name="connsiteY47" fmla="*/ 66324 h 189157"/>
                <a:gd name="connsiteX48" fmla="*/ 22604 w 189804"/>
                <a:gd name="connsiteY48" fmla="*/ 63971 h 189157"/>
                <a:gd name="connsiteX49" fmla="*/ 16565 w 189804"/>
                <a:gd name="connsiteY49" fmla="*/ 65619 h 189157"/>
                <a:gd name="connsiteX50" fmla="*/ 9440 w 189804"/>
                <a:gd name="connsiteY50" fmla="*/ 61771 h 189157"/>
                <a:gd name="connsiteX51" fmla="*/ 1430 w 189804"/>
                <a:gd name="connsiteY51" fmla="*/ 62152 h 189157"/>
                <a:gd name="connsiteX52" fmla="*/ -266 w 189804"/>
                <a:gd name="connsiteY52" fmla="*/ 68410 h 189157"/>
                <a:gd name="connsiteX53" fmla="*/ 4820 w 189804"/>
                <a:gd name="connsiteY53" fmla="*/ 77354 h 189157"/>
                <a:gd name="connsiteX54" fmla="*/ 9593 w 189804"/>
                <a:gd name="connsiteY54" fmla="*/ 82888 h 189157"/>
                <a:gd name="connsiteX55" fmla="*/ 11393 w 189804"/>
                <a:gd name="connsiteY55" fmla="*/ 89498 h 189157"/>
                <a:gd name="connsiteX56" fmla="*/ 14498 w 189804"/>
                <a:gd name="connsiteY56" fmla="*/ 96899 h 189157"/>
                <a:gd name="connsiteX57" fmla="*/ 17975 w 189804"/>
                <a:gd name="connsiteY57" fmla="*/ 104996 h 189157"/>
                <a:gd name="connsiteX58" fmla="*/ 23042 w 189804"/>
                <a:gd name="connsiteY58" fmla="*/ 110653 h 189157"/>
                <a:gd name="connsiteX59" fmla="*/ 28852 w 189804"/>
                <a:gd name="connsiteY59" fmla="*/ 116149 h 189157"/>
                <a:gd name="connsiteX60" fmla="*/ 37320 w 189804"/>
                <a:gd name="connsiteY60" fmla="*/ 121750 h 189157"/>
                <a:gd name="connsiteX61" fmla="*/ 43854 w 189804"/>
                <a:gd name="connsiteY61" fmla="*/ 124046 h 189157"/>
                <a:gd name="connsiteX62" fmla="*/ 45892 w 189804"/>
                <a:gd name="connsiteY62" fmla="*/ 129999 h 189157"/>
                <a:gd name="connsiteX63" fmla="*/ 55008 w 189804"/>
                <a:gd name="connsiteY63" fmla="*/ 135294 h 189157"/>
                <a:gd name="connsiteX64" fmla="*/ 55951 w 189804"/>
                <a:gd name="connsiteY64" fmla="*/ 141324 h 189157"/>
                <a:gd name="connsiteX65" fmla="*/ 54589 w 189804"/>
                <a:gd name="connsiteY65" fmla="*/ 147715 h 189157"/>
                <a:gd name="connsiteX66" fmla="*/ 57303 w 189804"/>
                <a:gd name="connsiteY66" fmla="*/ 155078 h 189157"/>
                <a:gd name="connsiteX67" fmla="*/ 60332 w 189804"/>
                <a:gd name="connsiteY67" fmla="*/ 160631 h 189157"/>
                <a:gd name="connsiteX68" fmla="*/ 64247 w 189804"/>
                <a:gd name="connsiteY68" fmla="*/ 165813 h 189157"/>
                <a:gd name="connsiteX69" fmla="*/ 73353 w 189804"/>
                <a:gd name="connsiteY69" fmla="*/ 168070 h 189157"/>
                <a:gd name="connsiteX70" fmla="*/ 80544 w 189804"/>
                <a:gd name="connsiteY70" fmla="*/ 169861 h 189157"/>
                <a:gd name="connsiteX71" fmla="*/ 86516 w 189804"/>
                <a:gd name="connsiteY71" fmla="*/ 171727 h 189157"/>
                <a:gd name="connsiteX72" fmla="*/ 88174 w 189804"/>
                <a:gd name="connsiteY72" fmla="*/ 179214 h 189157"/>
                <a:gd name="connsiteX73" fmla="*/ 93975 w 189804"/>
                <a:gd name="connsiteY73" fmla="*/ 182719 h 189157"/>
                <a:gd name="connsiteX74" fmla="*/ 100899 w 189804"/>
                <a:gd name="connsiteY74" fmla="*/ 180757 h 189157"/>
                <a:gd name="connsiteX75" fmla="*/ 107595 w 189804"/>
                <a:gd name="connsiteY75" fmla="*/ 182681 h 189157"/>
                <a:gd name="connsiteX76" fmla="*/ 114777 w 189804"/>
                <a:gd name="connsiteY76" fmla="*/ 185548 h 189157"/>
                <a:gd name="connsiteX77" fmla="*/ 120797 w 189804"/>
                <a:gd name="connsiteY77" fmla="*/ 186082 h 189157"/>
                <a:gd name="connsiteX78" fmla="*/ 129360 w 189804"/>
                <a:gd name="connsiteY78" fmla="*/ 185396 h 189157"/>
                <a:gd name="connsiteX79" fmla="*/ 135513 w 189804"/>
                <a:gd name="connsiteY79" fmla="*/ 186977 h 18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89804" h="189157">
                  <a:moveTo>
                    <a:pt x="140704" y="189063"/>
                  </a:moveTo>
                  <a:lnTo>
                    <a:pt x="161659" y="166765"/>
                  </a:lnTo>
                  <a:lnTo>
                    <a:pt x="167041" y="160669"/>
                  </a:lnTo>
                  <a:lnTo>
                    <a:pt x="169479" y="154383"/>
                  </a:lnTo>
                  <a:lnTo>
                    <a:pt x="172385" y="146981"/>
                  </a:lnTo>
                  <a:lnTo>
                    <a:pt x="171937" y="139981"/>
                  </a:lnTo>
                  <a:lnTo>
                    <a:pt x="179318" y="133056"/>
                  </a:lnTo>
                  <a:lnTo>
                    <a:pt x="181538" y="127494"/>
                  </a:lnTo>
                  <a:lnTo>
                    <a:pt x="186186" y="122750"/>
                  </a:lnTo>
                  <a:lnTo>
                    <a:pt x="186929" y="116378"/>
                  </a:lnTo>
                  <a:lnTo>
                    <a:pt x="181862" y="112644"/>
                  </a:lnTo>
                  <a:lnTo>
                    <a:pt x="180871" y="105357"/>
                  </a:lnTo>
                  <a:lnTo>
                    <a:pt x="183691" y="96727"/>
                  </a:lnTo>
                  <a:lnTo>
                    <a:pt x="179528" y="92270"/>
                  </a:lnTo>
                  <a:lnTo>
                    <a:pt x="184795" y="88288"/>
                  </a:lnTo>
                  <a:lnTo>
                    <a:pt x="184386" y="80669"/>
                  </a:lnTo>
                  <a:lnTo>
                    <a:pt x="189329" y="75935"/>
                  </a:lnTo>
                  <a:lnTo>
                    <a:pt x="186491" y="67172"/>
                  </a:lnTo>
                  <a:lnTo>
                    <a:pt x="187700" y="60704"/>
                  </a:lnTo>
                  <a:lnTo>
                    <a:pt x="187920" y="52932"/>
                  </a:lnTo>
                  <a:lnTo>
                    <a:pt x="188939" y="46998"/>
                  </a:lnTo>
                  <a:lnTo>
                    <a:pt x="186977" y="38997"/>
                  </a:lnTo>
                  <a:lnTo>
                    <a:pt x="189539" y="30100"/>
                  </a:lnTo>
                  <a:lnTo>
                    <a:pt x="182509" y="29605"/>
                  </a:lnTo>
                  <a:lnTo>
                    <a:pt x="173956" y="23204"/>
                  </a:lnTo>
                  <a:lnTo>
                    <a:pt x="166431" y="23004"/>
                  </a:lnTo>
                  <a:lnTo>
                    <a:pt x="161497" y="19280"/>
                  </a:lnTo>
                  <a:lnTo>
                    <a:pt x="151791" y="15184"/>
                  </a:lnTo>
                  <a:lnTo>
                    <a:pt x="146057" y="10850"/>
                  </a:lnTo>
                  <a:lnTo>
                    <a:pt x="139466" y="10745"/>
                  </a:lnTo>
                  <a:lnTo>
                    <a:pt x="127312" y="10736"/>
                  </a:lnTo>
                  <a:lnTo>
                    <a:pt x="127684" y="221"/>
                  </a:lnTo>
                  <a:lnTo>
                    <a:pt x="121321" y="154"/>
                  </a:lnTo>
                  <a:lnTo>
                    <a:pt x="113149" y="-94"/>
                  </a:lnTo>
                  <a:lnTo>
                    <a:pt x="106738" y="868"/>
                  </a:lnTo>
                  <a:lnTo>
                    <a:pt x="96889" y="5145"/>
                  </a:lnTo>
                  <a:lnTo>
                    <a:pt x="90727" y="9164"/>
                  </a:lnTo>
                  <a:lnTo>
                    <a:pt x="88155" y="16203"/>
                  </a:lnTo>
                  <a:lnTo>
                    <a:pt x="87221" y="24214"/>
                  </a:lnTo>
                  <a:lnTo>
                    <a:pt x="81278" y="27224"/>
                  </a:lnTo>
                  <a:lnTo>
                    <a:pt x="73534" y="30672"/>
                  </a:lnTo>
                  <a:lnTo>
                    <a:pt x="67323" y="35025"/>
                  </a:lnTo>
                  <a:lnTo>
                    <a:pt x="58722" y="43159"/>
                  </a:lnTo>
                  <a:lnTo>
                    <a:pt x="55789" y="49265"/>
                  </a:lnTo>
                  <a:lnTo>
                    <a:pt x="49321" y="55018"/>
                  </a:lnTo>
                  <a:lnTo>
                    <a:pt x="44759" y="60885"/>
                  </a:lnTo>
                  <a:lnTo>
                    <a:pt x="36806" y="66133"/>
                  </a:lnTo>
                  <a:lnTo>
                    <a:pt x="30529" y="66324"/>
                  </a:lnTo>
                  <a:lnTo>
                    <a:pt x="22604" y="63971"/>
                  </a:lnTo>
                  <a:lnTo>
                    <a:pt x="16565" y="65619"/>
                  </a:lnTo>
                  <a:lnTo>
                    <a:pt x="9440" y="61771"/>
                  </a:lnTo>
                  <a:lnTo>
                    <a:pt x="1430" y="62152"/>
                  </a:lnTo>
                  <a:lnTo>
                    <a:pt x="-266" y="68410"/>
                  </a:lnTo>
                  <a:lnTo>
                    <a:pt x="4820" y="77354"/>
                  </a:lnTo>
                  <a:lnTo>
                    <a:pt x="9593" y="82888"/>
                  </a:lnTo>
                  <a:lnTo>
                    <a:pt x="11393" y="89498"/>
                  </a:lnTo>
                  <a:lnTo>
                    <a:pt x="14498" y="96899"/>
                  </a:lnTo>
                  <a:lnTo>
                    <a:pt x="17975" y="104996"/>
                  </a:lnTo>
                  <a:lnTo>
                    <a:pt x="23042" y="110653"/>
                  </a:lnTo>
                  <a:lnTo>
                    <a:pt x="28852" y="116149"/>
                  </a:lnTo>
                  <a:lnTo>
                    <a:pt x="37320" y="121750"/>
                  </a:lnTo>
                  <a:lnTo>
                    <a:pt x="43854" y="124046"/>
                  </a:lnTo>
                  <a:lnTo>
                    <a:pt x="45892" y="129999"/>
                  </a:lnTo>
                  <a:lnTo>
                    <a:pt x="55008" y="135294"/>
                  </a:lnTo>
                  <a:lnTo>
                    <a:pt x="55951" y="141324"/>
                  </a:lnTo>
                  <a:lnTo>
                    <a:pt x="54589" y="147715"/>
                  </a:lnTo>
                  <a:lnTo>
                    <a:pt x="57303" y="155078"/>
                  </a:lnTo>
                  <a:lnTo>
                    <a:pt x="60332" y="160631"/>
                  </a:lnTo>
                  <a:lnTo>
                    <a:pt x="64247" y="165813"/>
                  </a:lnTo>
                  <a:lnTo>
                    <a:pt x="73353" y="168070"/>
                  </a:lnTo>
                  <a:lnTo>
                    <a:pt x="80544" y="169861"/>
                  </a:lnTo>
                  <a:lnTo>
                    <a:pt x="86516" y="171727"/>
                  </a:lnTo>
                  <a:lnTo>
                    <a:pt x="88174" y="179214"/>
                  </a:lnTo>
                  <a:lnTo>
                    <a:pt x="93975" y="182719"/>
                  </a:lnTo>
                  <a:lnTo>
                    <a:pt x="100899" y="180757"/>
                  </a:lnTo>
                  <a:lnTo>
                    <a:pt x="107595" y="182681"/>
                  </a:lnTo>
                  <a:lnTo>
                    <a:pt x="114777" y="185548"/>
                  </a:lnTo>
                  <a:lnTo>
                    <a:pt x="120797" y="186082"/>
                  </a:lnTo>
                  <a:lnTo>
                    <a:pt x="129360" y="185396"/>
                  </a:lnTo>
                  <a:lnTo>
                    <a:pt x="135513" y="186977"/>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9" name="Freeform: Shape 58">
              <a:extLst>
                <a:ext uri="{FF2B5EF4-FFF2-40B4-BE49-F238E27FC236}">
                  <a16:creationId xmlns:a16="http://schemas.microsoft.com/office/drawing/2014/main" id="{6A52C1E5-FC4F-CC34-4B79-1DF7C0E47EEF}"/>
                </a:ext>
              </a:extLst>
            </p:cNvPr>
            <p:cNvSpPr/>
            <p:nvPr/>
          </p:nvSpPr>
          <p:spPr>
            <a:xfrm>
              <a:off x="6609454" y="1445800"/>
              <a:ext cx="888816" cy="692490"/>
            </a:xfrm>
            <a:custGeom>
              <a:avLst/>
              <a:gdLst>
                <a:gd name="connsiteX0" fmla="*/ 185386 w 311867"/>
                <a:gd name="connsiteY0" fmla="*/ 242717 h 242811"/>
                <a:gd name="connsiteX1" fmla="*/ 188482 w 311867"/>
                <a:gd name="connsiteY1" fmla="*/ 236888 h 242811"/>
                <a:gd name="connsiteX2" fmla="*/ 196121 w 311867"/>
                <a:gd name="connsiteY2" fmla="*/ 234183 h 242811"/>
                <a:gd name="connsiteX3" fmla="*/ 201588 w 311867"/>
                <a:gd name="connsiteY3" fmla="*/ 237517 h 242811"/>
                <a:gd name="connsiteX4" fmla="*/ 208799 w 311867"/>
                <a:gd name="connsiteY4" fmla="*/ 234088 h 242811"/>
                <a:gd name="connsiteX5" fmla="*/ 212713 w 311867"/>
                <a:gd name="connsiteY5" fmla="*/ 239631 h 242811"/>
                <a:gd name="connsiteX6" fmla="*/ 218876 w 311867"/>
                <a:gd name="connsiteY6" fmla="*/ 242279 h 242811"/>
                <a:gd name="connsiteX7" fmla="*/ 224124 w 311867"/>
                <a:gd name="connsiteY7" fmla="*/ 235592 h 242811"/>
                <a:gd name="connsiteX8" fmla="*/ 233259 w 311867"/>
                <a:gd name="connsiteY8" fmla="*/ 234507 h 242811"/>
                <a:gd name="connsiteX9" fmla="*/ 239307 w 311867"/>
                <a:gd name="connsiteY9" fmla="*/ 231487 h 242811"/>
                <a:gd name="connsiteX10" fmla="*/ 251356 w 311867"/>
                <a:gd name="connsiteY10" fmla="*/ 235421 h 242811"/>
                <a:gd name="connsiteX11" fmla="*/ 257233 w 311867"/>
                <a:gd name="connsiteY11" fmla="*/ 228716 h 242811"/>
                <a:gd name="connsiteX12" fmla="*/ 264777 w 311867"/>
                <a:gd name="connsiteY12" fmla="*/ 220705 h 242811"/>
                <a:gd name="connsiteX13" fmla="*/ 272606 w 311867"/>
                <a:gd name="connsiteY13" fmla="*/ 211971 h 242811"/>
                <a:gd name="connsiteX14" fmla="*/ 281065 w 311867"/>
                <a:gd name="connsiteY14" fmla="*/ 206332 h 242811"/>
                <a:gd name="connsiteX15" fmla="*/ 291837 w 311867"/>
                <a:gd name="connsiteY15" fmla="*/ 201084 h 242811"/>
                <a:gd name="connsiteX16" fmla="*/ 299905 w 311867"/>
                <a:gd name="connsiteY16" fmla="*/ 203160 h 242811"/>
                <a:gd name="connsiteX17" fmla="*/ 300781 w 311867"/>
                <a:gd name="connsiteY17" fmla="*/ 211399 h 242811"/>
                <a:gd name="connsiteX18" fmla="*/ 311602 w 311867"/>
                <a:gd name="connsiteY18" fmla="*/ 211352 h 242811"/>
                <a:gd name="connsiteX19" fmla="*/ 308325 w 311867"/>
                <a:gd name="connsiteY19" fmla="*/ 197988 h 242811"/>
                <a:gd name="connsiteX20" fmla="*/ 309297 w 311867"/>
                <a:gd name="connsiteY20" fmla="*/ 191892 h 242811"/>
                <a:gd name="connsiteX21" fmla="*/ 302886 w 311867"/>
                <a:gd name="connsiteY21" fmla="*/ 189653 h 242811"/>
                <a:gd name="connsiteX22" fmla="*/ 295714 w 311867"/>
                <a:gd name="connsiteY22" fmla="*/ 191482 h 242811"/>
                <a:gd name="connsiteX23" fmla="*/ 290837 w 311867"/>
                <a:gd name="connsiteY23" fmla="*/ 183424 h 242811"/>
                <a:gd name="connsiteX24" fmla="*/ 287494 w 311867"/>
                <a:gd name="connsiteY24" fmla="*/ 175880 h 242811"/>
                <a:gd name="connsiteX25" fmla="*/ 286513 w 311867"/>
                <a:gd name="connsiteY25" fmla="*/ 169546 h 242811"/>
                <a:gd name="connsiteX26" fmla="*/ 287237 w 311867"/>
                <a:gd name="connsiteY26" fmla="*/ 161917 h 242811"/>
                <a:gd name="connsiteX27" fmla="*/ 284436 w 311867"/>
                <a:gd name="connsiteY27" fmla="*/ 156373 h 242811"/>
                <a:gd name="connsiteX28" fmla="*/ 278159 w 311867"/>
                <a:gd name="connsiteY28" fmla="*/ 152468 h 242811"/>
                <a:gd name="connsiteX29" fmla="*/ 273835 w 311867"/>
                <a:gd name="connsiteY29" fmla="*/ 147515 h 242811"/>
                <a:gd name="connsiteX30" fmla="*/ 266853 w 311867"/>
                <a:gd name="connsiteY30" fmla="*/ 144105 h 242811"/>
                <a:gd name="connsiteX31" fmla="*/ 262281 w 311867"/>
                <a:gd name="connsiteY31" fmla="*/ 137923 h 242811"/>
                <a:gd name="connsiteX32" fmla="*/ 260033 w 311867"/>
                <a:gd name="connsiteY32" fmla="*/ 132094 h 242811"/>
                <a:gd name="connsiteX33" fmla="*/ 255585 w 311867"/>
                <a:gd name="connsiteY33" fmla="*/ 127998 h 242811"/>
                <a:gd name="connsiteX34" fmla="*/ 249775 w 311867"/>
                <a:gd name="connsiteY34" fmla="*/ 124826 h 242811"/>
                <a:gd name="connsiteX35" fmla="*/ 243117 w 311867"/>
                <a:gd name="connsiteY35" fmla="*/ 123664 h 242811"/>
                <a:gd name="connsiteX36" fmla="*/ 236850 w 311867"/>
                <a:gd name="connsiteY36" fmla="*/ 120997 h 242811"/>
                <a:gd name="connsiteX37" fmla="*/ 239736 w 311867"/>
                <a:gd name="connsiteY37" fmla="*/ 115787 h 242811"/>
                <a:gd name="connsiteX38" fmla="*/ 240850 w 311867"/>
                <a:gd name="connsiteY38" fmla="*/ 109262 h 242811"/>
                <a:gd name="connsiteX39" fmla="*/ 246384 w 311867"/>
                <a:gd name="connsiteY39" fmla="*/ 105662 h 242811"/>
                <a:gd name="connsiteX40" fmla="*/ 253318 w 311867"/>
                <a:gd name="connsiteY40" fmla="*/ 105138 h 242811"/>
                <a:gd name="connsiteX41" fmla="*/ 260615 w 311867"/>
                <a:gd name="connsiteY41" fmla="*/ 103519 h 242811"/>
                <a:gd name="connsiteX42" fmla="*/ 264634 w 311867"/>
                <a:gd name="connsiteY42" fmla="*/ 88831 h 242811"/>
                <a:gd name="connsiteX43" fmla="*/ 263415 w 311867"/>
                <a:gd name="connsiteY43" fmla="*/ 75868 h 242811"/>
                <a:gd name="connsiteX44" fmla="*/ 257890 w 311867"/>
                <a:gd name="connsiteY44" fmla="*/ 73163 h 242811"/>
                <a:gd name="connsiteX45" fmla="*/ 260491 w 311867"/>
                <a:gd name="connsiteY45" fmla="*/ 62009 h 242811"/>
                <a:gd name="connsiteX46" fmla="*/ 255338 w 311867"/>
                <a:gd name="connsiteY46" fmla="*/ 52665 h 242811"/>
                <a:gd name="connsiteX47" fmla="*/ 249441 w 311867"/>
                <a:gd name="connsiteY47" fmla="*/ 46102 h 242811"/>
                <a:gd name="connsiteX48" fmla="*/ 241136 w 311867"/>
                <a:gd name="connsiteY48" fmla="*/ 40397 h 242811"/>
                <a:gd name="connsiteX49" fmla="*/ 239507 w 311867"/>
                <a:gd name="connsiteY49" fmla="*/ 27290 h 242811"/>
                <a:gd name="connsiteX50" fmla="*/ 238745 w 311867"/>
                <a:gd name="connsiteY50" fmla="*/ 12651 h 242811"/>
                <a:gd name="connsiteX51" fmla="*/ 240040 w 311867"/>
                <a:gd name="connsiteY51" fmla="*/ 1687 h 242811"/>
                <a:gd name="connsiteX52" fmla="*/ 227124 w 311867"/>
                <a:gd name="connsiteY52" fmla="*/ -94 h 242811"/>
                <a:gd name="connsiteX53" fmla="*/ 227982 w 311867"/>
                <a:gd name="connsiteY53" fmla="*/ 6250 h 242811"/>
                <a:gd name="connsiteX54" fmla="*/ 211684 w 311867"/>
                <a:gd name="connsiteY54" fmla="*/ 7831 h 242811"/>
                <a:gd name="connsiteX55" fmla="*/ 219180 w 311867"/>
                <a:gd name="connsiteY55" fmla="*/ 14622 h 242811"/>
                <a:gd name="connsiteX56" fmla="*/ 219638 w 311867"/>
                <a:gd name="connsiteY56" fmla="*/ 29205 h 242811"/>
                <a:gd name="connsiteX57" fmla="*/ 214027 w 311867"/>
                <a:gd name="connsiteY57" fmla="*/ 41511 h 242811"/>
                <a:gd name="connsiteX58" fmla="*/ 206684 w 311867"/>
                <a:gd name="connsiteY58" fmla="*/ 51465 h 242811"/>
                <a:gd name="connsiteX59" fmla="*/ 195063 w 311867"/>
                <a:gd name="connsiteY59" fmla="*/ 67400 h 242811"/>
                <a:gd name="connsiteX60" fmla="*/ 182309 w 311867"/>
                <a:gd name="connsiteY60" fmla="*/ 68934 h 242811"/>
                <a:gd name="connsiteX61" fmla="*/ 174594 w 311867"/>
                <a:gd name="connsiteY61" fmla="*/ 63085 h 242811"/>
                <a:gd name="connsiteX62" fmla="*/ 161221 w 311867"/>
                <a:gd name="connsiteY62" fmla="*/ 53989 h 242811"/>
                <a:gd name="connsiteX63" fmla="*/ 149934 w 311867"/>
                <a:gd name="connsiteY63" fmla="*/ 59713 h 242811"/>
                <a:gd name="connsiteX64" fmla="*/ 150115 w 311867"/>
                <a:gd name="connsiteY64" fmla="*/ 68924 h 242811"/>
                <a:gd name="connsiteX65" fmla="*/ 138552 w 311867"/>
                <a:gd name="connsiteY65" fmla="*/ 69010 h 242811"/>
                <a:gd name="connsiteX66" fmla="*/ 132379 w 311867"/>
                <a:gd name="connsiteY66" fmla="*/ 75906 h 242811"/>
                <a:gd name="connsiteX67" fmla="*/ 115311 w 311867"/>
                <a:gd name="connsiteY67" fmla="*/ 80173 h 242811"/>
                <a:gd name="connsiteX68" fmla="*/ 109795 w 311867"/>
                <a:gd name="connsiteY68" fmla="*/ 72810 h 242811"/>
                <a:gd name="connsiteX69" fmla="*/ 93413 w 311867"/>
                <a:gd name="connsiteY69" fmla="*/ 72306 h 242811"/>
                <a:gd name="connsiteX70" fmla="*/ 80011 w 311867"/>
                <a:gd name="connsiteY70" fmla="*/ 76173 h 242811"/>
                <a:gd name="connsiteX71" fmla="*/ 71115 w 311867"/>
                <a:gd name="connsiteY71" fmla="*/ 73229 h 242811"/>
                <a:gd name="connsiteX72" fmla="*/ 67723 w 311867"/>
                <a:gd name="connsiteY72" fmla="*/ 64295 h 242811"/>
                <a:gd name="connsiteX73" fmla="*/ 63247 w 311867"/>
                <a:gd name="connsiteY73" fmla="*/ 58523 h 242811"/>
                <a:gd name="connsiteX74" fmla="*/ 60475 w 311867"/>
                <a:gd name="connsiteY74" fmla="*/ 51436 h 242811"/>
                <a:gd name="connsiteX75" fmla="*/ 54465 w 311867"/>
                <a:gd name="connsiteY75" fmla="*/ 50808 h 242811"/>
                <a:gd name="connsiteX76" fmla="*/ 48312 w 311867"/>
                <a:gd name="connsiteY76" fmla="*/ 50979 h 242811"/>
                <a:gd name="connsiteX77" fmla="*/ 41911 w 311867"/>
                <a:gd name="connsiteY77" fmla="*/ 53151 h 242811"/>
                <a:gd name="connsiteX78" fmla="*/ 39520 w 311867"/>
                <a:gd name="connsiteY78" fmla="*/ 59551 h 242811"/>
                <a:gd name="connsiteX79" fmla="*/ 32986 w 311867"/>
                <a:gd name="connsiteY79" fmla="*/ 67381 h 242811"/>
                <a:gd name="connsiteX80" fmla="*/ 26595 w 311867"/>
                <a:gd name="connsiteY80" fmla="*/ 67543 h 242811"/>
                <a:gd name="connsiteX81" fmla="*/ 18718 w 311867"/>
                <a:gd name="connsiteY81" fmla="*/ 68105 h 242811"/>
                <a:gd name="connsiteX82" fmla="*/ 5468 w 311867"/>
                <a:gd name="connsiteY82" fmla="*/ 71105 h 242811"/>
                <a:gd name="connsiteX83" fmla="*/ 4696 w 311867"/>
                <a:gd name="connsiteY83" fmla="*/ 78525 h 242811"/>
                <a:gd name="connsiteX84" fmla="*/ 2734 w 311867"/>
                <a:gd name="connsiteY84" fmla="*/ 84164 h 242811"/>
                <a:gd name="connsiteX85" fmla="*/ -266 w 311867"/>
                <a:gd name="connsiteY85" fmla="*/ 89708 h 242811"/>
                <a:gd name="connsiteX86" fmla="*/ 1325 w 311867"/>
                <a:gd name="connsiteY86" fmla="*/ 97575 h 242811"/>
                <a:gd name="connsiteX87" fmla="*/ 8850 w 311867"/>
                <a:gd name="connsiteY87" fmla="*/ 97299 h 242811"/>
                <a:gd name="connsiteX88" fmla="*/ 16517 w 311867"/>
                <a:gd name="connsiteY88" fmla="*/ 98480 h 242811"/>
                <a:gd name="connsiteX89" fmla="*/ 17203 w 311867"/>
                <a:gd name="connsiteY89" fmla="*/ 106329 h 242811"/>
                <a:gd name="connsiteX90" fmla="*/ 22375 w 311867"/>
                <a:gd name="connsiteY90" fmla="*/ 110634 h 242811"/>
                <a:gd name="connsiteX91" fmla="*/ 31986 w 311867"/>
                <a:gd name="connsiteY91" fmla="*/ 111882 h 242811"/>
                <a:gd name="connsiteX92" fmla="*/ 36063 w 311867"/>
                <a:gd name="connsiteY92" fmla="*/ 116444 h 242811"/>
                <a:gd name="connsiteX93" fmla="*/ 40539 w 311867"/>
                <a:gd name="connsiteY93" fmla="*/ 120369 h 242811"/>
                <a:gd name="connsiteX94" fmla="*/ 45749 w 311867"/>
                <a:gd name="connsiteY94" fmla="*/ 127160 h 242811"/>
                <a:gd name="connsiteX95" fmla="*/ 47083 w 311867"/>
                <a:gd name="connsiteY95" fmla="*/ 134027 h 242811"/>
                <a:gd name="connsiteX96" fmla="*/ 52008 w 311867"/>
                <a:gd name="connsiteY96" fmla="*/ 137542 h 242811"/>
                <a:gd name="connsiteX97" fmla="*/ 59246 w 311867"/>
                <a:gd name="connsiteY97" fmla="*/ 140962 h 242811"/>
                <a:gd name="connsiteX98" fmla="*/ 64609 w 311867"/>
                <a:gd name="connsiteY98" fmla="*/ 145172 h 242811"/>
                <a:gd name="connsiteX99" fmla="*/ 68095 w 311867"/>
                <a:gd name="connsiteY99" fmla="*/ 150753 h 242811"/>
                <a:gd name="connsiteX100" fmla="*/ 74077 w 311867"/>
                <a:gd name="connsiteY100" fmla="*/ 154878 h 242811"/>
                <a:gd name="connsiteX101" fmla="*/ 71419 w 311867"/>
                <a:gd name="connsiteY101" fmla="*/ 161469 h 242811"/>
                <a:gd name="connsiteX102" fmla="*/ 75639 w 311867"/>
                <a:gd name="connsiteY102" fmla="*/ 166955 h 242811"/>
                <a:gd name="connsiteX103" fmla="*/ 80373 w 311867"/>
                <a:gd name="connsiteY103" fmla="*/ 173013 h 242811"/>
                <a:gd name="connsiteX104" fmla="*/ 86878 w 311867"/>
                <a:gd name="connsiteY104" fmla="*/ 175633 h 242811"/>
                <a:gd name="connsiteX105" fmla="*/ 93060 w 311867"/>
                <a:gd name="connsiteY105" fmla="*/ 180005 h 242811"/>
                <a:gd name="connsiteX106" fmla="*/ 95051 w 311867"/>
                <a:gd name="connsiteY106" fmla="*/ 189644 h 242811"/>
                <a:gd name="connsiteX107" fmla="*/ 97832 w 311867"/>
                <a:gd name="connsiteY107" fmla="*/ 195178 h 242811"/>
                <a:gd name="connsiteX108" fmla="*/ 100709 w 311867"/>
                <a:gd name="connsiteY108" fmla="*/ 200760 h 242811"/>
                <a:gd name="connsiteX109" fmla="*/ 106071 w 311867"/>
                <a:gd name="connsiteY109" fmla="*/ 204160 h 242811"/>
                <a:gd name="connsiteX110" fmla="*/ 108967 w 311867"/>
                <a:gd name="connsiteY110" fmla="*/ 211590 h 242811"/>
                <a:gd name="connsiteX111" fmla="*/ 115453 w 311867"/>
                <a:gd name="connsiteY111" fmla="*/ 213237 h 242811"/>
                <a:gd name="connsiteX112" fmla="*/ 119444 w 311867"/>
                <a:gd name="connsiteY112" fmla="*/ 218791 h 242811"/>
                <a:gd name="connsiteX113" fmla="*/ 125826 w 311867"/>
                <a:gd name="connsiteY113" fmla="*/ 220334 h 242811"/>
                <a:gd name="connsiteX114" fmla="*/ 130922 w 311867"/>
                <a:gd name="connsiteY114" fmla="*/ 216581 h 242811"/>
                <a:gd name="connsiteX115" fmla="*/ 139571 w 311867"/>
                <a:gd name="connsiteY115" fmla="*/ 214771 h 242811"/>
                <a:gd name="connsiteX116" fmla="*/ 144523 w 311867"/>
                <a:gd name="connsiteY116" fmla="*/ 219076 h 242811"/>
                <a:gd name="connsiteX117" fmla="*/ 149800 w 311867"/>
                <a:gd name="connsiteY117" fmla="*/ 214647 h 242811"/>
                <a:gd name="connsiteX118" fmla="*/ 154515 w 311867"/>
                <a:gd name="connsiteY118" fmla="*/ 210237 h 242811"/>
                <a:gd name="connsiteX119" fmla="*/ 159011 w 311867"/>
                <a:gd name="connsiteY119" fmla="*/ 217362 h 242811"/>
                <a:gd name="connsiteX120" fmla="*/ 162945 w 311867"/>
                <a:gd name="connsiteY120" fmla="*/ 222296 h 242811"/>
                <a:gd name="connsiteX121" fmla="*/ 168041 w 311867"/>
                <a:gd name="connsiteY121" fmla="*/ 227172 h 242811"/>
                <a:gd name="connsiteX122" fmla="*/ 174289 w 311867"/>
                <a:gd name="connsiteY122" fmla="*/ 232268 h 242811"/>
                <a:gd name="connsiteX123" fmla="*/ 178099 w 311867"/>
                <a:gd name="connsiteY123" fmla="*/ 239088 h 242811"/>
                <a:gd name="connsiteX124" fmla="*/ 184148 w 311867"/>
                <a:gd name="connsiteY124" fmla="*/ 239622 h 24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311867" h="242811">
                  <a:moveTo>
                    <a:pt x="185386" y="242717"/>
                  </a:moveTo>
                  <a:lnTo>
                    <a:pt x="188482" y="236888"/>
                  </a:lnTo>
                  <a:lnTo>
                    <a:pt x="196121" y="234183"/>
                  </a:lnTo>
                  <a:lnTo>
                    <a:pt x="201588" y="237517"/>
                  </a:lnTo>
                  <a:lnTo>
                    <a:pt x="208799" y="234088"/>
                  </a:lnTo>
                  <a:lnTo>
                    <a:pt x="212713" y="239631"/>
                  </a:lnTo>
                  <a:lnTo>
                    <a:pt x="218876" y="242279"/>
                  </a:lnTo>
                  <a:lnTo>
                    <a:pt x="224124" y="235592"/>
                  </a:lnTo>
                  <a:lnTo>
                    <a:pt x="233259" y="234507"/>
                  </a:lnTo>
                  <a:lnTo>
                    <a:pt x="239307" y="231487"/>
                  </a:lnTo>
                  <a:lnTo>
                    <a:pt x="251356" y="235421"/>
                  </a:lnTo>
                  <a:lnTo>
                    <a:pt x="257233" y="228716"/>
                  </a:lnTo>
                  <a:lnTo>
                    <a:pt x="264777" y="220705"/>
                  </a:lnTo>
                  <a:lnTo>
                    <a:pt x="272606" y="211971"/>
                  </a:lnTo>
                  <a:lnTo>
                    <a:pt x="281065" y="206332"/>
                  </a:lnTo>
                  <a:lnTo>
                    <a:pt x="291837" y="201084"/>
                  </a:lnTo>
                  <a:lnTo>
                    <a:pt x="299905" y="203160"/>
                  </a:lnTo>
                  <a:lnTo>
                    <a:pt x="300781" y="211399"/>
                  </a:lnTo>
                  <a:lnTo>
                    <a:pt x="311602" y="211352"/>
                  </a:lnTo>
                  <a:lnTo>
                    <a:pt x="308325" y="197988"/>
                  </a:lnTo>
                  <a:lnTo>
                    <a:pt x="309297" y="191892"/>
                  </a:lnTo>
                  <a:lnTo>
                    <a:pt x="302886" y="189653"/>
                  </a:lnTo>
                  <a:lnTo>
                    <a:pt x="295714" y="191482"/>
                  </a:lnTo>
                  <a:lnTo>
                    <a:pt x="290837" y="183424"/>
                  </a:lnTo>
                  <a:lnTo>
                    <a:pt x="287494" y="175880"/>
                  </a:lnTo>
                  <a:lnTo>
                    <a:pt x="286513" y="169546"/>
                  </a:lnTo>
                  <a:lnTo>
                    <a:pt x="287237" y="161917"/>
                  </a:lnTo>
                  <a:lnTo>
                    <a:pt x="284436" y="156373"/>
                  </a:lnTo>
                  <a:lnTo>
                    <a:pt x="278159" y="152468"/>
                  </a:lnTo>
                  <a:lnTo>
                    <a:pt x="273835" y="147515"/>
                  </a:lnTo>
                  <a:lnTo>
                    <a:pt x="266853" y="144105"/>
                  </a:lnTo>
                  <a:lnTo>
                    <a:pt x="262281" y="137923"/>
                  </a:lnTo>
                  <a:lnTo>
                    <a:pt x="260033" y="132094"/>
                  </a:lnTo>
                  <a:lnTo>
                    <a:pt x="255585" y="127998"/>
                  </a:lnTo>
                  <a:lnTo>
                    <a:pt x="249775" y="124826"/>
                  </a:lnTo>
                  <a:lnTo>
                    <a:pt x="243117" y="123664"/>
                  </a:lnTo>
                  <a:lnTo>
                    <a:pt x="236850" y="120997"/>
                  </a:lnTo>
                  <a:lnTo>
                    <a:pt x="239736" y="115787"/>
                  </a:lnTo>
                  <a:lnTo>
                    <a:pt x="240850" y="109262"/>
                  </a:lnTo>
                  <a:lnTo>
                    <a:pt x="246384" y="105662"/>
                  </a:lnTo>
                  <a:lnTo>
                    <a:pt x="253318" y="105138"/>
                  </a:lnTo>
                  <a:lnTo>
                    <a:pt x="260615" y="103519"/>
                  </a:lnTo>
                  <a:lnTo>
                    <a:pt x="264634" y="88831"/>
                  </a:lnTo>
                  <a:lnTo>
                    <a:pt x="263415" y="75868"/>
                  </a:lnTo>
                  <a:lnTo>
                    <a:pt x="257890" y="73163"/>
                  </a:lnTo>
                  <a:lnTo>
                    <a:pt x="260491" y="62009"/>
                  </a:lnTo>
                  <a:lnTo>
                    <a:pt x="255338" y="52665"/>
                  </a:lnTo>
                  <a:lnTo>
                    <a:pt x="249441" y="46102"/>
                  </a:lnTo>
                  <a:lnTo>
                    <a:pt x="241136" y="40397"/>
                  </a:lnTo>
                  <a:lnTo>
                    <a:pt x="239507" y="27290"/>
                  </a:lnTo>
                  <a:lnTo>
                    <a:pt x="238745" y="12651"/>
                  </a:lnTo>
                  <a:lnTo>
                    <a:pt x="240040" y="1687"/>
                  </a:lnTo>
                  <a:lnTo>
                    <a:pt x="227124" y="-94"/>
                  </a:lnTo>
                  <a:lnTo>
                    <a:pt x="227982" y="6250"/>
                  </a:lnTo>
                  <a:lnTo>
                    <a:pt x="211684" y="7831"/>
                  </a:lnTo>
                  <a:lnTo>
                    <a:pt x="219180" y="14622"/>
                  </a:lnTo>
                  <a:lnTo>
                    <a:pt x="219638" y="29205"/>
                  </a:lnTo>
                  <a:lnTo>
                    <a:pt x="214027" y="41511"/>
                  </a:lnTo>
                  <a:lnTo>
                    <a:pt x="206684" y="51465"/>
                  </a:lnTo>
                  <a:lnTo>
                    <a:pt x="195063" y="67400"/>
                  </a:lnTo>
                  <a:lnTo>
                    <a:pt x="182309" y="68934"/>
                  </a:lnTo>
                  <a:lnTo>
                    <a:pt x="174594" y="63085"/>
                  </a:lnTo>
                  <a:lnTo>
                    <a:pt x="161221" y="53989"/>
                  </a:lnTo>
                  <a:lnTo>
                    <a:pt x="149934" y="59713"/>
                  </a:lnTo>
                  <a:lnTo>
                    <a:pt x="150115" y="68924"/>
                  </a:lnTo>
                  <a:lnTo>
                    <a:pt x="138552" y="69010"/>
                  </a:lnTo>
                  <a:lnTo>
                    <a:pt x="132379" y="75906"/>
                  </a:lnTo>
                  <a:lnTo>
                    <a:pt x="115311" y="80173"/>
                  </a:lnTo>
                  <a:lnTo>
                    <a:pt x="109795" y="72810"/>
                  </a:lnTo>
                  <a:lnTo>
                    <a:pt x="93413" y="72306"/>
                  </a:lnTo>
                  <a:lnTo>
                    <a:pt x="80011" y="76173"/>
                  </a:lnTo>
                  <a:lnTo>
                    <a:pt x="71115" y="73229"/>
                  </a:lnTo>
                  <a:lnTo>
                    <a:pt x="67723" y="64295"/>
                  </a:lnTo>
                  <a:lnTo>
                    <a:pt x="63247" y="58523"/>
                  </a:lnTo>
                  <a:lnTo>
                    <a:pt x="60475" y="51436"/>
                  </a:lnTo>
                  <a:lnTo>
                    <a:pt x="54465" y="50808"/>
                  </a:lnTo>
                  <a:lnTo>
                    <a:pt x="48312" y="50979"/>
                  </a:lnTo>
                  <a:lnTo>
                    <a:pt x="41911" y="53151"/>
                  </a:lnTo>
                  <a:lnTo>
                    <a:pt x="39520" y="59551"/>
                  </a:lnTo>
                  <a:lnTo>
                    <a:pt x="32986" y="67381"/>
                  </a:lnTo>
                  <a:lnTo>
                    <a:pt x="26595" y="67543"/>
                  </a:lnTo>
                  <a:lnTo>
                    <a:pt x="18718" y="68105"/>
                  </a:lnTo>
                  <a:lnTo>
                    <a:pt x="5468" y="71105"/>
                  </a:lnTo>
                  <a:lnTo>
                    <a:pt x="4696" y="78525"/>
                  </a:lnTo>
                  <a:lnTo>
                    <a:pt x="2734" y="84164"/>
                  </a:lnTo>
                  <a:lnTo>
                    <a:pt x="-266" y="89708"/>
                  </a:lnTo>
                  <a:lnTo>
                    <a:pt x="1325" y="97575"/>
                  </a:lnTo>
                  <a:lnTo>
                    <a:pt x="8850" y="97299"/>
                  </a:lnTo>
                  <a:lnTo>
                    <a:pt x="16517" y="98480"/>
                  </a:lnTo>
                  <a:lnTo>
                    <a:pt x="17203" y="106329"/>
                  </a:lnTo>
                  <a:lnTo>
                    <a:pt x="22375" y="110634"/>
                  </a:lnTo>
                  <a:lnTo>
                    <a:pt x="31986" y="111882"/>
                  </a:lnTo>
                  <a:lnTo>
                    <a:pt x="36063" y="116444"/>
                  </a:lnTo>
                  <a:lnTo>
                    <a:pt x="40539" y="120369"/>
                  </a:lnTo>
                  <a:lnTo>
                    <a:pt x="45749" y="127160"/>
                  </a:lnTo>
                  <a:lnTo>
                    <a:pt x="47083" y="134027"/>
                  </a:lnTo>
                  <a:lnTo>
                    <a:pt x="52008" y="137542"/>
                  </a:lnTo>
                  <a:lnTo>
                    <a:pt x="59246" y="140962"/>
                  </a:lnTo>
                  <a:lnTo>
                    <a:pt x="64609" y="145172"/>
                  </a:lnTo>
                  <a:lnTo>
                    <a:pt x="68095" y="150753"/>
                  </a:lnTo>
                  <a:lnTo>
                    <a:pt x="74077" y="154878"/>
                  </a:lnTo>
                  <a:lnTo>
                    <a:pt x="71419" y="161469"/>
                  </a:lnTo>
                  <a:lnTo>
                    <a:pt x="75639" y="166955"/>
                  </a:lnTo>
                  <a:lnTo>
                    <a:pt x="80373" y="173013"/>
                  </a:lnTo>
                  <a:lnTo>
                    <a:pt x="86878" y="175633"/>
                  </a:lnTo>
                  <a:lnTo>
                    <a:pt x="93060" y="180005"/>
                  </a:lnTo>
                  <a:lnTo>
                    <a:pt x="95051" y="189644"/>
                  </a:lnTo>
                  <a:lnTo>
                    <a:pt x="97832" y="195178"/>
                  </a:lnTo>
                  <a:lnTo>
                    <a:pt x="100709" y="200760"/>
                  </a:lnTo>
                  <a:lnTo>
                    <a:pt x="106071" y="204160"/>
                  </a:lnTo>
                  <a:lnTo>
                    <a:pt x="108967" y="211590"/>
                  </a:lnTo>
                  <a:lnTo>
                    <a:pt x="115453" y="213237"/>
                  </a:lnTo>
                  <a:lnTo>
                    <a:pt x="119444" y="218791"/>
                  </a:lnTo>
                  <a:lnTo>
                    <a:pt x="125826" y="220334"/>
                  </a:lnTo>
                  <a:lnTo>
                    <a:pt x="130922" y="216581"/>
                  </a:lnTo>
                  <a:lnTo>
                    <a:pt x="139571" y="214771"/>
                  </a:lnTo>
                  <a:lnTo>
                    <a:pt x="144523" y="219076"/>
                  </a:lnTo>
                  <a:lnTo>
                    <a:pt x="149800" y="214647"/>
                  </a:lnTo>
                  <a:lnTo>
                    <a:pt x="154515" y="210237"/>
                  </a:lnTo>
                  <a:lnTo>
                    <a:pt x="159011" y="217362"/>
                  </a:lnTo>
                  <a:lnTo>
                    <a:pt x="162945" y="222296"/>
                  </a:lnTo>
                  <a:lnTo>
                    <a:pt x="168041" y="227172"/>
                  </a:lnTo>
                  <a:lnTo>
                    <a:pt x="174289" y="232268"/>
                  </a:lnTo>
                  <a:lnTo>
                    <a:pt x="178099" y="239088"/>
                  </a:lnTo>
                  <a:lnTo>
                    <a:pt x="184148" y="239622"/>
                  </a:lnTo>
                  <a:close/>
                </a:path>
              </a:pathLst>
            </a:custGeom>
            <a:solidFill>
              <a:srgbClr val="FFC00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60" name="Freeform: Shape 59">
              <a:extLst>
                <a:ext uri="{FF2B5EF4-FFF2-40B4-BE49-F238E27FC236}">
                  <a16:creationId xmlns:a16="http://schemas.microsoft.com/office/drawing/2014/main" id="{03B5FD1B-770A-2FD6-9593-02C1F7D60D8B}"/>
                </a:ext>
              </a:extLst>
            </p:cNvPr>
            <p:cNvSpPr/>
            <p:nvPr/>
          </p:nvSpPr>
          <p:spPr>
            <a:xfrm>
              <a:off x="5007859" y="1433793"/>
              <a:ext cx="213638" cy="487094"/>
            </a:xfrm>
            <a:custGeom>
              <a:avLst/>
              <a:gdLst>
                <a:gd name="connsiteX0" fmla="*/ 20936 w 74961"/>
                <a:gd name="connsiteY0" fmla="*/ 170699 h 170792"/>
                <a:gd name="connsiteX1" fmla="*/ 33271 w 74961"/>
                <a:gd name="connsiteY1" fmla="*/ 168117 h 170792"/>
                <a:gd name="connsiteX2" fmla="*/ 40787 w 74961"/>
                <a:gd name="connsiteY2" fmla="*/ 167813 h 170792"/>
                <a:gd name="connsiteX3" fmla="*/ 47692 w 74961"/>
                <a:gd name="connsiteY3" fmla="*/ 166812 h 170792"/>
                <a:gd name="connsiteX4" fmla="*/ 48454 w 74961"/>
                <a:gd name="connsiteY4" fmla="*/ 160574 h 170792"/>
                <a:gd name="connsiteX5" fmla="*/ 48540 w 74961"/>
                <a:gd name="connsiteY5" fmla="*/ 151506 h 170792"/>
                <a:gd name="connsiteX6" fmla="*/ 48911 w 74961"/>
                <a:gd name="connsiteY6" fmla="*/ 142486 h 170792"/>
                <a:gd name="connsiteX7" fmla="*/ 49854 w 74961"/>
                <a:gd name="connsiteY7" fmla="*/ 136151 h 170792"/>
                <a:gd name="connsiteX8" fmla="*/ 48292 w 74961"/>
                <a:gd name="connsiteY8" fmla="*/ 128189 h 170792"/>
                <a:gd name="connsiteX9" fmla="*/ 47787 w 74961"/>
                <a:gd name="connsiteY9" fmla="*/ 121721 h 170792"/>
                <a:gd name="connsiteX10" fmla="*/ 48750 w 74961"/>
                <a:gd name="connsiteY10" fmla="*/ 115682 h 170792"/>
                <a:gd name="connsiteX11" fmla="*/ 47844 w 74961"/>
                <a:gd name="connsiteY11" fmla="*/ 109567 h 170792"/>
                <a:gd name="connsiteX12" fmla="*/ 48797 w 74961"/>
                <a:gd name="connsiteY12" fmla="*/ 103538 h 170792"/>
                <a:gd name="connsiteX13" fmla="*/ 48750 w 74961"/>
                <a:gd name="connsiteY13" fmla="*/ 97547 h 170792"/>
                <a:gd name="connsiteX14" fmla="*/ 51864 w 74961"/>
                <a:gd name="connsiteY14" fmla="*/ 92165 h 170792"/>
                <a:gd name="connsiteX15" fmla="*/ 57903 w 74961"/>
                <a:gd name="connsiteY15" fmla="*/ 88431 h 170792"/>
                <a:gd name="connsiteX16" fmla="*/ 58122 w 74961"/>
                <a:gd name="connsiteY16" fmla="*/ 81707 h 170792"/>
                <a:gd name="connsiteX17" fmla="*/ 61056 w 74961"/>
                <a:gd name="connsiteY17" fmla="*/ 76430 h 170792"/>
                <a:gd name="connsiteX18" fmla="*/ 63532 w 74961"/>
                <a:gd name="connsiteY18" fmla="*/ 70981 h 170792"/>
                <a:gd name="connsiteX19" fmla="*/ 69609 w 74961"/>
                <a:gd name="connsiteY19" fmla="*/ 67381 h 170792"/>
                <a:gd name="connsiteX20" fmla="*/ 71600 w 74961"/>
                <a:gd name="connsiteY20" fmla="*/ 61285 h 170792"/>
                <a:gd name="connsiteX21" fmla="*/ 69905 w 74961"/>
                <a:gd name="connsiteY21" fmla="*/ 55570 h 170792"/>
                <a:gd name="connsiteX22" fmla="*/ 74696 w 74961"/>
                <a:gd name="connsiteY22" fmla="*/ 51922 h 170792"/>
                <a:gd name="connsiteX23" fmla="*/ 74048 w 74961"/>
                <a:gd name="connsiteY23" fmla="*/ 45788 h 170792"/>
                <a:gd name="connsiteX24" fmla="*/ 73419 w 74961"/>
                <a:gd name="connsiteY24" fmla="*/ 38434 h 170792"/>
                <a:gd name="connsiteX25" fmla="*/ 69790 w 74961"/>
                <a:gd name="connsiteY25" fmla="*/ 31500 h 170792"/>
                <a:gd name="connsiteX26" fmla="*/ 66457 w 74961"/>
                <a:gd name="connsiteY26" fmla="*/ 26281 h 170792"/>
                <a:gd name="connsiteX27" fmla="*/ 68914 w 74961"/>
                <a:gd name="connsiteY27" fmla="*/ 19880 h 170792"/>
                <a:gd name="connsiteX28" fmla="*/ 65675 w 74961"/>
                <a:gd name="connsiteY28" fmla="*/ 14593 h 170792"/>
                <a:gd name="connsiteX29" fmla="*/ 60980 w 74961"/>
                <a:gd name="connsiteY29" fmla="*/ 10698 h 170792"/>
                <a:gd name="connsiteX30" fmla="*/ 56503 w 74961"/>
                <a:gd name="connsiteY30" fmla="*/ 5678 h 170792"/>
                <a:gd name="connsiteX31" fmla="*/ 51445 w 74961"/>
                <a:gd name="connsiteY31" fmla="*/ -94 h 170792"/>
                <a:gd name="connsiteX32" fmla="*/ 45435 w 74961"/>
                <a:gd name="connsiteY32" fmla="*/ 2478 h 170792"/>
                <a:gd name="connsiteX33" fmla="*/ 39358 w 74961"/>
                <a:gd name="connsiteY33" fmla="*/ 3697 h 170792"/>
                <a:gd name="connsiteX34" fmla="*/ 40577 w 74961"/>
                <a:gd name="connsiteY34" fmla="*/ 9659 h 170792"/>
                <a:gd name="connsiteX35" fmla="*/ 39053 w 74961"/>
                <a:gd name="connsiteY35" fmla="*/ 15746 h 170792"/>
                <a:gd name="connsiteX36" fmla="*/ 35157 w 74961"/>
                <a:gd name="connsiteY36" fmla="*/ 21680 h 170792"/>
                <a:gd name="connsiteX37" fmla="*/ 30633 w 74961"/>
                <a:gd name="connsiteY37" fmla="*/ 26347 h 170792"/>
                <a:gd name="connsiteX38" fmla="*/ 24642 w 74961"/>
                <a:gd name="connsiteY38" fmla="*/ 26528 h 170792"/>
                <a:gd name="connsiteX39" fmla="*/ 18346 w 74961"/>
                <a:gd name="connsiteY39" fmla="*/ 25909 h 170792"/>
                <a:gd name="connsiteX40" fmla="*/ 13935 w 74961"/>
                <a:gd name="connsiteY40" fmla="*/ 29910 h 170792"/>
                <a:gd name="connsiteX41" fmla="*/ 9068 w 74961"/>
                <a:gd name="connsiteY41" fmla="*/ 33500 h 170792"/>
                <a:gd name="connsiteX42" fmla="*/ 3887 w 74961"/>
                <a:gd name="connsiteY42" fmla="*/ 37473 h 170792"/>
                <a:gd name="connsiteX43" fmla="*/ 2305 w 74961"/>
                <a:gd name="connsiteY43" fmla="*/ 43730 h 170792"/>
                <a:gd name="connsiteX44" fmla="*/ 486 w 74961"/>
                <a:gd name="connsiteY44" fmla="*/ 49522 h 170792"/>
                <a:gd name="connsiteX45" fmla="*/ -266 w 74961"/>
                <a:gd name="connsiteY45" fmla="*/ 55742 h 170792"/>
                <a:gd name="connsiteX46" fmla="*/ 7697 w 74961"/>
                <a:gd name="connsiteY46" fmla="*/ 62037 h 170792"/>
                <a:gd name="connsiteX47" fmla="*/ 13735 w 74961"/>
                <a:gd name="connsiteY47" fmla="*/ 66086 h 170792"/>
                <a:gd name="connsiteX48" fmla="*/ 14269 w 74961"/>
                <a:gd name="connsiteY48" fmla="*/ 72629 h 170792"/>
                <a:gd name="connsiteX49" fmla="*/ 13640 w 74961"/>
                <a:gd name="connsiteY49" fmla="*/ 78897 h 170792"/>
                <a:gd name="connsiteX50" fmla="*/ 15974 w 74961"/>
                <a:gd name="connsiteY50" fmla="*/ 85583 h 170792"/>
                <a:gd name="connsiteX51" fmla="*/ 20308 w 74961"/>
                <a:gd name="connsiteY51" fmla="*/ 91184 h 170792"/>
                <a:gd name="connsiteX52" fmla="*/ 20851 w 74961"/>
                <a:gd name="connsiteY52" fmla="*/ 97251 h 170792"/>
                <a:gd name="connsiteX53" fmla="*/ 20775 w 74961"/>
                <a:gd name="connsiteY53" fmla="*/ 106500 h 170792"/>
                <a:gd name="connsiteX54" fmla="*/ 21118 w 74961"/>
                <a:gd name="connsiteY54" fmla="*/ 121331 h 170792"/>
                <a:gd name="connsiteX55" fmla="*/ 21165 w 74961"/>
                <a:gd name="connsiteY55" fmla="*/ 129084 h 170792"/>
                <a:gd name="connsiteX56" fmla="*/ 21279 w 74961"/>
                <a:gd name="connsiteY56" fmla="*/ 137666 h 170792"/>
                <a:gd name="connsiteX57" fmla="*/ 21298 w 74961"/>
                <a:gd name="connsiteY57" fmla="*/ 143724 h 170792"/>
                <a:gd name="connsiteX58" fmla="*/ 19193 w 74961"/>
                <a:gd name="connsiteY58" fmla="*/ 149544 h 170792"/>
                <a:gd name="connsiteX59" fmla="*/ 20422 w 74961"/>
                <a:gd name="connsiteY59" fmla="*/ 155801 h 170792"/>
                <a:gd name="connsiteX60" fmla="*/ 21984 w 74961"/>
                <a:gd name="connsiteY60" fmla="*/ 161802 h 170792"/>
                <a:gd name="connsiteX61" fmla="*/ 24861 w 74961"/>
                <a:gd name="connsiteY61" fmla="*/ 167498 h 17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61" h="170792">
                  <a:moveTo>
                    <a:pt x="20936" y="170699"/>
                  </a:moveTo>
                  <a:lnTo>
                    <a:pt x="33271" y="168117"/>
                  </a:lnTo>
                  <a:lnTo>
                    <a:pt x="40787" y="167813"/>
                  </a:lnTo>
                  <a:lnTo>
                    <a:pt x="47692" y="166812"/>
                  </a:lnTo>
                  <a:lnTo>
                    <a:pt x="48454" y="160574"/>
                  </a:lnTo>
                  <a:lnTo>
                    <a:pt x="48540" y="151506"/>
                  </a:lnTo>
                  <a:lnTo>
                    <a:pt x="48911" y="142486"/>
                  </a:lnTo>
                  <a:lnTo>
                    <a:pt x="49854" y="136151"/>
                  </a:lnTo>
                  <a:lnTo>
                    <a:pt x="48292" y="128189"/>
                  </a:lnTo>
                  <a:lnTo>
                    <a:pt x="47787" y="121721"/>
                  </a:lnTo>
                  <a:lnTo>
                    <a:pt x="48750" y="115682"/>
                  </a:lnTo>
                  <a:lnTo>
                    <a:pt x="47844" y="109567"/>
                  </a:lnTo>
                  <a:lnTo>
                    <a:pt x="48797" y="103538"/>
                  </a:lnTo>
                  <a:lnTo>
                    <a:pt x="48750" y="97547"/>
                  </a:lnTo>
                  <a:lnTo>
                    <a:pt x="51864" y="92165"/>
                  </a:lnTo>
                  <a:lnTo>
                    <a:pt x="57903" y="88431"/>
                  </a:lnTo>
                  <a:lnTo>
                    <a:pt x="58122" y="81707"/>
                  </a:lnTo>
                  <a:lnTo>
                    <a:pt x="61056" y="76430"/>
                  </a:lnTo>
                  <a:lnTo>
                    <a:pt x="63532" y="70981"/>
                  </a:lnTo>
                  <a:lnTo>
                    <a:pt x="69609" y="67381"/>
                  </a:lnTo>
                  <a:lnTo>
                    <a:pt x="71600" y="61285"/>
                  </a:lnTo>
                  <a:lnTo>
                    <a:pt x="69905" y="55570"/>
                  </a:lnTo>
                  <a:lnTo>
                    <a:pt x="74696" y="51922"/>
                  </a:lnTo>
                  <a:lnTo>
                    <a:pt x="74048" y="45788"/>
                  </a:lnTo>
                  <a:lnTo>
                    <a:pt x="73419" y="38434"/>
                  </a:lnTo>
                  <a:lnTo>
                    <a:pt x="69790" y="31500"/>
                  </a:lnTo>
                  <a:lnTo>
                    <a:pt x="66457" y="26281"/>
                  </a:lnTo>
                  <a:lnTo>
                    <a:pt x="68914" y="19880"/>
                  </a:lnTo>
                  <a:lnTo>
                    <a:pt x="65675" y="14593"/>
                  </a:lnTo>
                  <a:lnTo>
                    <a:pt x="60980" y="10698"/>
                  </a:lnTo>
                  <a:lnTo>
                    <a:pt x="56503" y="5678"/>
                  </a:lnTo>
                  <a:lnTo>
                    <a:pt x="51445" y="-94"/>
                  </a:lnTo>
                  <a:lnTo>
                    <a:pt x="45435" y="2478"/>
                  </a:lnTo>
                  <a:lnTo>
                    <a:pt x="39358" y="3697"/>
                  </a:lnTo>
                  <a:lnTo>
                    <a:pt x="40577" y="9659"/>
                  </a:lnTo>
                  <a:lnTo>
                    <a:pt x="39053" y="15746"/>
                  </a:lnTo>
                  <a:lnTo>
                    <a:pt x="35157" y="21680"/>
                  </a:lnTo>
                  <a:lnTo>
                    <a:pt x="30633" y="26347"/>
                  </a:lnTo>
                  <a:lnTo>
                    <a:pt x="24642" y="26528"/>
                  </a:lnTo>
                  <a:lnTo>
                    <a:pt x="18346" y="25909"/>
                  </a:lnTo>
                  <a:lnTo>
                    <a:pt x="13935" y="29910"/>
                  </a:lnTo>
                  <a:lnTo>
                    <a:pt x="9068" y="33500"/>
                  </a:lnTo>
                  <a:lnTo>
                    <a:pt x="3887" y="37473"/>
                  </a:lnTo>
                  <a:lnTo>
                    <a:pt x="2305" y="43730"/>
                  </a:lnTo>
                  <a:lnTo>
                    <a:pt x="486" y="49522"/>
                  </a:lnTo>
                  <a:lnTo>
                    <a:pt x="-266" y="55742"/>
                  </a:lnTo>
                  <a:lnTo>
                    <a:pt x="7697" y="62037"/>
                  </a:lnTo>
                  <a:lnTo>
                    <a:pt x="13735" y="66086"/>
                  </a:lnTo>
                  <a:lnTo>
                    <a:pt x="14269" y="72629"/>
                  </a:lnTo>
                  <a:lnTo>
                    <a:pt x="13640" y="78897"/>
                  </a:lnTo>
                  <a:lnTo>
                    <a:pt x="15974" y="85583"/>
                  </a:lnTo>
                  <a:lnTo>
                    <a:pt x="20308" y="91184"/>
                  </a:lnTo>
                  <a:lnTo>
                    <a:pt x="20851" y="97251"/>
                  </a:lnTo>
                  <a:lnTo>
                    <a:pt x="20775" y="106500"/>
                  </a:lnTo>
                  <a:lnTo>
                    <a:pt x="21118" y="121331"/>
                  </a:lnTo>
                  <a:lnTo>
                    <a:pt x="21165" y="129084"/>
                  </a:lnTo>
                  <a:lnTo>
                    <a:pt x="21279" y="137666"/>
                  </a:lnTo>
                  <a:lnTo>
                    <a:pt x="21298" y="143724"/>
                  </a:lnTo>
                  <a:lnTo>
                    <a:pt x="19193" y="149544"/>
                  </a:lnTo>
                  <a:lnTo>
                    <a:pt x="20422" y="155801"/>
                  </a:lnTo>
                  <a:lnTo>
                    <a:pt x="21984" y="161802"/>
                  </a:lnTo>
                  <a:lnTo>
                    <a:pt x="24861" y="167498"/>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61" name="Freeform: Shape 60">
              <a:extLst>
                <a:ext uri="{FF2B5EF4-FFF2-40B4-BE49-F238E27FC236}">
                  <a16:creationId xmlns:a16="http://schemas.microsoft.com/office/drawing/2014/main" id="{B3200164-54E6-86AC-78A7-333417CF12CC}"/>
                </a:ext>
              </a:extLst>
            </p:cNvPr>
            <p:cNvSpPr/>
            <p:nvPr/>
          </p:nvSpPr>
          <p:spPr>
            <a:xfrm>
              <a:off x="7007850" y="2597351"/>
              <a:ext cx="129620" cy="170947"/>
            </a:xfrm>
            <a:custGeom>
              <a:avLst/>
              <a:gdLst>
                <a:gd name="connsiteX0" fmla="*/ 18041 w 45481"/>
                <a:gd name="connsiteY0" fmla="*/ 59847 h 59940"/>
                <a:gd name="connsiteX1" fmla="*/ 23156 w 45481"/>
                <a:gd name="connsiteY1" fmla="*/ 55942 h 59940"/>
                <a:gd name="connsiteX2" fmla="*/ 27014 w 45481"/>
                <a:gd name="connsiteY2" fmla="*/ 51008 h 59940"/>
                <a:gd name="connsiteX3" fmla="*/ 30214 w 45481"/>
                <a:gd name="connsiteY3" fmla="*/ 44683 h 59940"/>
                <a:gd name="connsiteX4" fmla="*/ 34481 w 45481"/>
                <a:gd name="connsiteY4" fmla="*/ 40302 h 59940"/>
                <a:gd name="connsiteX5" fmla="*/ 36053 w 45481"/>
                <a:gd name="connsiteY5" fmla="*/ 34044 h 59940"/>
                <a:gd name="connsiteX6" fmla="*/ 41215 w 45481"/>
                <a:gd name="connsiteY6" fmla="*/ 30177 h 59940"/>
                <a:gd name="connsiteX7" fmla="*/ 44635 w 45481"/>
                <a:gd name="connsiteY7" fmla="*/ 25271 h 59940"/>
                <a:gd name="connsiteX8" fmla="*/ 45216 w 45481"/>
                <a:gd name="connsiteY8" fmla="*/ 19089 h 59940"/>
                <a:gd name="connsiteX9" fmla="*/ 39358 w 45481"/>
                <a:gd name="connsiteY9" fmla="*/ 16918 h 59940"/>
                <a:gd name="connsiteX10" fmla="*/ 35367 w 45481"/>
                <a:gd name="connsiteY10" fmla="*/ 12327 h 59940"/>
                <a:gd name="connsiteX11" fmla="*/ 36605 w 45481"/>
                <a:gd name="connsiteY11" fmla="*/ 5907 h 59940"/>
                <a:gd name="connsiteX12" fmla="*/ 34767 w 45481"/>
                <a:gd name="connsiteY12" fmla="*/ -94 h 59940"/>
                <a:gd name="connsiteX13" fmla="*/ 29118 w 45481"/>
                <a:gd name="connsiteY13" fmla="*/ 3211 h 59940"/>
                <a:gd name="connsiteX14" fmla="*/ 23584 w 45481"/>
                <a:gd name="connsiteY14" fmla="*/ 392 h 59940"/>
                <a:gd name="connsiteX15" fmla="*/ 22584 w 45481"/>
                <a:gd name="connsiteY15" fmla="*/ 6764 h 59940"/>
                <a:gd name="connsiteX16" fmla="*/ 20518 w 45481"/>
                <a:gd name="connsiteY16" fmla="*/ 12622 h 59940"/>
                <a:gd name="connsiteX17" fmla="*/ 14288 w 45481"/>
                <a:gd name="connsiteY17" fmla="*/ 13594 h 59940"/>
                <a:gd name="connsiteX18" fmla="*/ 8382 w 45481"/>
                <a:gd name="connsiteY18" fmla="*/ 12641 h 59940"/>
                <a:gd name="connsiteX19" fmla="*/ 4344 w 45481"/>
                <a:gd name="connsiteY19" fmla="*/ 8250 h 59940"/>
                <a:gd name="connsiteX20" fmla="*/ -266 w 45481"/>
                <a:gd name="connsiteY20" fmla="*/ 12974 h 59940"/>
                <a:gd name="connsiteX21" fmla="*/ 3554 w 45481"/>
                <a:gd name="connsiteY21" fmla="*/ 17689 h 59940"/>
                <a:gd name="connsiteX22" fmla="*/ 5249 w 45481"/>
                <a:gd name="connsiteY22" fmla="*/ 23500 h 59940"/>
                <a:gd name="connsiteX23" fmla="*/ 5601 w 45481"/>
                <a:gd name="connsiteY23" fmla="*/ 33377 h 59940"/>
                <a:gd name="connsiteX24" fmla="*/ 5296 w 45481"/>
                <a:gd name="connsiteY24" fmla="*/ 40788 h 59940"/>
                <a:gd name="connsiteX25" fmla="*/ 7402 w 45481"/>
                <a:gd name="connsiteY25" fmla="*/ 46798 h 59940"/>
                <a:gd name="connsiteX26" fmla="*/ 9602 w 45481"/>
                <a:gd name="connsiteY26" fmla="*/ 52894 h 59940"/>
                <a:gd name="connsiteX27" fmla="*/ 10145 w 45481"/>
                <a:gd name="connsiteY27" fmla="*/ 59285 h 59940"/>
                <a:gd name="connsiteX28" fmla="*/ 16936 w 45481"/>
                <a:gd name="connsiteY28" fmla="*/ 59656 h 5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481" h="59940">
                  <a:moveTo>
                    <a:pt x="18041" y="59847"/>
                  </a:moveTo>
                  <a:lnTo>
                    <a:pt x="23156" y="55942"/>
                  </a:lnTo>
                  <a:lnTo>
                    <a:pt x="27014" y="51008"/>
                  </a:lnTo>
                  <a:lnTo>
                    <a:pt x="30214" y="44683"/>
                  </a:lnTo>
                  <a:lnTo>
                    <a:pt x="34481" y="40302"/>
                  </a:lnTo>
                  <a:lnTo>
                    <a:pt x="36053" y="34044"/>
                  </a:lnTo>
                  <a:lnTo>
                    <a:pt x="41215" y="30177"/>
                  </a:lnTo>
                  <a:lnTo>
                    <a:pt x="44635" y="25271"/>
                  </a:lnTo>
                  <a:lnTo>
                    <a:pt x="45216" y="19089"/>
                  </a:lnTo>
                  <a:lnTo>
                    <a:pt x="39358" y="16918"/>
                  </a:lnTo>
                  <a:lnTo>
                    <a:pt x="35367" y="12327"/>
                  </a:lnTo>
                  <a:lnTo>
                    <a:pt x="36605" y="5907"/>
                  </a:lnTo>
                  <a:lnTo>
                    <a:pt x="34767" y="-94"/>
                  </a:lnTo>
                  <a:lnTo>
                    <a:pt x="29118" y="3211"/>
                  </a:lnTo>
                  <a:lnTo>
                    <a:pt x="23584" y="392"/>
                  </a:lnTo>
                  <a:lnTo>
                    <a:pt x="22584" y="6764"/>
                  </a:lnTo>
                  <a:lnTo>
                    <a:pt x="20518" y="12622"/>
                  </a:lnTo>
                  <a:lnTo>
                    <a:pt x="14288" y="13594"/>
                  </a:lnTo>
                  <a:lnTo>
                    <a:pt x="8382" y="12641"/>
                  </a:lnTo>
                  <a:lnTo>
                    <a:pt x="4344" y="8250"/>
                  </a:lnTo>
                  <a:lnTo>
                    <a:pt x="-266" y="12974"/>
                  </a:lnTo>
                  <a:lnTo>
                    <a:pt x="3554" y="17689"/>
                  </a:lnTo>
                  <a:lnTo>
                    <a:pt x="5249" y="23500"/>
                  </a:lnTo>
                  <a:lnTo>
                    <a:pt x="5601" y="33377"/>
                  </a:lnTo>
                  <a:lnTo>
                    <a:pt x="5296" y="40788"/>
                  </a:lnTo>
                  <a:lnTo>
                    <a:pt x="7402" y="46798"/>
                  </a:lnTo>
                  <a:lnTo>
                    <a:pt x="9602" y="52894"/>
                  </a:lnTo>
                  <a:lnTo>
                    <a:pt x="10145" y="59285"/>
                  </a:lnTo>
                  <a:lnTo>
                    <a:pt x="16936" y="59656"/>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62" name="Freeform: Shape 61">
              <a:extLst>
                <a:ext uri="{FF2B5EF4-FFF2-40B4-BE49-F238E27FC236}">
                  <a16:creationId xmlns:a16="http://schemas.microsoft.com/office/drawing/2014/main" id="{B79E57B2-692C-E048-01C9-1664A8D81B54}"/>
                </a:ext>
              </a:extLst>
            </p:cNvPr>
            <p:cNvSpPr/>
            <p:nvPr/>
          </p:nvSpPr>
          <p:spPr>
            <a:xfrm>
              <a:off x="4358770" y="-521139"/>
              <a:ext cx="1424271" cy="1434013"/>
            </a:xfrm>
            <a:custGeom>
              <a:avLst/>
              <a:gdLst>
                <a:gd name="connsiteX0" fmla="*/ 290437 w 499747"/>
                <a:gd name="connsiteY0" fmla="*/ 502721 h 502815"/>
                <a:gd name="connsiteX1" fmla="*/ 314354 w 499747"/>
                <a:gd name="connsiteY1" fmla="*/ 497683 h 502815"/>
                <a:gd name="connsiteX2" fmla="*/ 350397 w 499747"/>
                <a:gd name="connsiteY2" fmla="*/ 489510 h 502815"/>
                <a:gd name="connsiteX3" fmla="*/ 354683 w 499747"/>
                <a:gd name="connsiteY3" fmla="*/ 485195 h 502815"/>
                <a:gd name="connsiteX4" fmla="*/ 365561 w 499747"/>
                <a:gd name="connsiteY4" fmla="*/ 474765 h 502815"/>
                <a:gd name="connsiteX5" fmla="*/ 371418 w 499747"/>
                <a:gd name="connsiteY5" fmla="*/ 468917 h 502815"/>
                <a:gd name="connsiteX6" fmla="*/ 388925 w 499747"/>
                <a:gd name="connsiteY6" fmla="*/ 451991 h 502815"/>
                <a:gd name="connsiteX7" fmla="*/ 394764 w 499747"/>
                <a:gd name="connsiteY7" fmla="*/ 447553 h 502815"/>
                <a:gd name="connsiteX8" fmla="*/ 413872 w 499747"/>
                <a:gd name="connsiteY8" fmla="*/ 434075 h 502815"/>
                <a:gd name="connsiteX9" fmla="*/ 443542 w 499747"/>
                <a:gd name="connsiteY9" fmla="*/ 414120 h 502815"/>
                <a:gd name="connsiteX10" fmla="*/ 457419 w 499747"/>
                <a:gd name="connsiteY10" fmla="*/ 404690 h 502815"/>
                <a:gd name="connsiteX11" fmla="*/ 468907 w 499747"/>
                <a:gd name="connsiteY11" fmla="*/ 397061 h 502815"/>
                <a:gd name="connsiteX12" fmla="*/ 478032 w 499747"/>
                <a:gd name="connsiteY12" fmla="*/ 390831 h 502815"/>
                <a:gd name="connsiteX13" fmla="*/ 499482 w 499747"/>
                <a:gd name="connsiteY13" fmla="*/ 376448 h 502815"/>
                <a:gd name="connsiteX14" fmla="*/ 489548 w 499747"/>
                <a:gd name="connsiteY14" fmla="*/ 355703 h 502815"/>
                <a:gd name="connsiteX15" fmla="*/ 480937 w 499747"/>
                <a:gd name="connsiteY15" fmla="*/ 354274 h 502815"/>
                <a:gd name="connsiteX16" fmla="*/ 471050 w 499747"/>
                <a:gd name="connsiteY16" fmla="*/ 347254 h 502815"/>
                <a:gd name="connsiteX17" fmla="*/ 460525 w 499747"/>
                <a:gd name="connsiteY17" fmla="*/ 348283 h 502815"/>
                <a:gd name="connsiteX18" fmla="*/ 454029 w 499747"/>
                <a:gd name="connsiteY18" fmla="*/ 341082 h 502815"/>
                <a:gd name="connsiteX19" fmla="*/ 451209 w 499747"/>
                <a:gd name="connsiteY19" fmla="*/ 335424 h 502815"/>
                <a:gd name="connsiteX20" fmla="*/ 450866 w 499747"/>
                <a:gd name="connsiteY20" fmla="*/ 325309 h 502815"/>
                <a:gd name="connsiteX21" fmla="*/ 438684 w 499747"/>
                <a:gd name="connsiteY21" fmla="*/ 307706 h 502815"/>
                <a:gd name="connsiteX22" fmla="*/ 435121 w 499747"/>
                <a:gd name="connsiteY22" fmla="*/ 302020 h 502815"/>
                <a:gd name="connsiteX23" fmla="*/ 446047 w 499747"/>
                <a:gd name="connsiteY23" fmla="*/ 293105 h 502815"/>
                <a:gd name="connsiteX24" fmla="*/ 447323 w 499747"/>
                <a:gd name="connsiteY24" fmla="*/ 283608 h 502815"/>
                <a:gd name="connsiteX25" fmla="*/ 443970 w 499747"/>
                <a:gd name="connsiteY25" fmla="*/ 274264 h 502815"/>
                <a:gd name="connsiteX26" fmla="*/ 445732 w 499747"/>
                <a:gd name="connsiteY26" fmla="*/ 264168 h 502815"/>
                <a:gd name="connsiteX27" fmla="*/ 447542 w 499747"/>
                <a:gd name="connsiteY27" fmla="*/ 255186 h 502815"/>
                <a:gd name="connsiteX28" fmla="*/ 445542 w 499747"/>
                <a:gd name="connsiteY28" fmla="*/ 248547 h 502815"/>
                <a:gd name="connsiteX29" fmla="*/ 444446 w 499747"/>
                <a:gd name="connsiteY29" fmla="*/ 241184 h 502815"/>
                <a:gd name="connsiteX30" fmla="*/ 445552 w 499747"/>
                <a:gd name="connsiteY30" fmla="*/ 230945 h 502815"/>
                <a:gd name="connsiteX31" fmla="*/ 444789 w 499747"/>
                <a:gd name="connsiteY31" fmla="*/ 224763 h 502815"/>
                <a:gd name="connsiteX32" fmla="*/ 440846 w 499747"/>
                <a:gd name="connsiteY32" fmla="*/ 209513 h 502815"/>
                <a:gd name="connsiteX33" fmla="*/ 434988 w 499747"/>
                <a:gd name="connsiteY33" fmla="*/ 197731 h 502815"/>
                <a:gd name="connsiteX34" fmla="*/ 434274 w 499747"/>
                <a:gd name="connsiteY34" fmla="*/ 190959 h 502815"/>
                <a:gd name="connsiteX35" fmla="*/ 425959 w 499747"/>
                <a:gd name="connsiteY35" fmla="*/ 148525 h 502815"/>
                <a:gd name="connsiteX36" fmla="*/ 423406 w 499747"/>
                <a:gd name="connsiteY36" fmla="*/ 138638 h 502815"/>
                <a:gd name="connsiteX37" fmla="*/ 406042 w 499747"/>
                <a:gd name="connsiteY37" fmla="*/ 127036 h 502815"/>
                <a:gd name="connsiteX38" fmla="*/ 405003 w 499747"/>
                <a:gd name="connsiteY38" fmla="*/ 118130 h 502815"/>
                <a:gd name="connsiteX39" fmla="*/ 401365 w 499747"/>
                <a:gd name="connsiteY39" fmla="*/ 113225 h 502815"/>
                <a:gd name="connsiteX40" fmla="*/ 393059 w 499747"/>
                <a:gd name="connsiteY40" fmla="*/ 107719 h 502815"/>
                <a:gd name="connsiteX41" fmla="*/ 388202 w 499747"/>
                <a:gd name="connsiteY41" fmla="*/ 97290 h 502815"/>
                <a:gd name="connsiteX42" fmla="*/ 385506 w 499747"/>
                <a:gd name="connsiteY42" fmla="*/ 91089 h 502815"/>
                <a:gd name="connsiteX43" fmla="*/ 385544 w 499747"/>
                <a:gd name="connsiteY43" fmla="*/ 83545 h 502815"/>
                <a:gd name="connsiteX44" fmla="*/ 391145 w 499747"/>
                <a:gd name="connsiteY44" fmla="*/ 79916 h 502815"/>
                <a:gd name="connsiteX45" fmla="*/ 401127 w 499747"/>
                <a:gd name="connsiteY45" fmla="*/ 68829 h 502815"/>
                <a:gd name="connsiteX46" fmla="*/ 401689 w 499747"/>
                <a:gd name="connsiteY46" fmla="*/ 59904 h 502815"/>
                <a:gd name="connsiteX47" fmla="*/ 406013 w 499747"/>
                <a:gd name="connsiteY47" fmla="*/ 52179 h 502815"/>
                <a:gd name="connsiteX48" fmla="*/ 404518 w 499747"/>
                <a:gd name="connsiteY48" fmla="*/ 44588 h 502815"/>
                <a:gd name="connsiteX49" fmla="*/ 401422 w 499747"/>
                <a:gd name="connsiteY49" fmla="*/ 35644 h 502815"/>
                <a:gd name="connsiteX50" fmla="*/ 402613 w 499747"/>
                <a:gd name="connsiteY50" fmla="*/ 24528 h 502815"/>
                <a:gd name="connsiteX51" fmla="*/ 398203 w 499747"/>
                <a:gd name="connsiteY51" fmla="*/ 16299 h 502815"/>
                <a:gd name="connsiteX52" fmla="*/ 403699 w 499747"/>
                <a:gd name="connsiteY52" fmla="*/ 13451 h 502815"/>
                <a:gd name="connsiteX53" fmla="*/ 408842 w 499747"/>
                <a:gd name="connsiteY53" fmla="*/ 7917 h 502815"/>
                <a:gd name="connsiteX54" fmla="*/ 399546 w 499747"/>
                <a:gd name="connsiteY54" fmla="*/ 3707 h 502815"/>
                <a:gd name="connsiteX55" fmla="*/ 390935 w 499747"/>
                <a:gd name="connsiteY55" fmla="*/ 6745 h 502815"/>
                <a:gd name="connsiteX56" fmla="*/ 383896 w 499747"/>
                <a:gd name="connsiteY56" fmla="*/ 2392 h 502815"/>
                <a:gd name="connsiteX57" fmla="*/ 374847 w 499747"/>
                <a:gd name="connsiteY57" fmla="*/ 144 h 502815"/>
                <a:gd name="connsiteX58" fmla="*/ 369437 w 499747"/>
                <a:gd name="connsiteY58" fmla="*/ 5688 h 502815"/>
                <a:gd name="connsiteX59" fmla="*/ 363351 w 499747"/>
                <a:gd name="connsiteY59" fmla="*/ 3821 h 502815"/>
                <a:gd name="connsiteX60" fmla="*/ 358521 w 499747"/>
                <a:gd name="connsiteY60" fmla="*/ -94 h 502815"/>
                <a:gd name="connsiteX61" fmla="*/ 353826 w 499747"/>
                <a:gd name="connsiteY61" fmla="*/ 3973 h 502815"/>
                <a:gd name="connsiteX62" fmla="*/ 339862 w 499747"/>
                <a:gd name="connsiteY62" fmla="*/ 7907 h 502815"/>
                <a:gd name="connsiteX63" fmla="*/ 331032 w 499747"/>
                <a:gd name="connsiteY63" fmla="*/ 12374 h 502815"/>
                <a:gd name="connsiteX64" fmla="*/ 324908 w 499747"/>
                <a:gd name="connsiteY64" fmla="*/ 7936 h 502815"/>
                <a:gd name="connsiteX65" fmla="*/ 318917 w 499747"/>
                <a:gd name="connsiteY65" fmla="*/ 5259 h 502815"/>
                <a:gd name="connsiteX66" fmla="*/ 311487 w 499747"/>
                <a:gd name="connsiteY66" fmla="*/ 4850 h 502815"/>
                <a:gd name="connsiteX67" fmla="*/ 298819 w 499747"/>
                <a:gd name="connsiteY67" fmla="*/ 4488 h 502815"/>
                <a:gd name="connsiteX68" fmla="*/ 288932 w 499747"/>
                <a:gd name="connsiteY68" fmla="*/ 8831 h 502815"/>
                <a:gd name="connsiteX69" fmla="*/ 281312 w 499747"/>
                <a:gd name="connsiteY69" fmla="*/ 9526 h 502815"/>
                <a:gd name="connsiteX70" fmla="*/ 268596 w 499747"/>
                <a:gd name="connsiteY70" fmla="*/ 13441 h 502815"/>
                <a:gd name="connsiteX71" fmla="*/ 255337 w 499747"/>
                <a:gd name="connsiteY71" fmla="*/ 14327 h 502815"/>
                <a:gd name="connsiteX72" fmla="*/ 239526 w 499747"/>
                <a:gd name="connsiteY72" fmla="*/ 14784 h 502815"/>
                <a:gd name="connsiteX73" fmla="*/ 230096 w 499747"/>
                <a:gd name="connsiteY73" fmla="*/ 17661 h 502815"/>
                <a:gd name="connsiteX74" fmla="*/ 216752 w 499747"/>
                <a:gd name="connsiteY74" fmla="*/ 24414 h 502815"/>
                <a:gd name="connsiteX75" fmla="*/ 210960 w 499747"/>
                <a:gd name="connsiteY75" fmla="*/ 30034 h 502815"/>
                <a:gd name="connsiteX76" fmla="*/ 206236 w 499747"/>
                <a:gd name="connsiteY76" fmla="*/ 35577 h 502815"/>
                <a:gd name="connsiteX77" fmla="*/ 200340 w 499747"/>
                <a:gd name="connsiteY77" fmla="*/ 32558 h 502815"/>
                <a:gd name="connsiteX78" fmla="*/ 193330 w 499747"/>
                <a:gd name="connsiteY78" fmla="*/ 38092 h 502815"/>
                <a:gd name="connsiteX79" fmla="*/ 181833 w 499747"/>
                <a:gd name="connsiteY79" fmla="*/ 41064 h 502815"/>
                <a:gd name="connsiteX80" fmla="*/ 178899 w 499747"/>
                <a:gd name="connsiteY80" fmla="*/ 46636 h 502815"/>
                <a:gd name="connsiteX81" fmla="*/ 169727 w 499747"/>
                <a:gd name="connsiteY81" fmla="*/ 52179 h 502815"/>
                <a:gd name="connsiteX82" fmla="*/ 162468 w 499747"/>
                <a:gd name="connsiteY82" fmla="*/ 55665 h 502815"/>
                <a:gd name="connsiteX83" fmla="*/ 156410 w 499747"/>
                <a:gd name="connsiteY83" fmla="*/ 55351 h 502815"/>
                <a:gd name="connsiteX84" fmla="*/ 161964 w 499747"/>
                <a:gd name="connsiteY84" fmla="*/ 59495 h 502815"/>
                <a:gd name="connsiteX85" fmla="*/ 167441 w 499747"/>
                <a:gd name="connsiteY85" fmla="*/ 64848 h 502815"/>
                <a:gd name="connsiteX86" fmla="*/ 168603 w 499747"/>
                <a:gd name="connsiteY86" fmla="*/ 71782 h 502815"/>
                <a:gd name="connsiteX87" fmla="*/ 168384 w 499747"/>
                <a:gd name="connsiteY87" fmla="*/ 79887 h 502815"/>
                <a:gd name="connsiteX88" fmla="*/ 168869 w 499747"/>
                <a:gd name="connsiteY88" fmla="*/ 90860 h 502815"/>
                <a:gd name="connsiteX89" fmla="*/ 169270 w 499747"/>
                <a:gd name="connsiteY89" fmla="*/ 102024 h 502815"/>
                <a:gd name="connsiteX90" fmla="*/ 173470 w 499747"/>
                <a:gd name="connsiteY90" fmla="*/ 113149 h 502815"/>
                <a:gd name="connsiteX91" fmla="*/ 176184 w 499747"/>
                <a:gd name="connsiteY91" fmla="*/ 120674 h 502815"/>
                <a:gd name="connsiteX92" fmla="*/ 181557 w 499747"/>
                <a:gd name="connsiteY92" fmla="*/ 124293 h 502815"/>
                <a:gd name="connsiteX93" fmla="*/ 178585 w 499747"/>
                <a:gd name="connsiteY93" fmla="*/ 135418 h 502815"/>
                <a:gd name="connsiteX94" fmla="*/ 160516 w 499747"/>
                <a:gd name="connsiteY94" fmla="*/ 135933 h 502815"/>
                <a:gd name="connsiteX95" fmla="*/ 140161 w 499747"/>
                <a:gd name="connsiteY95" fmla="*/ 137895 h 502815"/>
                <a:gd name="connsiteX96" fmla="*/ 141275 w 499747"/>
                <a:gd name="connsiteY96" fmla="*/ 146086 h 502815"/>
                <a:gd name="connsiteX97" fmla="*/ 121254 w 499747"/>
                <a:gd name="connsiteY97" fmla="*/ 151163 h 502815"/>
                <a:gd name="connsiteX98" fmla="*/ 121178 w 499747"/>
                <a:gd name="connsiteY98" fmla="*/ 157602 h 502815"/>
                <a:gd name="connsiteX99" fmla="*/ 118406 w 499747"/>
                <a:gd name="connsiteY99" fmla="*/ 165860 h 502815"/>
                <a:gd name="connsiteX100" fmla="*/ 121339 w 499747"/>
                <a:gd name="connsiteY100" fmla="*/ 174280 h 502815"/>
                <a:gd name="connsiteX101" fmla="*/ 117644 w 499747"/>
                <a:gd name="connsiteY101" fmla="*/ 179824 h 502815"/>
                <a:gd name="connsiteX102" fmla="*/ 107709 w 499747"/>
                <a:gd name="connsiteY102" fmla="*/ 180900 h 502815"/>
                <a:gd name="connsiteX103" fmla="*/ 102699 w 499747"/>
                <a:gd name="connsiteY103" fmla="*/ 184310 h 502815"/>
                <a:gd name="connsiteX104" fmla="*/ 85735 w 499747"/>
                <a:gd name="connsiteY104" fmla="*/ 196502 h 502815"/>
                <a:gd name="connsiteX105" fmla="*/ 81201 w 499747"/>
                <a:gd name="connsiteY105" fmla="*/ 201970 h 502815"/>
                <a:gd name="connsiteX106" fmla="*/ 75324 w 499747"/>
                <a:gd name="connsiteY106" fmla="*/ 210971 h 502815"/>
                <a:gd name="connsiteX107" fmla="*/ 70181 w 499747"/>
                <a:gd name="connsiteY107" fmla="*/ 207627 h 502815"/>
                <a:gd name="connsiteX108" fmla="*/ 54074 w 499747"/>
                <a:gd name="connsiteY108" fmla="*/ 208561 h 502815"/>
                <a:gd name="connsiteX109" fmla="*/ 46168 w 499747"/>
                <a:gd name="connsiteY109" fmla="*/ 211437 h 502815"/>
                <a:gd name="connsiteX110" fmla="*/ 37120 w 499747"/>
                <a:gd name="connsiteY110" fmla="*/ 209809 h 502815"/>
                <a:gd name="connsiteX111" fmla="*/ 26195 w 499747"/>
                <a:gd name="connsiteY111" fmla="*/ 214057 h 502815"/>
                <a:gd name="connsiteX112" fmla="*/ 20222 w 499747"/>
                <a:gd name="connsiteY112" fmla="*/ 218705 h 502815"/>
                <a:gd name="connsiteX113" fmla="*/ 12736 w 499747"/>
                <a:gd name="connsiteY113" fmla="*/ 224220 h 502815"/>
                <a:gd name="connsiteX114" fmla="*/ 6096 w 499747"/>
                <a:gd name="connsiteY114" fmla="*/ 229678 h 502815"/>
                <a:gd name="connsiteX115" fmla="*/ 477 w 499747"/>
                <a:gd name="connsiteY115" fmla="*/ 233497 h 502815"/>
                <a:gd name="connsiteX116" fmla="*/ -266 w 499747"/>
                <a:gd name="connsiteY116" fmla="*/ 271035 h 502815"/>
                <a:gd name="connsiteX117" fmla="*/ 43911 w 499747"/>
                <a:gd name="connsiteY117" fmla="*/ 301696 h 502815"/>
                <a:gd name="connsiteX118" fmla="*/ 91250 w 499747"/>
                <a:gd name="connsiteY118" fmla="*/ 335281 h 502815"/>
                <a:gd name="connsiteX119" fmla="*/ 140009 w 499747"/>
                <a:gd name="connsiteY119" fmla="*/ 371600 h 502815"/>
                <a:gd name="connsiteX120" fmla="*/ 184642 w 499747"/>
                <a:gd name="connsiteY120" fmla="*/ 404690 h 502815"/>
                <a:gd name="connsiteX121" fmla="*/ 208265 w 499747"/>
                <a:gd name="connsiteY121" fmla="*/ 422130 h 502815"/>
                <a:gd name="connsiteX122" fmla="*/ 236706 w 499747"/>
                <a:gd name="connsiteY122" fmla="*/ 443095 h 502815"/>
                <a:gd name="connsiteX123" fmla="*/ 236706 w 499747"/>
                <a:gd name="connsiteY123" fmla="*/ 451724 h 502815"/>
                <a:gd name="connsiteX124" fmla="*/ 242116 w 499747"/>
                <a:gd name="connsiteY124" fmla="*/ 455887 h 502815"/>
                <a:gd name="connsiteX125" fmla="*/ 248936 w 499747"/>
                <a:gd name="connsiteY125" fmla="*/ 459306 h 502815"/>
                <a:gd name="connsiteX126" fmla="*/ 255252 w 499747"/>
                <a:gd name="connsiteY126" fmla="*/ 467860 h 502815"/>
                <a:gd name="connsiteX127" fmla="*/ 262338 w 499747"/>
                <a:gd name="connsiteY127" fmla="*/ 465231 h 502815"/>
                <a:gd name="connsiteX128" fmla="*/ 266929 w 499747"/>
                <a:gd name="connsiteY128" fmla="*/ 470489 h 502815"/>
                <a:gd name="connsiteX129" fmla="*/ 273816 w 499747"/>
                <a:gd name="connsiteY129" fmla="*/ 471270 h 502815"/>
                <a:gd name="connsiteX130" fmla="*/ 287808 w 499747"/>
                <a:gd name="connsiteY130" fmla="*/ 478671 h 502815"/>
                <a:gd name="connsiteX131" fmla="*/ 287303 w 499747"/>
                <a:gd name="connsiteY131" fmla="*/ 485043 h 502815"/>
                <a:gd name="connsiteX132" fmla="*/ 285132 w 499747"/>
                <a:gd name="connsiteY132" fmla="*/ 496235 h 502815"/>
                <a:gd name="connsiteX133" fmla="*/ 289018 w 499747"/>
                <a:gd name="connsiteY133" fmla="*/ 501836 h 50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499747" h="502815">
                  <a:moveTo>
                    <a:pt x="290437" y="502721"/>
                  </a:moveTo>
                  <a:lnTo>
                    <a:pt x="314354" y="497683"/>
                  </a:lnTo>
                  <a:lnTo>
                    <a:pt x="350397" y="489510"/>
                  </a:lnTo>
                  <a:lnTo>
                    <a:pt x="354683" y="485195"/>
                  </a:lnTo>
                  <a:lnTo>
                    <a:pt x="365561" y="474765"/>
                  </a:lnTo>
                  <a:lnTo>
                    <a:pt x="371418" y="468917"/>
                  </a:lnTo>
                  <a:lnTo>
                    <a:pt x="388925" y="451991"/>
                  </a:lnTo>
                  <a:lnTo>
                    <a:pt x="394764" y="447553"/>
                  </a:lnTo>
                  <a:lnTo>
                    <a:pt x="413872" y="434075"/>
                  </a:lnTo>
                  <a:lnTo>
                    <a:pt x="443542" y="414120"/>
                  </a:lnTo>
                  <a:lnTo>
                    <a:pt x="457419" y="404690"/>
                  </a:lnTo>
                  <a:lnTo>
                    <a:pt x="468907" y="397061"/>
                  </a:lnTo>
                  <a:lnTo>
                    <a:pt x="478032" y="390831"/>
                  </a:lnTo>
                  <a:lnTo>
                    <a:pt x="499482" y="376448"/>
                  </a:lnTo>
                  <a:lnTo>
                    <a:pt x="489548" y="355703"/>
                  </a:lnTo>
                  <a:lnTo>
                    <a:pt x="480937" y="354274"/>
                  </a:lnTo>
                  <a:lnTo>
                    <a:pt x="471050" y="347254"/>
                  </a:lnTo>
                  <a:lnTo>
                    <a:pt x="460525" y="348283"/>
                  </a:lnTo>
                  <a:lnTo>
                    <a:pt x="454029" y="341082"/>
                  </a:lnTo>
                  <a:lnTo>
                    <a:pt x="451209" y="335424"/>
                  </a:lnTo>
                  <a:lnTo>
                    <a:pt x="450866" y="325309"/>
                  </a:lnTo>
                  <a:lnTo>
                    <a:pt x="438684" y="307706"/>
                  </a:lnTo>
                  <a:lnTo>
                    <a:pt x="435121" y="302020"/>
                  </a:lnTo>
                  <a:lnTo>
                    <a:pt x="446047" y="293105"/>
                  </a:lnTo>
                  <a:lnTo>
                    <a:pt x="447323" y="283608"/>
                  </a:lnTo>
                  <a:lnTo>
                    <a:pt x="443970" y="274264"/>
                  </a:lnTo>
                  <a:lnTo>
                    <a:pt x="445732" y="264168"/>
                  </a:lnTo>
                  <a:lnTo>
                    <a:pt x="447542" y="255186"/>
                  </a:lnTo>
                  <a:lnTo>
                    <a:pt x="445542" y="248547"/>
                  </a:lnTo>
                  <a:lnTo>
                    <a:pt x="444446" y="241184"/>
                  </a:lnTo>
                  <a:lnTo>
                    <a:pt x="445552" y="230945"/>
                  </a:lnTo>
                  <a:lnTo>
                    <a:pt x="444789" y="224763"/>
                  </a:lnTo>
                  <a:lnTo>
                    <a:pt x="440846" y="209513"/>
                  </a:lnTo>
                  <a:lnTo>
                    <a:pt x="434988" y="197731"/>
                  </a:lnTo>
                  <a:lnTo>
                    <a:pt x="434274" y="190959"/>
                  </a:lnTo>
                  <a:lnTo>
                    <a:pt x="425959" y="148525"/>
                  </a:lnTo>
                  <a:lnTo>
                    <a:pt x="423406" y="138638"/>
                  </a:lnTo>
                  <a:lnTo>
                    <a:pt x="406042" y="127036"/>
                  </a:lnTo>
                  <a:lnTo>
                    <a:pt x="405003" y="118130"/>
                  </a:lnTo>
                  <a:lnTo>
                    <a:pt x="401365" y="113225"/>
                  </a:lnTo>
                  <a:lnTo>
                    <a:pt x="393059" y="107719"/>
                  </a:lnTo>
                  <a:lnTo>
                    <a:pt x="388202" y="97290"/>
                  </a:lnTo>
                  <a:lnTo>
                    <a:pt x="385506" y="91089"/>
                  </a:lnTo>
                  <a:lnTo>
                    <a:pt x="385544" y="83545"/>
                  </a:lnTo>
                  <a:lnTo>
                    <a:pt x="391145" y="79916"/>
                  </a:lnTo>
                  <a:lnTo>
                    <a:pt x="401127" y="68829"/>
                  </a:lnTo>
                  <a:lnTo>
                    <a:pt x="401689" y="59904"/>
                  </a:lnTo>
                  <a:lnTo>
                    <a:pt x="406013" y="52179"/>
                  </a:lnTo>
                  <a:lnTo>
                    <a:pt x="404518" y="44588"/>
                  </a:lnTo>
                  <a:lnTo>
                    <a:pt x="401422" y="35644"/>
                  </a:lnTo>
                  <a:lnTo>
                    <a:pt x="402613" y="24528"/>
                  </a:lnTo>
                  <a:lnTo>
                    <a:pt x="398203" y="16299"/>
                  </a:lnTo>
                  <a:lnTo>
                    <a:pt x="403699" y="13451"/>
                  </a:lnTo>
                  <a:lnTo>
                    <a:pt x="408842" y="7917"/>
                  </a:lnTo>
                  <a:lnTo>
                    <a:pt x="399546" y="3707"/>
                  </a:lnTo>
                  <a:lnTo>
                    <a:pt x="390935" y="6745"/>
                  </a:lnTo>
                  <a:lnTo>
                    <a:pt x="383896" y="2392"/>
                  </a:lnTo>
                  <a:lnTo>
                    <a:pt x="374847" y="144"/>
                  </a:lnTo>
                  <a:lnTo>
                    <a:pt x="369437" y="5688"/>
                  </a:lnTo>
                  <a:lnTo>
                    <a:pt x="363351" y="3821"/>
                  </a:lnTo>
                  <a:lnTo>
                    <a:pt x="358521" y="-94"/>
                  </a:lnTo>
                  <a:lnTo>
                    <a:pt x="353826" y="3973"/>
                  </a:lnTo>
                  <a:lnTo>
                    <a:pt x="339862" y="7907"/>
                  </a:lnTo>
                  <a:lnTo>
                    <a:pt x="331032" y="12374"/>
                  </a:lnTo>
                  <a:lnTo>
                    <a:pt x="324908" y="7936"/>
                  </a:lnTo>
                  <a:lnTo>
                    <a:pt x="318917" y="5259"/>
                  </a:lnTo>
                  <a:lnTo>
                    <a:pt x="311487" y="4850"/>
                  </a:lnTo>
                  <a:lnTo>
                    <a:pt x="298819" y="4488"/>
                  </a:lnTo>
                  <a:lnTo>
                    <a:pt x="288932" y="8831"/>
                  </a:lnTo>
                  <a:lnTo>
                    <a:pt x="281312" y="9526"/>
                  </a:lnTo>
                  <a:lnTo>
                    <a:pt x="268596" y="13441"/>
                  </a:lnTo>
                  <a:lnTo>
                    <a:pt x="255337" y="14327"/>
                  </a:lnTo>
                  <a:lnTo>
                    <a:pt x="239526" y="14784"/>
                  </a:lnTo>
                  <a:lnTo>
                    <a:pt x="230096" y="17661"/>
                  </a:lnTo>
                  <a:lnTo>
                    <a:pt x="216752" y="24414"/>
                  </a:lnTo>
                  <a:lnTo>
                    <a:pt x="210960" y="30034"/>
                  </a:lnTo>
                  <a:lnTo>
                    <a:pt x="206236" y="35577"/>
                  </a:lnTo>
                  <a:lnTo>
                    <a:pt x="200340" y="32558"/>
                  </a:lnTo>
                  <a:lnTo>
                    <a:pt x="193330" y="38092"/>
                  </a:lnTo>
                  <a:lnTo>
                    <a:pt x="181833" y="41064"/>
                  </a:lnTo>
                  <a:lnTo>
                    <a:pt x="178899" y="46636"/>
                  </a:lnTo>
                  <a:lnTo>
                    <a:pt x="169727" y="52179"/>
                  </a:lnTo>
                  <a:lnTo>
                    <a:pt x="162468" y="55665"/>
                  </a:lnTo>
                  <a:lnTo>
                    <a:pt x="156410" y="55351"/>
                  </a:lnTo>
                  <a:lnTo>
                    <a:pt x="161964" y="59495"/>
                  </a:lnTo>
                  <a:lnTo>
                    <a:pt x="167441" y="64848"/>
                  </a:lnTo>
                  <a:lnTo>
                    <a:pt x="168603" y="71782"/>
                  </a:lnTo>
                  <a:lnTo>
                    <a:pt x="168384" y="79887"/>
                  </a:lnTo>
                  <a:lnTo>
                    <a:pt x="168869" y="90860"/>
                  </a:lnTo>
                  <a:lnTo>
                    <a:pt x="169270" y="102024"/>
                  </a:lnTo>
                  <a:lnTo>
                    <a:pt x="173470" y="113149"/>
                  </a:lnTo>
                  <a:lnTo>
                    <a:pt x="176184" y="120674"/>
                  </a:lnTo>
                  <a:lnTo>
                    <a:pt x="181557" y="124293"/>
                  </a:lnTo>
                  <a:lnTo>
                    <a:pt x="178585" y="135418"/>
                  </a:lnTo>
                  <a:lnTo>
                    <a:pt x="160516" y="135933"/>
                  </a:lnTo>
                  <a:lnTo>
                    <a:pt x="140161" y="137895"/>
                  </a:lnTo>
                  <a:lnTo>
                    <a:pt x="141275" y="146086"/>
                  </a:lnTo>
                  <a:lnTo>
                    <a:pt x="121254" y="151163"/>
                  </a:lnTo>
                  <a:lnTo>
                    <a:pt x="121178" y="157602"/>
                  </a:lnTo>
                  <a:lnTo>
                    <a:pt x="118406" y="165860"/>
                  </a:lnTo>
                  <a:lnTo>
                    <a:pt x="121339" y="174280"/>
                  </a:lnTo>
                  <a:lnTo>
                    <a:pt x="117644" y="179824"/>
                  </a:lnTo>
                  <a:lnTo>
                    <a:pt x="107709" y="180900"/>
                  </a:lnTo>
                  <a:lnTo>
                    <a:pt x="102699" y="184310"/>
                  </a:lnTo>
                  <a:lnTo>
                    <a:pt x="85735" y="196502"/>
                  </a:lnTo>
                  <a:lnTo>
                    <a:pt x="81201" y="201970"/>
                  </a:lnTo>
                  <a:lnTo>
                    <a:pt x="75324" y="210971"/>
                  </a:lnTo>
                  <a:lnTo>
                    <a:pt x="70181" y="207627"/>
                  </a:lnTo>
                  <a:lnTo>
                    <a:pt x="54074" y="208561"/>
                  </a:lnTo>
                  <a:lnTo>
                    <a:pt x="46168" y="211437"/>
                  </a:lnTo>
                  <a:lnTo>
                    <a:pt x="37120" y="209809"/>
                  </a:lnTo>
                  <a:lnTo>
                    <a:pt x="26195" y="214057"/>
                  </a:lnTo>
                  <a:lnTo>
                    <a:pt x="20222" y="218705"/>
                  </a:lnTo>
                  <a:lnTo>
                    <a:pt x="12736" y="224220"/>
                  </a:lnTo>
                  <a:lnTo>
                    <a:pt x="6096" y="229678"/>
                  </a:lnTo>
                  <a:lnTo>
                    <a:pt x="477" y="233497"/>
                  </a:lnTo>
                  <a:lnTo>
                    <a:pt x="-266" y="271035"/>
                  </a:lnTo>
                  <a:lnTo>
                    <a:pt x="43911" y="301696"/>
                  </a:lnTo>
                  <a:lnTo>
                    <a:pt x="91250" y="335281"/>
                  </a:lnTo>
                  <a:lnTo>
                    <a:pt x="140009" y="371600"/>
                  </a:lnTo>
                  <a:lnTo>
                    <a:pt x="184642" y="404690"/>
                  </a:lnTo>
                  <a:lnTo>
                    <a:pt x="208265" y="422130"/>
                  </a:lnTo>
                  <a:lnTo>
                    <a:pt x="236706" y="443095"/>
                  </a:lnTo>
                  <a:lnTo>
                    <a:pt x="236706" y="451724"/>
                  </a:lnTo>
                  <a:lnTo>
                    <a:pt x="242116" y="455887"/>
                  </a:lnTo>
                  <a:lnTo>
                    <a:pt x="248936" y="459306"/>
                  </a:lnTo>
                  <a:lnTo>
                    <a:pt x="255252" y="467860"/>
                  </a:lnTo>
                  <a:lnTo>
                    <a:pt x="262338" y="465231"/>
                  </a:lnTo>
                  <a:lnTo>
                    <a:pt x="266929" y="470489"/>
                  </a:lnTo>
                  <a:lnTo>
                    <a:pt x="273816" y="471270"/>
                  </a:lnTo>
                  <a:lnTo>
                    <a:pt x="287808" y="478671"/>
                  </a:lnTo>
                  <a:lnTo>
                    <a:pt x="287303" y="485043"/>
                  </a:lnTo>
                  <a:lnTo>
                    <a:pt x="285132" y="496235"/>
                  </a:lnTo>
                  <a:lnTo>
                    <a:pt x="289018" y="501836"/>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63" name="Freeform: Shape 62">
              <a:extLst>
                <a:ext uri="{FF2B5EF4-FFF2-40B4-BE49-F238E27FC236}">
                  <a16:creationId xmlns:a16="http://schemas.microsoft.com/office/drawing/2014/main" id="{038C7702-066A-C59B-5852-2701F80B3B70}"/>
                </a:ext>
              </a:extLst>
            </p:cNvPr>
            <p:cNvSpPr/>
            <p:nvPr/>
          </p:nvSpPr>
          <p:spPr>
            <a:xfrm>
              <a:off x="5900748" y="558018"/>
              <a:ext cx="735060" cy="1267410"/>
            </a:xfrm>
            <a:custGeom>
              <a:avLst/>
              <a:gdLst>
                <a:gd name="connsiteX0" fmla="*/ 59361 w 257917"/>
                <a:gd name="connsiteY0" fmla="*/ 444304 h 444398"/>
                <a:gd name="connsiteX1" fmla="*/ 68133 w 257917"/>
                <a:gd name="connsiteY1" fmla="*/ 439894 h 444398"/>
                <a:gd name="connsiteX2" fmla="*/ 73886 w 257917"/>
                <a:gd name="connsiteY2" fmla="*/ 437589 h 444398"/>
                <a:gd name="connsiteX3" fmla="*/ 78630 w 257917"/>
                <a:gd name="connsiteY3" fmla="*/ 431931 h 444398"/>
                <a:gd name="connsiteX4" fmla="*/ 81001 w 257917"/>
                <a:gd name="connsiteY4" fmla="*/ 438789 h 444398"/>
                <a:gd name="connsiteX5" fmla="*/ 90860 w 257917"/>
                <a:gd name="connsiteY5" fmla="*/ 437132 h 444398"/>
                <a:gd name="connsiteX6" fmla="*/ 105252 w 257917"/>
                <a:gd name="connsiteY6" fmla="*/ 429179 h 444398"/>
                <a:gd name="connsiteX7" fmla="*/ 113977 w 257917"/>
                <a:gd name="connsiteY7" fmla="*/ 428788 h 444398"/>
                <a:gd name="connsiteX8" fmla="*/ 128636 w 257917"/>
                <a:gd name="connsiteY8" fmla="*/ 427321 h 444398"/>
                <a:gd name="connsiteX9" fmla="*/ 136341 w 257917"/>
                <a:gd name="connsiteY9" fmla="*/ 417692 h 444398"/>
                <a:gd name="connsiteX10" fmla="*/ 139342 w 257917"/>
                <a:gd name="connsiteY10" fmla="*/ 412196 h 444398"/>
                <a:gd name="connsiteX11" fmla="*/ 134627 w 257917"/>
                <a:gd name="connsiteY11" fmla="*/ 404423 h 444398"/>
                <a:gd name="connsiteX12" fmla="*/ 160183 w 257917"/>
                <a:gd name="connsiteY12" fmla="*/ 399861 h 444398"/>
                <a:gd name="connsiteX13" fmla="*/ 165345 w 257917"/>
                <a:gd name="connsiteY13" fmla="*/ 396832 h 444398"/>
                <a:gd name="connsiteX14" fmla="*/ 171975 w 257917"/>
                <a:gd name="connsiteY14" fmla="*/ 398022 h 444398"/>
                <a:gd name="connsiteX15" fmla="*/ 176109 w 257917"/>
                <a:gd name="connsiteY15" fmla="*/ 392098 h 444398"/>
                <a:gd name="connsiteX16" fmla="*/ 181719 w 257917"/>
                <a:gd name="connsiteY16" fmla="*/ 389983 h 444398"/>
                <a:gd name="connsiteX17" fmla="*/ 186262 w 257917"/>
                <a:gd name="connsiteY17" fmla="*/ 384497 h 444398"/>
                <a:gd name="connsiteX18" fmla="*/ 190082 w 257917"/>
                <a:gd name="connsiteY18" fmla="*/ 378830 h 444398"/>
                <a:gd name="connsiteX19" fmla="*/ 193701 w 257917"/>
                <a:gd name="connsiteY19" fmla="*/ 373915 h 444398"/>
                <a:gd name="connsiteX20" fmla="*/ 200017 w 257917"/>
                <a:gd name="connsiteY20" fmla="*/ 367733 h 444398"/>
                <a:gd name="connsiteX21" fmla="*/ 205408 w 257917"/>
                <a:gd name="connsiteY21" fmla="*/ 362246 h 444398"/>
                <a:gd name="connsiteX22" fmla="*/ 211580 w 257917"/>
                <a:gd name="connsiteY22" fmla="*/ 352969 h 444398"/>
                <a:gd name="connsiteX23" fmla="*/ 217523 w 257917"/>
                <a:gd name="connsiteY23" fmla="*/ 347988 h 444398"/>
                <a:gd name="connsiteX24" fmla="*/ 223105 w 257917"/>
                <a:gd name="connsiteY24" fmla="*/ 345501 h 444398"/>
                <a:gd name="connsiteX25" fmla="*/ 233040 w 257917"/>
                <a:gd name="connsiteY25" fmla="*/ 347740 h 444398"/>
                <a:gd name="connsiteX26" fmla="*/ 235316 w 257917"/>
                <a:gd name="connsiteY26" fmla="*/ 340006 h 444398"/>
                <a:gd name="connsiteX27" fmla="*/ 230744 w 257917"/>
                <a:gd name="connsiteY27" fmla="*/ 334367 h 444398"/>
                <a:gd name="connsiteX28" fmla="*/ 225372 w 257917"/>
                <a:gd name="connsiteY28" fmla="*/ 328909 h 444398"/>
                <a:gd name="connsiteX29" fmla="*/ 225981 w 257917"/>
                <a:gd name="connsiteY29" fmla="*/ 317812 h 444398"/>
                <a:gd name="connsiteX30" fmla="*/ 222695 w 257917"/>
                <a:gd name="connsiteY30" fmla="*/ 312259 h 444398"/>
                <a:gd name="connsiteX31" fmla="*/ 219657 w 257917"/>
                <a:gd name="connsiteY31" fmla="*/ 305497 h 444398"/>
                <a:gd name="connsiteX32" fmla="*/ 215313 w 257917"/>
                <a:gd name="connsiteY32" fmla="*/ 296962 h 444398"/>
                <a:gd name="connsiteX33" fmla="*/ 208960 w 257917"/>
                <a:gd name="connsiteY33" fmla="*/ 300105 h 444398"/>
                <a:gd name="connsiteX34" fmla="*/ 207941 w 257917"/>
                <a:gd name="connsiteY34" fmla="*/ 290057 h 444398"/>
                <a:gd name="connsiteX35" fmla="*/ 213780 w 257917"/>
                <a:gd name="connsiteY35" fmla="*/ 284485 h 444398"/>
                <a:gd name="connsiteX36" fmla="*/ 216732 w 257917"/>
                <a:gd name="connsiteY36" fmla="*/ 278950 h 444398"/>
                <a:gd name="connsiteX37" fmla="*/ 214037 w 257917"/>
                <a:gd name="connsiteY37" fmla="*/ 273531 h 444398"/>
                <a:gd name="connsiteX38" fmla="*/ 215361 w 257917"/>
                <a:gd name="connsiteY38" fmla="*/ 263701 h 444398"/>
                <a:gd name="connsiteX39" fmla="*/ 221905 w 257917"/>
                <a:gd name="connsiteY39" fmla="*/ 259272 h 444398"/>
                <a:gd name="connsiteX40" fmla="*/ 220352 w 257917"/>
                <a:gd name="connsiteY40" fmla="*/ 251995 h 444398"/>
                <a:gd name="connsiteX41" fmla="*/ 219867 w 257917"/>
                <a:gd name="connsiteY41" fmla="*/ 245632 h 444398"/>
                <a:gd name="connsiteX42" fmla="*/ 226982 w 257917"/>
                <a:gd name="connsiteY42" fmla="*/ 243165 h 444398"/>
                <a:gd name="connsiteX43" fmla="*/ 228449 w 257917"/>
                <a:gd name="connsiteY43" fmla="*/ 234507 h 444398"/>
                <a:gd name="connsiteX44" fmla="*/ 233001 w 257917"/>
                <a:gd name="connsiteY44" fmla="*/ 229030 h 444398"/>
                <a:gd name="connsiteX45" fmla="*/ 231239 w 257917"/>
                <a:gd name="connsiteY45" fmla="*/ 220762 h 444398"/>
                <a:gd name="connsiteX46" fmla="*/ 235773 w 257917"/>
                <a:gd name="connsiteY46" fmla="*/ 214638 h 444398"/>
                <a:gd name="connsiteX47" fmla="*/ 242821 w 257917"/>
                <a:gd name="connsiteY47" fmla="*/ 215114 h 444398"/>
                <a:gd name="connsiteX48" fmla="*/ 257652 w 257917"/>
                <a:gd name="connsiteY48" fmla="*/ 215123 h 444398"/>
                <a:gd name="connsiteX49" fmla="*/ 254118 w 257917"/>
                <a:gd name="connsiteY49" fmla="*/ 109567 h 444398"/>
                <a:gd name="connsiteX50" fmla="*/ 231106 w 257917"/>
                <a:gd name="connsiteY50" fmla="*/ 95737 h 444398"/>
                <a:gd name="connsiteX51" fmla="*/ 216695 w 257917"/>
                <a:gd name="connsiteY51" fmla="*/ 87260 h 444398"/>
                <a:gd name="connsiteX52" fmla="*/ 193015 w 257917"/>
                <a:gd name="connsiteY52" fmla="*/ 73544 h 444398"/>
                <a:gd name="connsiteX53" fmla="*/ 173765 w 257917"/>
                <a:gd name="connsiteY53" fmla="*/ 62533 h 444398"/>
                <a:gd name="connsiteX54" fmla="*/ 153839 w 257917"/>
                <a:gd name="connsiteY54" fmla="*/ 51303 h 444398"/>
                <a:gd name="connsiteX55" fmla="*/ 124721 w 257917"/>
                <a:gd name="connsiteY55" fmla="*/ 35168 h 444398"/>
                <a:gd name="connsiteX56" fmla="*/ 108281 w 257917"/>
                <a:gd name="connsiteY56" fmla="*/ 26300 h 444398"/>
                <a:gd name="connsiteX57" fmla="*/ 55646 w 257917"/>
                <a:gd name="connsiteY57" fmla="*/ -94 h 444398"/>
                <a:gd name="connsiteX58" fmla="*/ 31643 w 257917"/>
                <a:gd name="connsiteY58" fmla="*/ 12384 h 444398"/>
                <a:gd name="connsiteX59" fmla="*/ 34377 w 257917"/>
                <a:gd name="connsiteY59" fmla="*/ 26300 h 444398"/>
                <a:gd name="connsiteX60" fmla="*/ 37072 w 257917"/>
                <a:gd name="connsiteY60" fmla="*/ 40073 h 444398"/>
                <a:gd name="connsiteX61" fmla="*/ 37643 w 257917"/>
                <a:gd name="connsiteY61" fmla="*/ 54170 h 444398"/>
                <a:gd name="connsiteX62" fmla="*/ 48378 w 257917"/>
                <a:gd name="connsiteY62" fmla="*/ 69172 h 444398"/>
                <a:gd name="connsiteX63" fmla="*/ 51778 w 257917"/>
                <a:gd name="connsiteY63" fmla="*/ 78754 h 444398"/>
                <a:gd name="connsiteX64" fmla="*/ 57837 w 257917"/>
                <a:gd name="connsiteY64" fmla="*/ 85888 h 444398"/>
                <a:gd name="connsiteX65" fmla="*/ 52198 w 257917"/>
                <a:gd name="connsiteY65" fmla="*/ 97566 h 444398"/>
                <a:gd name="connsiteX66" fmla="*/ 49197 w 257917"/>
                <a:gd name="connsiteY66" fmla="*/ 129494 h 444398"/>
                <a:gd name="connsiteX67" fmla="*/ 48159 w 257917"/>
                <a:gd name="connsiteY67" fmla="*/ 167832 h 444398"/>
                <a:gd name="connsiteX68" fmla="*/ 47435 w 257917"/>
                <a:gd name="connsiteY68" fmla="*/ 182434 h 444398"/>
                <a:gd name="connsiteX69" fmla="*/ 32338 w 257917"/>
                <a:gd name="connsiteY69" fmla="*/ 200788 h 444398"/>
                <a:gd name="connsiteX70" fmla="*/ 22737 w 257917"/>
                <a:gd name="connsiteY70" fmla="*/ 212266 h 444398"/>
                <a:gd name="connsiteX71" fmla="*/ 19051 w 257917"/>
                <a:gd name="connsiteY71" fmla="*/ 217314 h 444398"/>
                <a:gd name="connsiteX72" fmla="*/ 12012 w 257917"/>
                <a:gd name="connsiteY72" fmla="*/ 228792 h 444398"/>
                <a:gd name="connsiteX73" fmla="*/ 8354 w 257917"/>
                <a:gd name="connsiteY73" fmla="*/ 234221 h 444398"/>
                <a:gd name="connsiteX74" fmla="*/ 7440 w 257917"/>
                <a:gd name="connsiteY74" fmla="*/ 242203 h 444398"/>
                <a:gd name="connsiteX75" fmla="*/ -266 w 257917"/>
                <a:gd name="connsiteY75" fmla="*/ 249070 h 444398"/>
                <a:gd name="connsiteX76" fmla="*/ 3468 w 257917"/>
                <a:gd name="connsiteY76" fmla="*/ 270340 h 444398"/>
                <a:gd name="connsiteX77" fmla="*/ 14793 w 257917"/>
                <a:gd name="connsiteY77" fmla="*/ 287685 h 444398"/>
                <a:gd name="connsiteX78" fmla="*/ 24261 w 257917"/>
                <a:gd name="connsiteY78" fmla="*/ 287685 h 444398"/>
                <a:gd name="connsiteX79" fmla="*/ 26938 w 257917"/>
                <a:gd name="connsiteY79" fmla="*/ 293143 h 444398"/>
                <a:gd name="connsiteX80" fmla="*/ 33671 w 257917"/>
                <a:gd name="connsiteY80" fmla="*/ 301020 h 444398"/>
                <a:gd name="connsiteX81" fmla="*/ 35148 w 257917"/>
                <a:gd name="connsiteY81" fmla="*/ 312183 h 444398"/>
                <a:gd name="connsiteX82" fmla="*/ 39977 w 257917"/>
                <a:gd name="connsiteY82" fmla="*/ 317746 h 444398"/>
                <a:gd name="connsiteX83" fmla="*/ 39548 w 257917"/>
                <a:gd name="connsiteY83" fmla="*/ 325756 h 444398"/>
                <a:gd name="connsiteX84" fmla="*/ 39472 w 257917"/>
                <a:gd name="connsiteY84" fmla="*/ 334405 h 444398"/>
                <a:gd name="connsiteX85" fmla="*/ 40949 w 257917"/>
                <a:gd name="connsiteY85" fmla="*/ 343025 h 444398"/>
                <a:gd name="connsiteX86" fmla="*/ 39996 w 257917"/>
                <a:gd name="connsiteY86" fmla="*/ 350407 h 444398"/>
                <a:gd name="connsiteX87" fmla="*/ 42130 w 257917"/>
                <a:gd name="connsiteY87" fmla="*/ 356589 h 444398"/>
                <a:gd name="connsiteX88" fmla="*/ 45454 w 257917"/>
                <a:gd name="connsiteY88" fmla="*/ 362132 h 444398"/>
                <a:gd name="connsiteX89" fmla="*/ 49369 w 257917"/>
                <a:gd name="connsiteY89" fmla="*/ 367695 h 444398"/>
                <a:gd name="connsiteX90" fmla="*/ 55474 w 257917"/>
                <a:gd name="connsiteY90" fmla="*/ 373057 h 444398"/>
                <a:gd name="connsiteX91" fmla="*/ 48931 w 257917"/>
                <a:gd name="connsiteY91" fmla="*/ 375115 h 444398"/>
                <a:gd name="connsiteX92" fmla="*/ 33786 w 257917"/>
                <a:gd name="connsiteY92" fmla="*/ 375067 h 444398"/>
                <a:gd name="connsiteX93" fmla="*/ 26328 w 257917"/>
                <a:gd name="connsiteY93" fmla="*/ 373429 h 444398"/>
                <a:gd name="connsiteX94" fmla="*/ 19012 w 257917"/>
                <a:gd name="connsiteY94" fmla="*/ 373210 h 444398"/>
                <a:gd name="connsiteX95" fmla="*/ 13402 w 257917"/>
                <a:gd name="connsiteY95" fmla="*/ 383325 h 444398"/>
                <a:gd name="connsiteX96" fmla="*/ 19822 w 257917"/>
                <a:gd name="connsiteY96" fmla="*/ 389917 h 444398"/>
                <a:gd name="connsiteX97" fmla="*/ 22747 w 257917"/>
                <a:gd name="connsiteY97" fmla="*/ 395479 h 444398"/>
                <a:gd name="connsiteX98" fmla="*/ 28576 w 257917"/>
                <a:gd name="connsiteY98" fmla="*/ 400985 h 444398"/>
                <a:gd name="connsiteX99" fmla="*/ 36500 w 257917"/>
                <a:gd name="connsiteY99" fmla="*/ 406576 h 444398"/>
                <a:gd name="connsiteX100" fmla="*/ 42759 w 257917"/>
                <a:gd name="connsiteY100" fmla="*/ 412120 h 444398"/>
                <a:gd name="connsiteX101" fmla="*/ 50798 w 257917"/>
                <a:gd name="connsiteY101" fmla="*/ 432779 h 444398"/>
                <a:gd name="connsiteX102" fmla="*/ 53207 w 257917"/>
                <a:gd name="connsiteY102" fmla="*/ 439885 h 444398"/>
                <a:gd name="connsiteX103" fmla="*/ 59361 w 257917"/>
                <a:gd name="connsiteY103" fmla="*/ 444304 h 44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57917" h="444398">
                  <a:moveTo>
                    <a:pt x="59361" y="444304"/>
                  </a:moveTo>
                  <a:lnTo>
                    <a:pt x="68133" y="439894"/>
                  </a:lnTo>
                  <a:lnTo>
                    <a:pt x="73886" y="437589"/>
                  </a:lnTo>
                  <a:lnTo>
                    <a:pt x="78630" y="431931"/>
                  </a:lnTo>
                  <a:lnTo>
                    <a:pt x="81001" y="438789"/>
                  </a:lnTo>
                  <a:lnTo>
                    <a:pt x="90860" y="437132"/>
                  </a:lnTo>
                  <a:lnTo>
                    <a:pt x="105252" y="429179"/>
                  </a:lnTo>
                  <a:lnTo>
                    <a:pt x="113977" y="428788"/>
                  </a:lnTo>
                  <a:lnTo>
                    <a:pt x="128636" y="427321"/>
                  </a:lnTo>
                  <a:lnTo>
                    <a:pt x="136341" y="417692"/>
                  </a:lnTo>
                  <a:lnTo>
                    <a:pt x="139342" y="412196"/>
                  </a:lnTo>
                  <a:lnTo>
                    <a:pt x="134627" y="404423"/>
                  </a:lnTo>
                  <a:lnTo>
                    <a:pt x="160183" y="399861"/>
                  </a:lnTo>
                  <a:lnTo>
                    <a:pt x="165345" y="396832"/>
                  </a:lnTo>
                  <a:lnTo>
                    <a:pt x="171975" y="398022"/>
                  </a:lnTo>
                  <a:lnTo>
                    <a:pt x="176109" y="392098"/>
                  </a:lnTo>
                  <a:lnTo>
                    <a:pt x="181719" y="389983"/>
                  </a:lnTo>
                  <a:lnTo>
                    <a:pt x="186262" y="384497"/>
                  </a:lnTo>
                  <a:lnTo>
                    <a:pt x="190082" y="378830"/>
                  </a:lnTo>
                  <a:lnTo>
                    <a:pt x="193701" y="373915"/>
                  </a:lnTo>
                  <a:lnTo>
                    <a:pt x="200017" y="367733"/>
                  </a:lnTo>
                  <a:lnTo>
                    <a:pt x="205408" y="362246"/>
                  </a:lnTo>
                  <a:lnTo>
                    <a:pt x="211580" y="352969"/>
                  </a:lnTo>
                  <a:lnTo>
                    <a:pt x="217523" y="347988"/>
                  </a:lnTo>
                  <a:lnTo>
                    <a:pt x="223105" y="345501"/>
                  </a:lnTo>
                  <a:lnTo>
                    <a:pt x="233040" y="347740"/>
                  </a:lnTo>
                  <a:lnTo>
                    <a:pt x="235316" y="340006"/>
                  </a:lnTo>
                  <a:lnTo>
                    <a:pt x="230744" y="334367"/>
                  </a:lnTo>
                  <a:lnTo>
                    <a:pt x="225372" y="328909"/>
                  </a:lnTo>
                  <a:lnTo>
                    <a:pt x="225981" y="317812"/>
                  </a:lnTo>
                  <a:lnTo>
                    <a:pt x="222695" y="312259"/>
                  </a:lnTo>
                  <a:lnTo>
                    <a:pt x="219657" y="305497"/>
                  </a:lnTo>
                  <a:lnTo>
                    <a:pt x="215313" y="296962"/>
                  </a:lnTo>
                  <a:lnTo>
                    <a:pt x="208960" y="300105"/>
                  </a:lnTo>
                  <a:lnTo>
                    <a:pt x="207941" y="290057"/>
                  </a:lnTo>
                  <a:lnTo>
                    <a:pt x="213780" y="284485"/>
                  </a:lnTo>
                  <a:lnTo>
                    <a:pt x="216732" y="278950"/>
                  </a:lnTo>
                  <a:lnTo>
                    <a:pt x="214037" y="273531"/>
                  </a:lnTo>
                  <a:lnTo>
                    <a:pt x="215361" y="263701"/>
                  </a:lnTo>
                  <a:lnTo>
                    <a:pt x="221905" y="259272"/>
                  </a:lnTo>
                  <a:lnTo>
                    <a:pt x="220352" y="251995"/>
                  </a:lnTo>
                  <a:lnTo>
                    <a:pt x="219867" y="245632"/>
                  </a:lnTo>
                  <a:lnTo>
                    <a:pt x="226982" y="243165"/>
                  </a:lnTo>
                  <a:lnTo>
                    <a:pt x="228449" y="234507"/>
                  </a:lnTo>
                  <a:lnTo>
                    <a:pt x="233001" y="229030"/>
                  </a:lnTo>
                  <a:lnTo>
                    <a:pt x="231239" y="220762"/>
                  </a:lnTo>
                  <a:lnTo>
                    <a:pt x="235773" y="214638"/>
                  </a:lnTo>
                  <a:lnTo>
                    <a:pt x="242821" y="215114"/>
                  </a:lnTo>
                  <a:lnTo>
                    <a:pt x="257652" y="215123"/>
                  </a:lnTo>
                  <a:lnTo>
                    <a:pt x="254118" y="109567"/>
                  </a:lnTo>
                  <a:lnTo>
                    <a:pt x="231106" y="95737"/>
                  </a:lnTo>
                  <a:lnTo>
                    <a:pt x="216695" y="87260"/>
                  </a:lnTo>
                  <a:lnTo>
                    <a:pt x="193015" y="73544"/>
                  </a:lnTo>
                  <a:lnTo>
                    <a:pt x="173765" y="62533"/>
                  </a:lnTo>
                  <a:lnTo>
                    <a:pt x="153839" y="51303"/>
                  </a:lnTo>
                  <a:lnTo>
                    <a:pt x="124721" y="35168"/>
                  </a:lnTo>
                  <a:lnTo>
                    <a:pt x="108281" y="26300"/>
                  </a:lnTo>
                  <a:lnTo>
                    <a:pt x="55646" y="-94"/>
                  </a:lnTo>
                  <a:lnTo>
                    <a:pt x="31643" y="12384"/>
                  </a:lnTo>
                  <a:lnTo>
                    <a:pt x="34377" y="26300"/>
                  </a:lnTo>
                  <a:lnTo>
                    <a:pt x="37072" y="40073"/>
                  </a:lnTo>
                  <a:lnTo>
                    <a:pt x="37643" y="54170"/>
                  </a:lnTo>
                  <a:lnTo>
                    <a:pt x="48378" y="69172"/>
                  </a:lnTo>
                  <a:lnTo>
                    <a:pt x="51778" y="78754"/>
                  </a:lnTo>
                  <a:lnTo>
                    <a:pt x="57837" y="85888"/>
                  </a:lnTo>
                  <a:lnTo>
                    <a:pt x="52198" y="97566"/>
                  </a:lnTo>
                  <a:lnTo>
                    <a:pt x="49197" y="129494"/>
                  </a:lnTo>
                  <a:lnTo>
                    <a:pt x="48159" y="167832"/>
                  </a:lnTo>
                  <a:lnTo>
                    <a:pt x="47435" y="182434"/>
                  </a:lnTo>
                  <a:lnTo>
                    <a:pt x="32338" y="200788"/>
                  </a:lnTo>
                  <a:lnTo>
                    <a:pt x="22737" y="212266"/>
                  </a:lnTo>
                  <a:lnTo>
                    <a:pt x="19051" y="217314"/>
                  </a:lnTo>
                  <a:lnTo>
                    <a:pt x="12012" y="228792"/>
                  </a:lnTo>
                  <a:lnTo>
                    <a:pt x="8354" y="234221"/>
                  </a:lnTo>
                  <a:lnTo>
                    <a:pt x="7440" y="242203"/>
                  </a:lnTo>
                  <a:lnTo>
                    <a:pt x="-266" y="249070"/>
                  </a:lnTo>
                  <a:lnTo>
                    <a:pt x="3468" y="270340"/>
                  </a:lnTo>
                  <a:lnTo>
                    <a:pt x="14793" y="287685"/>
                  </a:lnTo>
                  <a:lnTo>
                    <a:pt x="24261" y="287685"/>
                  </a:lnTo>
                  <a:lnTo>
                    <a:pt x="26938" y="293143"/>
                  </a:lnTo>
                  <a:lnTo>
                    <a:pt x="33671" y="301020"/>
                  </a:lnTo>
                  <a:lnTo>
                    <a:pt x="35148" y="312183"/>
                  </a:lnTo>
                  <a:lnTo>
                    <a:pt x="39977" y="317746"/>
                  </a:lnTo>
                  <a:lnTo>
                    <a:pt x="39548" y="325756"/>
                  </a:lnTo>
                  <a:lnTo>
                    <a:pt x="39472" y="334405"/>
                  </a:lnTo>
                  <a:lnTo>
                    <a:pt x="40949" y="343025"/>
                  </a:lnTo>
                  <a:lnTo>
                    <a:pt x="39996" y="350407"/>
                  </a:lnTo>
                  <a:lnTo>
                    <a:pt x="42130" y="356589"/>
                  </a:lnTo>
                  <a:lnTo>
                    <a:pt x="45454" y="362132"/>
                  </a:lnTo>
                  <a:lnTo>
                    <a:pt x="49369" y="367695"/>
                  </a:lnTo>
                  <a:lnTo>
                    <a:pt x="55474" y="373057"/>
                  </a:lnTo>
                  <a:lnTo>
                    <a:pt x="48931" y="375115"/>
                  </a:lnTo>
                  <a:lnTo>
                    <a:pt x="33786" y="375067"/>
                  </a:lnTo>
                  <a:lnTo>
                    <a:pt x="26328" y="373429"/>
                  </a:lnTo>
                  <a:lnTo>
                    <a:pt x="19012" y="373210"/>
                  </a:lnTo>
                  <a:lnTo>
                    <a:pt x="13402" y="383325"/>
                  </a:lnTo>
                  <a:lnTo>
                    <a:pt x="19822" y="389917"/>
                  </a:lnTo>
                  <a:lnTo>
                    <a:pt x="22747" y="395479"/>
                  </a:lnTo>
                  <a:lnTo>
                    <a:pt x="28576" y="400985"/>
                  </a:lnTo>
                  <a:lnTo>
                    <a:pt x="36500" y="406576"/>
                  </a:lnTo>
                  <a:lnTo>
                    <a:pt x="42759" y="412120"/>
                  </a:lnTo>
                  <a:lnTo>
                    <a:pt x="50798" y="432779"/>
                  </a:lnTo>
                  <a:lnTo>
                    <a:pt x="53207" y="439885"/>
                  </a:lnTo>
                  <a:lnTo>
                    <a:pt x="59361" y="444304"/>
                  </a:lnTo>
                  <a:close/>
                </a:path>
              </a:pathLst>
            </a:custGeom>
            <a:solidFill>
              <a:srgbClr val="FFC00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64" name="Freeform: Shape 63">
              <a:extLst>
                <a:ext uri="{FF2B5EF4-FFF2-40B4-BE49-F238E27FC236}">
                  <a16:creationId xmlns:a16="http://schemas.microsoft.com/office/drawing/2014/main" id="{EE96E333-0221-FD92-7C91-9978AD686A3A}"/>
                </a:ext>
              </a:extLst>
            </p:cNvPr>
            <p:cNvSpPr/>
            <p:nvPr/>
          </p:nvSpPr>
          <p:spPr>
            <a:xfrm>
              <a:off x="5741049" y="2120550"/>
              <a:ext cx="532389" cy="693006"/>
            </a:xfrm>
            <a:custGeom>
              <a:avLst/>
              <a:gdLst>
                <a:gd name="connsiteX0" fmla="*/ 21756 w 186804"/>
                <a:gd name="connsiteY0" fmla="*/ 242898 h 242992"/>
                <a:gd name="connsiteX1" fmla="*/ 26566 w 186804"/>
                <a:gd name="connsiteY1" fmla="*/ 236145 h 242992"/>
                <a:gd name="connsiteX2" fmla="*/ 31138 w 186804"/>
                <a:gd name="connsiteY2" fmla="*/ 230954 h 242992"/>
                <a:gd name="connsiteX3" fmla="*/ 37396 w 186804"/>
                <a:gd name="connsiteY3" fmla="*/ 229611 h 242992"/>
                <a:gd name="connsiteX4" fmla="*/ 40358 w 186804"/>
                <a:gd name="connsiteY4" fmla="*/ 223601 h 242992"/>
                <a:gd name="connsiteX5" fmla="*/ 47102 w 186804"/>
                <a:gd name="connsiteY5" fmla="*/ 230545 h 242992"/>
                <a:gd name="connsiteX6" fmla="*/ 53017 w 186804"/>
                <a:gd name="connsiteY6" fmla="*/ 235059 h 242992"/>
                <a:gd name="connsiteX7" fmla="*/ 59065 w 186804"/>
                <a:gd name="connsiteY7" fmla="*/ 234754 h 242992"/>
                <a:gd name="connsiteX8" fmla="*/ 64161 w 186804"/>
                <a:gd name="connsiteY8" fmla="*/ 230754 h 242992"/>
                <a:gd name="connsiteX9" fmla="*/ 72657 w 186804"/>
                <a:gd name="connsiteY9" fmla="*/ 225325 h 242992"/>
                <a:gd name="connsiteX10" fmla="*/ 81001 w 186804"/>
                <a:gd name="connsiteY10" fmla="*/ 221734 h 242992"/>
                <a:gd name="connsiteX11" fmla="*/ 81878 w 186804"/>
                <a:gd name="connsiteY11" fmla="*/ 228192 h 242992"/>
                <a:gd name="connsiteX12" fmla="*/ 80983 w 186804"/>
                <a:gd name="connsiteY12" fmla="*/ 236183 h 242992"/>
                <a:gd name="connsiteX13" fmla="*/ 87231 w 186804"/>
                <a:gd name="connsiteY13" fmla="*/ 239603 h 242992"/>
                <a:gd name="connsiteX14" fmla="*/ 93413 w 186804"/>
                <a:gd name="connsiteY14" fmla="*/ 233107 h 242992"/>
                <a:gd name="connsiteX15" fmla="*/ 99375 w 186804"/>
                <a:gd name="connsiteY15" fmla="*/ 225830 h 242992"/>
                <a:gd name="connsiteX16" fmla="*/ 104128 w 186804"/>
                <a:gd name="connsiteY16" fmla="*/ 221477 h 242992"/>
                <a:gd name="connsiteX17" fmla="*/ 108833 w 186804"/>
                <a:gd name="connsiteY17" fmla="*/ 216171 h 242992"/>
                <a:gd name="connsiteX18" fmla="*/ 118025 w 186804"/>
                <a:gd name="connsiteY18" fmla="*/ 212742 h 242992"/>
                <a:gd name="connsiteX19" fmla="*/ 122283 w 186804"/>
                <a:gd name="connsiteY19" fmla="*/ 202941 h 242992"/>
                <a:gd name="connsiteX20" fmla="*/ 125188 w 186804"/>
                <a:gd name="connsiteY20" fmla="*/ 197597 h 242992"/>
                <a:gd name="connsiteX21" fmla="*/ 125873 w 186804"/>
                <a:gd name="connsiteY21" fmla="*/ 181043 h 242992"/>
                <a:gd name="connsiteX22" fmla="*/ 125721 w 186804"/>
                <a:gd name="connsiteY22" fmla="*/ 169699 h 242992"/>
                <a:gd name="connsiteX23" fmla="*/ 126950 w 186804"/>
                <a:gd name="connsiteY23" fmla="*/ 161822 h 242992"/>
                <a:gd name="connsiteX24" fmla="*/ 135161 w 186804"/>
                <a:gd name="connsiteY24" fmla="*/ 152982 h 242992"/>
                <a:gd name="connsiteX25" fmla="*/ 137761 w 186804"/>
                <a:gd name="connsiteY25" fmla="*/ 147496 h 242992"/>
                <a:gd name="connsiteX26" fmla="*/ 142914 w 186804"/>
                <a:gd name="connsiteY26" fmla="*/ 137409 h 242992"/>
                <a:gd name="connsiteX27" fmla="*/ 149077 w 186804"/>
                <a:gd name="connsiteY27" fmla="*/ 132628 h 242992"/>
                <a:gd name="connsiteX28" fmla="*/ 157287 w 186804"/>
                <a:gd name="connsiteY28" fmla="*/ 126608 h 242992"/>
                <a:gd name="connsiteX29" fmla="*/ 162907 w 186804"/>
                <a:gd name="connsiteY29" fmla="*/ 119921 h 242992"/>
                <a:gd name="connsiteX30" fmla="*/ 162764 w 186804"/>
                <a:gd name="connsiteY30" fmla="*/ 108596 h 242992"/>
                <a:gd name="connsiteX31" fmla="*/ 164764 w 186804"/>
                <a:gd name="connsiteY31" fmla="*/ 102976 h 242992"/>
                <a:gd name="connsiteX32" fmla="*/ 166574 w 186804"/>
                <a:gd name="connsiteY32" fmla="*/ 96499 h 242992"/>
                <a:gd name="connsiteX33" fmla="*/ 170022 w 186804"/>
                <a:gd name="connsiteY33" fmla="*/ 89460 h 242992"/>
                <a:gd name="connsiteX34" fmla="*/ 168088 w 186804"/>
                <a:gd name="connsiteY34" fmla="*/ 80859 h 242992"/>
                <a:gd name="connsiteX35" fmla="*/ 169384 w 186804"/>
                <a:gd name="connsiteY35" fmla="*/ 69829 h 242992"/>
                <a:gd name="connsiteX36" fmla="*/ 172613 w 186804"/>
                <a:gd name="connsiteY36" fmla="*/ 60542 h 242992"/>
                <a:gd name="connsiteX37" fmla="*/ 172479 w 186804"/>
                <a:gd name="connsiteY37" fmla="*/ 53075 h 242992"/>
                <a:gd name="connsiteX38" fmla="*/ 173146 w 186804"/>
                <a:gd name="connsiteY38" fmla="*/ 41978 h 242992"/>
                <a:gd name="connsiteX39" fmla="*/ 176013 w 186804"/>
                <a:gd name="connsiteY39" fmla="*/ 36425 h 242992"/>
                <a:gd name="connsiteX40" fmla="*/ 178966 w 186804"/>
                <a:gd name="connsiteY40" fmla="*/ 30881 h 242992"/>
                <a:gd name="connsiteX41" fmla="*/ 183405 w 186804"/>
                <a:gd name="connsiteY41" fmla="*/ 19804 h 242992"/>
                <a:gd name="connsiteX42" fmla="*/ 186538 w 186804"/>
                <a:gd name="connsiteY42" fmla="*/ 14155 h 242992"/>
                <a:gd name="connsiteX43" fmla="*/ 186167 w 186804"/>
                <a:gd name="connsiteY43" fmla="*/ 6621 h 242992"/>
                <a:gd name="connsiteX44" fmla="*/ 182404 w 186804"/>
                <a:gd name="connsiteY44" fmla="*/ 1868 h 242992"/>
                <a:gd name="connsiteX45" fmla="*/ 176423 w 186804"/>
                <a:gd name="connsiteY45" fmla="*/ 5840 h 242992"/>
                <a:gd name="connsiteX46" fmla="*/ 170327 w 186804"/>
                <a:gd name="connsiteY46" fmla="*/ 4735 h 242992"/>
                <a:gd name="connsiteX47" fmla="*/ 164269 w 186804"/>
                <a:gd name="connsiteY47" fmla="*/ 2021 h 242992"/>
                <a:gd name="connsiteX48" fmla="*/ 157544 w 186804"/>
                <a:gd name="connsiteY48" fmla="*/ -94 h 242992"/>
                <a:gd name="connsiteX49" fmla="*/ 151696 w 186804"/>
                <a:gd name="connsiteY49" fmla="*/ 3421 h 242992"/>
                <a:gd name="connsiteX50" fmla="*/ 145448 w 186804"/>
                <a:gd name="connsiteY50" fmla="*/ 4840 h 242992"/>
                <a:gd name="connsiteX51" fmla="*/ 137294 w 186804"/>
                <a:gd name="connsiteY51" fmla="*/ 4897 h 242992"/>
                <a:gd name="connsiteX52" fmla="*/ 133494 w 186804"/>
                <a:gd name="connsiteY52" fmla="*/ 14079 h 242992"/>
                <a:gd name="connsiteX53" fmla="*/ 132560 w 186804"/>
                <a:gd name="connsiteY53" fmla="*/ 22023 h 242992"/>
                <a:gd name="connsiteX54" fmla="*/ 125540 w 186804"/>
                <a:gd name="connsiteY54" fmla="*/ 41883 h 242992"/>
                <a:gd name="connsiteX55" fmla="*/ 122368 w 186804"/>
                <a:gd name="connsiteY55" fmla="*/ 47369 h 242992"/>
                <a:gd name="connsiteX56" fmla="*/ 124473 w 186804"/>
                <a:gd name="connsiteY56" fmla="*/ 52960 h 242992"/>
                <a:gd name="connsiteX57" fmla="*/ 118063 w 186804"/>
                <a:gd name="connsiteY57" fmla="*/ 53027 h 242992"/>
                <a:gd name="connsiteX58" fmla="*/ 108281 w 186804"/>
                <a:gd name="connsiteY58" fmla="*/ 47912 h 242992"/>
                <a:gd name="connsiteX59" fmla="*/ 102347 w 186804"/>
                <a:gd name="connsiteY59" fmla="*/ 46636 h 242992"/>
                <a:gd name="connsiteX60" fmla="*/ 95784 w 186804"/>
                <a:gd name="connsiteY60" fmla="*/ 46436 h 242992"/>
                <a:gd name="connsiteX61" fmla="*/ 89622 w 186804"/>
                <a:gd name="connsiteY61" fmla="*/ 44893 h 242992"/>
                <a:gd name="connsiteX62" fmla="*/ 82782 w 186804"/>
                <a:gd name="connsiteY62" fmla="*/ 43969 h 242992"/>
                <a:gd name="connsiteX63" fmla="*/ 53798 w 186804"/>
                <a:gd name="connsiteY63" fmla="*/ 42721 h 242992"/>
                <a:gd name="connsiteX64" fmla="*/ 50322 w 186804"/>
                <a:gd name="connsiteY64" fmla="*/ 50627 h 242992"/>
                <a:gd name="connsiteX65" fmla="*/ 50207 w 186804"/>
                <a:gd name="connsiteY65" fmla="*/ 58542 h 242992"/>
                <a:gd name="connsiteX66" fmla="*/ 52741 w 186804"/>
                <a:gd name="connsiteY66" fmla="*/ 64057 h 242992"/>
                <a:gd name="connsiteX67" fmla="*/ 58846 w 186804"/>
                <a:gd name="connsiteY67" fmla="*/ 67867 h 242992"/>
                <a:gd name="connsiteX68" fmla="*/ 64847 w 186804"/>
                <a:gd name="connsiteY68" fmla="*/ 64933 h 242992"/>
                <a:gd name="connsiteX69" fmla="*/ 70933 w 186804"/>
                <a:gd name="connsiteY69" fmla="*/ 63714 h 242992"/>
                <a:gd name="connsiteX70" fmla="*/ 77763 w 186804"/>
                <a:gd name="connsiteY70" fmla="*/ 65295 h 242992"/>
                <a:gd name="connsiteX71" fmla="*/ 82563 w 186804"/>
                <a:gd name="connsiteY71" fmla="*/ 75135 h 242992"/>
                <a:gd name="connsiteX72" fmla="*/ 80458 w 186804"/>
                <a:gd name="connsiteY72" fmla="*/ 83145 h 242992"/>
                <a:gd name="connsiteX73" fmla="*/ 74143 w 186804"/>
                <a:gd name="connsiteY73" fmla="*/ 86793 h 242992"/>
                <a:gd name="connsiteX74" fmla="*/ 68581 w 186804"/>
                <a:gd name="connsiteY74" fmla="*/ 95861 h 242992"/>
                <a:gd name="connsiteX75" fmla="*/ 70295 w 186804"/>
                <a:gd name="connsiteY75" fmla="*/ 102976 h 242992"/>
                <a:gd name="connsiteX76" fmla="*/ 69438 w 186804"/>
                <a:gd name="connsiteY76" fmla="*/ 109253 h 242992"/>
                <a:gd name="connsiteX77" fmla="*/ 76229 w 186804"/>
                <a:gd name="connsiteY77" fmla="*/ 112415 h 242992"/>
                <a:gd name="connsiteX78" fmla="*/ 82125 w 186804"/>
                <a:gd name="connsiteY78" fmla="*/ 115454 h 242992"/>
                <a:gd name="connsiteX79" fmla="*/ 83278 w 186804"/>
                <a:gd name="connsiteY79" fmla="*/ 122960 h 242992"/>
                <a:gd name="connsiteX80" fmla="*/ 81982 w 186804"/>
                <a:gd name="connsiteY80" fmla="*/ 130722 h 242992"/>
                <a:gd name="connsiteX81" fmla="*/ 83345 w 186804"/>
                <a:gd name="connsiteY81" fmla="*/ 138466 h 242992"/>
                <a:gd name="connsiteX82" fmla="*/ 82678 w 186804"/>
                <a:gd name="connsiteY82" fmla="*/ 144391 h 242992"/>
                <a:gd name="connsiteX83" fmla="*/ 81716 w 186804"/>
                <a:gd name="connsiteY83" fmla="*/ 151563 h 242992"/>
                <a:gd name="connsiteX84" fmla="*/ 77925 w 186804"/>
                <a:gd name="connsiteY84" fmla="*/ 157545 h 242992"/>
                <a:gd name="connsiteX85" fmla="*/ 76639 w 186804"/>
                <a:gd name="connsiteY85" fmla="*/ 163993 h 242992"/>
                <a:gd name="connsiteX86" fmla="*/ 73972 w 186804"/>
                <a:gd name="connsiteY86" fmla="*/ 172261 h 242992"/>
                <a:gd name="connsiteX87" fmla="*/ 67980 w 186804"/>
                <a:gd name="connsiteY87" fmla="*/ 170099 h 242992"/>
                <a:gd name="connsiteX88" fmla="*/ 65542 w 186804"/>
                <a:gd name="connsiteY88" fmla="*/ 160974 h 242992"/>
                <a:gd name="connsiteX89" fmla="*/ 61827 w 186804"/>
                <a:gd name="connsiteY89" fmla="*/ 167422 h 242992"/>
                <a:gd name="connsiteX90" fmla="*/ 54512 w 186804"/>
                <a:gd name="connsiteY90" fmla="*/ 169623 h 242992"/>
                <a:gd name="connsiteX91" fmla="*/ 47483 w 186804"/>
                <a:gd name="connsiteY91" fmla="*/ 167584 h 242992"/>
                <a:gd name="connsiteX92" fmla="*/ 43997 w 186804"/>
                <a:gd name="connsiteY92" fmla="*/ 160555 h 242992"/>
                <a:gd name="connsiteX93" fmla="*/ 37949 w 186804"/>
                <a:gd name="connsiteY93" fmla="*/ 153640 h 242992"/>
                <a:gd name="connsiteX94" fmla="*/ 32862 w 186804"/>
                <a:gd name="connsiteY94" fmla="*/ 158478 h 242992"/>
                <a:gd name="connsiteX95" fmla="*/ 33471 w 186804"/>
                <a:gd name="connsiteY95" fmla="*/ 167575 h 242992"/>
                <a:gd name="connsiteX96" fmla="*/ 25337 w 186804"/>
                <a:gd name="connsiteY96" fmla="*/ 169461 h 242992"/>
                <a:gd name="connsiteX97" fmla="*/ 15803 w 186804"/>
                <a:gd name="connsiteY97" fmla="*/ 169565 h 242992"/>
                <a:gd name="connsiteX98" fmla="*/ 12698 w 186804"/>
                <a:gd name="connsiteY98" fmla="*/ 175071 h 242992"/>
                <a:gd name="connsiteX99" fmla="*/ 10269 w 186804"/>
                <a:gd name="connsiteY99" fmla="*/ 180529 h 242992"/>
                <a:gd name="connsiteX100" fmla="*/ 16384 w 186804"/>
                <a:gd name="connsiteY100" fmla="*/ 186168 h 242992"/>
                <a:gd name="connsiteX101" fmla="*/ 18298 w 186804"/>
                <a:gd name="connsiteY101" fmla="*/ 193902 h 242992"/>
                <a:gd name="connsiteX102" fmla="*/ 17498 w 186804"/>
                <a:gd name="connsiteY102" fmla="*/ 201684 h 242992"/>
                <a:gd name="connsiteX103" fmla="*/ 11231 w 186804"/>
                <a:gd name="connsiteY103" fmla="*/ 201188 h 242992"/>
                <a:gd name="connsiteX104" fmla="*/ 2839 w 186804"/>
                <a:gd name="connsiteY104" fmla="*/ 205017 h 242992"/>
                <a:gd name="connsiteX105" fmla="*/ -266 w 186804"/>
                <a:gd name="connsiteY105" fmla="*/ 212390 h 242992"/>
                <a:gd name="connsiteX106" fmla="*/ 5811 w 186804"/>
                <a:gd name="connsiteY106" fmla="*/ 217952 h 242992"/>
                <a:gd name="connsiteX107" fmla="*/ 11812 w 186804"/>
                <a:gd name="connsiteY107" fmla="*/ 224953 h 242992"/>
                <a:gd name="connsiteX108" fmla="*/ 16879 w 186804"/>
                <a:gd name="connsiteY108" fmla="*/ 230478 h 242992"/>
                <a:gd name="connsiteX109" fmla="*/ 21098 w 186804"/>
                <a:gd name="connsiteY109" fmla="*/ 241765 h 24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86804" h="242992">
                  <a:moveTo>
                    <a:pt x="21756" y="242898"/>
                  </a:moveTo>
                  <a:lnTo>
                    <a:pt x="26566" y="236145"/>
                  </a:lnTo>
                  <a:lnTo>
                    <a:pt x="31138" y="230954"/>
                  </a:lnTo>
                  <a:lnTo>
                    <a:pt x="37396" y="229611"/>
                  </a:lnTo>
                  <a:lnTo>
                    <a:pt x="40358" y="223601"/>
                  </a:lnTo>
                  <a:lnTo>
                    <a:pt x="47102" y="230545"/>
                  </a:lnTo>
                  <a:lnTo>
                    <a:pt x="53017" y="235059"/>
                  </a:lnTo>
                  <a:lnTo>
                    <a:pt x="59065" y="234754"/>
                  </a:lnTo>
                  <a:lnTo>
                    <a:pt x="64161" y="230754"/>
                  </a:lnTo>
                  <a:lnTo>
                    <a:pt x="72657" y="225325"/>
                  </a:lnTo>
                  <a:lnTo>
                    <a:pt x="81001" y="221734"/>
                  </a:lnTo>
                  <a:lnTo>
                    <a:pt x="81878" y="228192"/>
                  </a:lnTo>
                  <a:lnTo>
                    <a:pt x="80983" y="236183"/>
                  </a:lnTo>
                  <a:lnTo>
                    <a:pt x="87231" y="239603"/>
                  </a:lnTo>
                  <a:lnTo>
                    <a:pt x="93413" y="233107"/>
                  </a:lnTo>
                  <a:lnTo>
                    <a:pt x="99375" y="225830"/>
                  </a:lnTo>
                  <a:lnTo>
                    <a:pt x="104128" y="221477"/>
                  </a:lnTo>
                  <a:lnTo>
                    <a:pt x="108833" y="216171"/>
                  </a:lnTo>
                  <a:lnTo>
                    <a:pt x="118025" y="212742"/>
                  </a:lnTo>
                  <a:lnTo>
                    <a:pt x="122283" y="202941"/>
                  </a:lnTo>
                  <a:lnTo>
                    <a:pt x="125188" y="197597"/>
                  </a:lnTo>
                  <a:lnTo>
                    <a:pt x="125873" y="181043"/>
                  </a:lnTo>
                  <a:lnTo>
                    <a:pt x="125721" y="169699"/>
                  </a:lnTo>
                  <a:lnTo>
                    <a:pt x="126950" y="161822"/>
                  </a:lnTo>
                  <a:lnTo>
                    <a:pt x="135161" y="152982"/>
                  </a:lnTo>
                  <a:lnTo>
                    <a:pt x="137761" y="147496"/>
                  </a:lnTo>
                  <a:lnTo>
                    <a:pt x="142914" y="137409"/>
                  </a:lnTo>
                  <a:lnTo>
                    <a:pt x="149077" y="132628"/>
                  </a:lnTo>
                  <a:lnTo>
                    <a:pt x="157287" y="126608"/>
                  </a:lnTo>
                  <a:lnTo>
                    <a:pt x="162907" y="119921"/>
                  </a:lnTo>
                  <a:lnTo>
                    <a:pt x="162764" y="108596"/>
                  </a:lnTo>
                  <a:lnTo>
                    <a:pt x="164764" y="102976"/>
                  </a:lnTo>
                  <a:lnTo>
                    <a:pt x="166574" y="96499"/>
                  </a:lnTo>
                  <a:lnTo>
                    <a:pt x="170022" y="89460"/>
                  </a:lnTo>
                  <a:lnTo>
                    <a:pt x="168088" y="80859"/>
                  </a:lnTo>
                  <a:lnTo>
                    <a:pt x="169384" y="69829"/>
                  </a:lnTo>
                  <a:lnTo>
                    <a:pt x="172613" y="60542"/>
                  </a:lnTo>
                  <a:lnTo>
                    <a:pt x="172479" y="53075"/>
                  </a:lnTo>
                  <a:lnTo>
                    <a:pt x="173146" y="41978"/>
                  </a:lnTo>
                  <a:lnTo>
                    <a:pt x="176013" y="36425"/>
                  </a:lnTo>
                  <a:lnTo>
                    <a:pt x="178966" y="30881"/>
                  </a:lnTo>
                  <a:lnTo>
                    <a:pt x="183405" y="19804"/>
                  </a:lnTo>
                  <a:lnTo>
                    <a:pt x="186538" y="14155"/>
                  </a:lnTo>
                  <a:lnTo>
                    <a:pt x="186167" y="6621"/>
                  </a:lnTo>
                  <a:lnTo>
                    <a:pt x="182404" y="1868"/>
                  </a:lnTo>
                  <a:lnTo>
                    <a:pt x="176423" y="5840"/>
                  </a:lnTo>
                  <a:lnTo>
                    <a:pt x="170327" y="4735"/>
                  </a:lnTo>
                  <a:lnTo>
                    <a:pt x="164269" y="2021"/>
                  </a:lnTo>
                  <a:lnTo>
                    <a:pt x="157544" y="-94"/>
                  </a:lnTo>
                  <a:lnTo>
                    <a:pt x="151696" y="3421"/>
                  </a:lnTo>
                  <a:lnTo>
                    <a:pt x="145448" y="4840"/>
                  </a:lnTo>
                  <a:lnTo>
                    <a:pt x="137294" y="4897"/>
                  </a:lnTo>
                  <a:lnTo>
                    <a:pt x="133494" y="14079"/>
                  </a:lnTo>
                  <a:lnTo>
                    <a:pt x="132560" y="22023"/>
                  </a:lnTo>
                  <a:lnTo>
                    <a:pt x="125540" y="41883"/>
                  </a:lnTo>
                  <a:lnTo>
                    <a:pt x="122368" y="47369"/>
                  </a:lnTo>
                  <a:lnTo>
                    <a:pt x="124473" y="52960"/>
                  </a:lnTo>
                  <a:lnTo>
                    <a:pt x="118063" y="53027"/>
                  </a:lnTo>
                  <a:lnTo>
                    <a:pt x="108281" y="47912"/>
                  </a:lnTo>
                  <a:lnTo>
                    <a:pt x="102347" y="46636"/>
                  </a:lnTo>
                  <a:lnTo>
                    <a:pt x="95784" y="46436"/>
                  </a:lnTo>
                  <a:lnTo>
                    <a:pt x="89622" y="44893"/>
                  </a:lnTo>
                  <a:lnTo>
                    <a:pt x="82782" y="43969"/>
                  </a:lnTo>
                  <a:lnTo>
                    <a:pt x="53798" y="42721"/>
                  </a:lnTo>
                  <a:lnTo>
                    <a:pt x="50322" y="50627"/>
                  </a:lnTo>
                  <a:lnTo>
                    <a:pt x="50207" y="58542"/>
                  </a:lnTo>
                  <a:lnTo>
                    <a:pt x="52741" y="64057"/>
                  </a:lnTo>
                  <a:lnTo>
                    <a:pt x="58846" y="67867"/>
                  </a:lnTo>
                  <a:lnTo>
                    <a:pt x="64847" y="64933"/>
                  </a:lnTo>
                  <a:lnTo>
                    <a:pt x="70933" y="63714"/>
                  </a:lnTo>
                  <a:lnTo>
                    <a:pt x="77763" y="65295"/>
                  </a:lnTo>
                  <a:lnTo>
                    <a:pt x="82563" y="75135"/>
                  </a:lnTo>
                  <a:lnTo>
                    <a:pt x="80458" y="83145"/>
                  </a:lnTo>
                  <a:lnTo>
                    <a:pt x="74143" y="86793"/>
                  </a:lnTo>
                  <a:lnTo>
                    <a:pt x="68581" y="95861"/>
                  </a:lnTo>
                  <a:lnTo>
                    <a:pt x="70295" y="102976"/>
                  </a:lnTo>
                  <a:lnTo>
                    <a:pt x="69438" y="109253"/>
                  </a:lnTo>
                  <a:lnTo>
                    <a:pt x="76229" y="112415"/>
                  </a:lnTo>
                  <a:lnTo>
                    <a:pt x="82125" y="115454"/>
                  </a:lnTo>
                  <a:lnTo>
                    <a:pt x="83278" y="122960"/>
                  </a:lnTo>
                  <a:lnTo>
                    <a:pt x="81982" y="130722"/>
                  </a:lnTo>
                  <a:lnTo>
                    <a:pt x="83345" y="138466"/>
                  </a:lnTo>
                  <a:lnTo>
                    <a:pt x="82678" y="144391"/>
                  </a:lnTo>
                  <a:lnTo>
                    <a:pt x="81716" y="151563"/>
                  </a:lnTo>
                  <a:lnTo>
                    <a:pt x="77925" y="157545"/>
                  </a:lnTo>
                  <a:lnTo>
                    <a:pt x="76639" y="163993"/>
                  </a:lnTo>
                  <a:lnTo>
                    <a:pt x="73972" y="172261"/>
                  </a:lnTo>
                  <a:lnTo>
                    <a:pt x="67980" y="170099"/>
                  </a:lnTo>
                  <a:lnTo>
                    <a:pt x="65542" y="160974"/>
                  </a:lnTo>
                  <a:lnTo>
                    <a:pt x="61827" y="167422"/>
                  </a:lnTo>
                  <a:lnTo>
                    <a:pt x="54512" y="169623"/>
                  </a:lnTo>
                  <a:lnTo>
                    <a:pt x="47483" y="167584"/>
                  </a:lnTo>
                  <a:lnTo>
                    <a:pt x="43997" y="160555"/>
                  </a:lnTo>
                  <a:lnTo>
                    <a:pt x="37949" y="153640"/>
                  </a:lnTo>
                  <a:lnTo>
                    <a:pt x="32862" y="158478"/>
                  </a:lnTo>
                  <a:lnTo>
                    <a:pt x="33471" y="167575"/>
                  </a:lnTo>
                  <a:lnTo>
                    <a:pt x="25337" y="169461"/>
                  </a:lnTo>
                  <a:lnTo>
                    <a:pt x="15803" y="169565"/>
                  </a:lnTo>
                  <a:lnTo>
                    <a:pt x="12698" y="175071"/>
                  </a:lnTo>
                  <a:lnTo>
                    <a:pt x="10269" y="180529"/>
                  </a:lnTo>
                  <a:lnTo>
                    <a:pt x="16384" y="186168"/>
                  </a:lnTo>
                  <a:lnTo>
                    <a:pt x="18298" y="193902"/>
                  </a:lnTo>
                  <a:lnTo>
                    <a:pt x="17498" y="201684"/>
                  </a:lnTo>
                  <a:lnTo>
                    <a:pt x="11231" y="201188"/>
                  </a:lnTo>
                  <a:lnTo>
                    <a:pt x="2839" y="205017"/>
                  </a:lnTo>
                  <a:lnTo>
                    <a:pt x="-266" y="212390"/>
                  </a:lnTo>
                  <a:lnTo>
                    <a:pt x="5811" y="217952"/>
                  </a:lnTo>
                  <a:lnTo>
                    <a:pt x="11812" y="224953"/>
                  </a:lnTo>
                  <a:lnTo>
                    <a:pt x="16879" y="230478"/>
                  </a:lnTo>
                  <a:lnTo>
                    <a:pt x="21098" y="241765"/>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65" name="Freeform: Shape 64">
              <a:extLst>
                <a:ext uri="{FF2B5EF4-FFF2-40B4-BE49-F238E27FC236}">
                  <a16:creationId xmlns:a16="http://schemas.microsoft.com/office/drawing/2014/main" id="{4A255319-0727-E63D-8DC9-2BA8352E586F}"/>
                </a:ext>
              </a:extLst>
            </p:cNvPr>
            <p:cNvSpPr/>
            <p:nvPr/>
          </p:nvSpPr>
          <p:spPr>
            <a:xfrm>
              <a:off x="5822026" y="1987631"/>
              <a:ext cx="1349348" cy="1492336"/>
            </a:xfrm>
            <a:custGeom>
              <a:avLst/>
              <a:gdLst>
                <a:gd name="connsiteX0" fmla="*/ 428206 w 473458"/>
                <a:gd name="connsiteY0" fmla="*/ 523171 h 523265"/>
                <a:gd name="connsiteX1" fmla="*/ 431397 w 473458"/>
                <a:gd name="connsiteY1" fmla="*/ 486852 h 523265"/>
                <a:gd name="connsiteX2" fmla="*/ 425235 w 473458"/>
                <a:gd name="connsiteY2" fmla="*/ 488167 h 523265"/>
                <a:gd name="connsiteX3" fmla="*/ 422901 w 473458"/>
                <a:gd name="connsiteY3" fmla="*/ 495444 h 523265"/>
                <a:gd name="connsiteX4" fmla="*/ 412166 w 473458"/>
                <a:gd name="connsiteY4" fmla="*/ 493339 h 523265"/>
                <a:gd name="connsiteX5" fmla="*/ 405575 w 473458"/>
                <a:gd name="connsiteY5" fmla="*/ 482719 h 523265"/>
                <a:gd name="connsiteX6" fmla="*/ 399031 w 473458"/>
                <a:gd name="connsiteY6" fmla="*/ 479451 h 523265"/>
                <a:gd name="connsiteX7" fmla="*/ 397698 w 473458"/>
                <a:gd name="connsiteY7" fmla="*/ 473041 h 523265"/>
                <a:gd name="connsiteX8" fmla="*/ 397793 w 473458"/>
                <a:gd name="connsiteY8" fmla="*/ 466126 h 523265"/>
                <a:gd name="connsiteX9" fmla="*/ 400165 w 473458"/>
                <a:gd name="connsiteY9" fmla="*/ 454953 h 523265"/>
                <a:gd name="connsiteX10" fmla="*/ 402727 w 473458"/>
                <a:gd name="connsiteY10" fmla="*/ 447286 h 523265"/>
                <a:gd name="connsiteX11" fmla="*/ 403413 w 473458"/>
                <a:gd name="connsiteY11" fmla="*/ 438380 h 523265"/>
                <a:gd name="connsiteX12" fmla="*/ 403632 w 473458"/>
                <a:gd name="connsiteY12" fmla="*/ 427188 h 523265"/>
                <a:gd name="connsiteX13" fmla="*/ 403641 w 473458"/>
                <a:gd name="connsiteY13" fmla="*/ 419339 h 523265"/>
                <a:gd name="connsiteX14" fmla="*/ 401460 w 473458"/>
                <a:gd name="connsiteY14" fmla="*/ 410519 h 523265"/>
                <a:gd name="connsiteX15" fmla="*/ 406851 w 473458"/>
                <a:gd name="connsiteY15" fmla="*/ 399403 h 523265"/>
                <a:gd name="connsiteX16" fmla="*/ 410709 w 473458"/>
                <a:gd name="connsiteY16" fmla="*/ 394231 h 523265"/>
                <a:gd name="connsiteX17" fmla="*/ 412633 w 473458"/>
                <a:gd name="connsiteY17" fmla="*/ 388421 h 523265"/>
                <a:gd name="connsiteX18" fmla="*/ 418157 w 473458"/>
                <a:gd name="connsiteY18" fmla="*/ 383716 h 523265"/>
                <a:gd name="connsiteX19" fmla="*/ 428778 w 473458"/>
                <a:gd name="connsiteY19" fmla="*/ 382744 h 523265"/>
                <a:gd name="connsiteX20" fmla="*/ 458029 w 473458"/>
                <a:gd name="connsiteY20" fmla="*/ 378372 h 523265"/>
                <a:gd name="connsiteX21" fmla="*/ 456267 w 473458"/>
                <a:gd name="connsiteY21" fmla="*/ 371648 h 523265"/>
                <a:gd name="connsiteX22" fmla="*/ 453581 w 473458"/>
                <a:gd name="connsiteY22" fmla="*/ 366104 h 523265"/>
                <a:gd name="connsiteX23" fmla="*/ 450438 w 473458"/>
                <a:gd name="connsiteY23" fmla="*/ 360608 h 523265"/>
                <a:gd name="connsiteX24" fmla="*/ 447637 w 473458"/>
                <a:gd name="connsiteY24" fmla="*/ 349464 h 523265"/>
                <a:gd name="connsiteX25" fmla="*/ 444466 w 473458"/>
                <a:gd name="connsiteY25" fmla="*/ 343911 h 523265"/>
                <a:gd name="connsiteX26" fmla="*/ 439208 w 473458"/>
                <a:gd name="connsiteY26" fmla="*/ 338339 h 523265"/>
                <a:gd name="connsiteX27" fmla="*/ 432283 w 473458"/>
                <a:gd name="connsiteY27" fmla="*/ 332881 h 523265"/>
                <a:gd name="connsiteX28" fmla="*/ 429940 w 473458"/>
                <a:gd name="connsiteY28" fmla="*/ 327318 h 523265"/>
                <a:gd name="connsiteX29" fmla="*/ 427121 w 473458"/>
                <a:gd name="connsiteY29" fmla="*/ 316260 h 523265"/>
                <a:gd name="connsiteX30" fmla="*/ 430130 w 473458"/>
                <a:gd name="connsiteY30" fmla="*/ 310602 h 523265"/>
                <a:gd name="connsiteX31" fmla="*/ 427997 w 473458"/>
                <a:gd name="connsiteY31" fmla="*/ 299486 h 523265"/>
                <a:gd name="connsiteX32" fmla="*/ 424396 w 473458"/>
                <a:gd name="connsiteY32" fmla="*/ 288523 h 523265"/>
                <a:gd name="connsiteX33" fmla="*/ 423710 w 473458"/>
                <a:gd name="connsiteY33" fmla="*/ 278703 h 523265"/>
                <a:gd name="connsiteX34" fmla="*/ 426225 w 473458"/>
                <a:gd name="connsiteY34" fmla="*/ 273073 h 523265"/>
                <a:gd name="connsiteX35" fmla="*/ 425625 w 473458"/>
                <a:gd name="connsiteY35" fmla="*/ 266368 h 523265"/>
                <a:gd name="connsiteX36" fmla="*/ 423530 w 473458"/>
                <a:gd name="connsiteY36" fmla="*/ 260662 h 523265"/>
                <a:gd name="connsiteX37" fmla="*/ 421748 w 473458"/>
                <a:gd name="connsiteY37" fmla="*/ 252747 h 523265"/>
                <a:gd name="connsiteX38" fmla="*/ 421205 w 473458"/>
                <a:gd name="connsiteY38" fmla="*/ 238421 h 523265"/>
                <a:gd name="connsiteX39" fmla="*/ 415757 w 473458"/>
                <a:gd name="connsiteY39" fmla="*/ 227306 h 523265"/>
                <a:gd name="connsiteX40" fmla="*/ 413242 w 473458"/>
                <a:gd name="connsiteY40" fmla="*/ 221762 h 523265"/>
                <a:gd name="connsiteX41" fmla="*/ 419386 w 473458"/>
                <a:gd name="connsiteY41" fmla="*/ 210675 h 523265"/>
                <a:gd name="connsiteX42" fmla="*/ 420139 w 473458"/>
                <a:gd name="connsiteY42" fmla="*/ 199588 h 523265"/>
                <a:gd name="connsiteX43" fmla="*/ 424987 w 473458"/>
                <a:gd name="connsiteY43" fmla="*/ 191463 h 523265"/>
                <a:gd name="connsiteX44" fmla="*/ 431150 w 473458"/>
                <a:gd name="connsiteY44" fmla="*/ 186177 h 523265"/>
                <a:gd name="connsiteX45" fmla="*/ 430645 w 473458"/>
                <a:gd name="connsiteY45" fmla="*/ 177509 h 523265"/>
                <a:gd name="connsiteX46" fmla="*/ 432379 w 473458"/>
                <a:gd name="connsiteY46" fmla="*/ 166231 h 523265"/>
                <a:gd name="connsiteX47" fmla="*/ 433950 w 473458"/>
                <a:gd name="connsiteY47" fmla="*/ 155678 h 523265"/>
                <a:gd name="connsiteX48" fmla="*/ 434426 w 473458"/>
                <a:gd name="connsiteY48" fmla="*/ 149582 h 523265"/>
                <a:gd name="connsiteX49" fmla="*/ 436883 w 473458"/>
                <a:gd name="connsiteY49" fmla="*/ 144086 h 523265"/>
                <a:gd name="connsiteX50" fmla="*/ 440570 w 473458"/>
                <a:gd name="connsiteY50" fmla="*/ 135247 h 523265"/>
                <a:gd name="connsiteX51" fmla="*/ 440312 w 473458"/>
                <a:gd name="connsiteY51" fmla="*/ 127379 h 523265"/>
                <a:gd name="connsiteX52" fmla="*/ 446761 w 473458"/>
                <a:gd name="connsiteY52" fmla="*/ 121826 h 523265"/>
                <a:gd name="connsiteX53" fmla="*/ 450104 w 473458"/>
                <a:gd name="connsiteY53" fmla="*/ 116263 h 523265"/>
                <a:gd name="connsiteX54" fmla="*/ 473193 w 473458"/>
                <a:gd name="connsiteY54" fmla="*/ 90832 h 523265"/>
                <a:gd name="connsiteX55" fmla="*/ 468669 w 473458"/>
                <a:gd name="connsiteY55" fmla="*/ 86726 h 523265"/>
                <a:gd name="connsiteX56" fmla="*/ 461667 w 473458"/>
                <a:gd name="connsiteY56" fmla="*/ 82973 h 523265"/>
                <a:gd name="connsiteX57" fmla="*/ 462296 w 473458"/>
                <a:gd name="connsiteY57" fmla="*/ 71867 h 523265"/>
                <a:gd name="connsiteX58" fmla="*/ 460277 w 473458"/>
                <a:gd name="connsiteY58" fmla="*/ 64390 h 523265"/>
                <a:gd name="connsiteX59" fmla="*/ 463744 w 473458"/>
                <a:gd name="connsiteY59" fmla="*/ 55208 h 523265"/>
                <a:gd name="connsiteX60" fmla="*/ 460468 w 473458"/>
                <a:gd name="connsiteY60" fmla="*/ 49665 h 523265"/>
                <a:gd name="connsiteX61" fmla="*/ 454391 w 473458"/>
                <a:gd name="connsiteY61" fmla="*/ 49102 h 523265"/>
                <a:gd name="connsiteX62" fmla="*/ 454086 w 473458"/>
                <a:gd name="connsiteY62" fmla="*/ 42911 h 523265"/>
                <a:gd name="connsiteX63" fmla="*/ 445799 w 473458"/>
                <a:gd name="connsiteY63" fmla="*/ 40425 h 523265"/>
                <a:gd name="connsiteX64" fmla="*/ 441837 w 473458"/>
                <a:gd name="connsiteY64" fmla="*/ 34901 h 523265"/>
                <a:gd name="connsiteX65" fmla="*/ 435302 w 473458"/>
                <a:gd name="connsiteY65" fmla="*/ 27452 h 523265"/>
                <a:gd name="connsiteX66" fmla="*/ 433140 w 473458"/>
                <a:gd name="connsiteY66" fmla="*/ 21909 h 523265"/>
                <a:gd name="connsiteX67" fmla="*/ 427740 w 473458"/>
                <a:gd name="connsiteY67" fmla="*/ 19203 h 523265"/>
                <a:gd name="connsiteX68" fmla="*/ 424073 w 473458"/>
                <a:gd name="connsiteY68" fmla="*/ 26909 h 523265"/>
                <a:gd name="connsiteX69" fmla="*/ 415900 w 473458"/>
                <a:gd name="connsiteY69" fmla="*/ 24795 h 523265"/>
                <a:gd name="connsiteX70" fmla="*/ 410118 w 473458"/>
                <a:gd name="connsiteY70" fmla="*/ 22909 h 523265"/>
                <a:gd name="connsiteX71" fmla="*/ 405394 w 473458"/>
                <a:gd name="connsiteY71" fmla="*/ 27347 h 523265"/>
                <a:gd name="connsiteX72" fmla="*/ 399346 w 473458"/>
                <a:gd name="connsiteY72" fmla="*/ 28681 h 523265"/>
                <a:gd name="connsiteX73" fmla="*/ 391487 w 473458"/>
                <a:gd name="connsiteY73" fmla="*/ 25319 h 523265"/>
                <a:gd name="connsiteX74" fmla="*/ 383972 w 473458"/>
                <a:gd name="connsiteY74" fmla="*/ 16384 h 523265"/>
                <a:gd name="connsiteX75" fmla="*/ 377048 w 473458"/>
                <a:gd name="connsiteY75" fmla="*/ 10831 h 523265"/>
                <a:gd name="connsiteX76" fmla="*/ 369285 w 473458"/>
                <a:gd name="connsiteY76" fmla="*/ 5249 h 523265"/>
                <a:gd name="connsiteX77" fmla="*/ 362341 w 473458"/>
                <a:gd name="connsiteY77" fmla="*/ 9802 h 523265"/>
                <a:gd name="connsiteX78" fmla="*/ 352778 w 473458"/>
                <a:gd name="connsiteY78" fmla="*/ 9469 h 523265"/>
                <a:gd name="connsiteX79" fmla="*/ 346901 w 473458"/>
                <a:gd name="connsiteY79" fmla="*/ 5240 h 523265"/>
                <a:gd name="connsiteX80" fmla="*/ 340014 w 473458"/>
                <a:gd name="connsiteY80" fmla="*/ 3935 h 523265"/>
                <a:gd name="connsiteX81" fmla="*/ 328966 w 473458"/>
                <a:gd name="connsiteY81" fmla="*/ -94 h 523265"/>
                <a:gd name="connsiteX82" fmla="*/ 323717 w 473458"/>
                <a:gd name="connsiteY82" fmla="*/ 5221 h 523265"/>
                <a:gd name="connsiteX83" fmla="*/ 320584 w 473458"/>
                <a:gd name="connsiteY83" fmla="*/ 10793 h 523265"/>
                <a:gd name="connsiteX84" fmla="*/ 310334 w 473458"/>
                <a:gd name="connsiteY84" fmla="*/ 13755 h 523265"/>
                <a:gd name="connsiteX85" fmla="*/ 300362 w 473458"/>
                <a:gd name="connsiteY85" fmla="*/ 7669 h 523265"/>
                <a:gd name="connsiteX86" fmla="*/ 290141 w 473458"/>
                <a:gd name="connsiteY86" fmla="*/ 14270 h 523265"/>
                <a:gd name="connsiteX87" fmla="*/ 280959 w 473458"/>
                <a:gd name="connsiteY87" fmla="*/ 17413 h 523265"/>
                <a:gd name="connsiteX88" fmla="*/ 276968 w 473458"/>
                <a:gd name="connsiteY88" fmla="*/ 21861 h 523265"/>
                <a:gd name="connsiteX89" fmla="*/ 266072 w 473458"/>
                <a:gd name="connsiteY89" fmla="*/ 16356 h 523265"/>
                <a:gd name="connsiteX90" fmla="*/ 259604 w 473458"/>
                <a:gd name="connsiteY90" fmla="*/ 21775 h 523265"/>
                <a:gd name="connsiteX91" fmla="*/ 255937 w 473458"/>
                <a:gd name="connsiteY91" fmla="*/ 27367 h 523265"/>
                <a:gd name="connsiteX92" fmla="*/ 253937 w 473458"/>
                <a:gd name="connsiteY92" fmla="*/ 33786 h 523265"/>
                <a:gd name="connsiteX93" fmla="*/ 247936 w 473458"/>
                <a:gd name="connsiteY93" fmla="*/ 35358 h 523265"/>
                <a:gd name="connsiteX94" fmla="*/ 234953 w 473458"/>
                <a:gd name="connsiteY94" fmla="*/ 29881 h 523265"/>
                <a:gd name="connsiteX95" fmla="*/ 223638 w 473458"/>
                <a:gd name="connsiteY95" fmla="*/ 28976 h 523265"/>
                <a:gd name="connsiteX96" fmla="*/ 213827 w 473458"/>
                <a:gd name="connsiteY96" fmla="*/ 25938 h 523265"/>
                <a:gd name="connsiteX97" fmla="*/ 206198 w 473458"/>
                <a:gd name="connsiteY97" fmla="*/ 27090 h 523265"/>
                <a:gd name="connsiteX98" fmla="*/ 200473 w 473458"/>
                <a:gd name="connsiteY98" fmla="*/ 17270 h 523265"/>
                <a:gd name="connsiteX99" fmla="*/ 189081 w 473458"/>
                <a:gd name="connsiteY99" fmla="*/ 10869 h 523265"/>
                <a:gd name="connsiteX100" fmla="*/ 179937 w 473458"/>
                <a:gd name="connsiteY100" fmla="*/ 6631 h 523265"/>
                <a:gd name="connsiteX101" fmla="*/ 172508 w 473458"/>
                <a:gd name="connsiteY101" fmla="*/ 10745 h 523265"/>
                <a:gd name="connsiteX102" fmla="*/ 167583 w 473458"/>
                <a:gd name="connsiteY102" fmla="*/ 16327 h 523265"/>
                <a:gd name="connsiteX103" fmla="*/ 163430 w 473458"/>
                <a:gd name="connsiteY103" fmla="*/ 21871 h 523265"/>
                <a:gd name="connsiteX104" fmla="*/ 161040 w 473458"/>
                <a:gd name="connsiteY104" fmla="*/ 27347 h 523265"/>
                <a:gd name="connsiteX105" fmla="*/ 156753 w 473458"/>
                <a:gd name="connsiteY105" fmla="*/ 32472 h 523265"/>
                <a:gd name="connsiteX106" fmla="*/ 158459 w 473458"/>
                <a:gd name="connsiteY106" fmla="*/ 38434 h 523265"/>
                <a:gd name="connsiteX107" fmla="*/ 157191 w 473458"/>
                <a:gd name="connsiteY107" fmla="*/ 49598 h 523265"/>
                <a:gd name="connsiteX108" fmla="*/ 158182 w 473458"/>
                <a:gd name="connsiteY108" fmla="*/ 60628 h 523265"/>
                <a:gd name="connsiteX109" fmla="*/ 155039 w 473458"/>
                <a:gd name="connsiteY109" fmla="*/ 66276 h 523265"/>
                <a:gd name="connsiteX110" fmla="*/ 150610 w 473458"/>
                <a:gd name="connsiteY110" fmla="*/ 77354 h 523265"/>
                <a:gd name="connsiteX111" fmla="*/ 147666 w 473458"/>
                <a:gd name="connsiteY111" fmla="*/ 82926 h 523265"/>
                <a:gd name="connsiteX112" fmla="*/ 144714 w 473458"/>
                <a:gd name="connsiteY112" fmla="*/ 88488 h 523265"/>
                <a:gd name="connsiteX113" fmla="*/ 144057 w 473458"/>
                <a:gd name="connsiteY113" fmla="*/ 99566 h 523265"/>
                <a:gd name="connsiteX114" fmla="*/ 142571 w 473458"/>
                <a:gd name="connsiteY114" fmla="*/ 110548 h 523265"/>
                <a:gd name="connsiteX115" fmla="*/ 138618 w 473458"/>
                <a:gd name="connsiteY115" fmla="*/ 121778 h 523265"/>
                <a:gd name="connsiteX116" fmla="*/ 139380 w 473458"/>
                <a:gd name="connsiteY116" fmla="*/ 132923 h 523265"/>
                <a:gd name="connsiteX117" fmla="*/ 137827 w 473458"/>
                <a:gd name="connsiteY117" fmla="*/ 144000 h 523265"/>
                <a:gd name="connsiteX118" fmla="*/ 134569 w 473458"/>
                <a:gd name="connsiteY118" fmla="*/ 154239 h 523265"/>
                <a:gd name="connsiteX119" fmla="*/ 134779 w 473458"/>
                <a:gd name="connsiteY119" fmla="*/ 165746 h 523265"/>
                <a:gd name="connsiteX120" fmla="*/ 129855 w 473458"/>
                <a:gd name="connsiteY120" fmla="*/ 171689 h 523265"/>
                <a:gd name="connsiteX121" fmla="*/ 126197 w 473458"/>
                <a:gd name="connsiteY121" fmla="*/ 177061 h 523265"/>
                <a:gd name="connsiteX122" fmla="*/ 115720 w 473458"/>
                <a:gd name="connsiteY122" fmla="*/ 182862 h 523265"/>
                <a:gd name="connsiteX123" fmla="*/ 111586 w 473458"/>
                <a:gd name="connsiteY123" fmla="*/ 188387 h 523265"/>
                <a:gd name="connsiteX124" fmla="*/ 109357 w 473458"/>
                <a:gd name="connsiteY124" fmla="*/ 193940 h 523265"/>
                <a:gd name="connsiteX125" fmla="*/ 102452 w 473458"/>
                <a:gd name="connsiteY125" fmla="*/ 205084 h 523265"/>
                <a:gd name="connsiteX126" fmla="*/ 97355 w 473458"/>
                <a:gd name="connsiteY126" fmla="*/ 210589 h 523265"/>
                <a:gd name="connsiteX127" fmla="*/ 98432 w 473458"/>
                <a:gd name="connsiteY127" fmla="*/ 221667 h 523265"/>
                <a:gd name="connsiteX128" fmla="*/ 97041 w 473458"/>
                <a:gd name="connsiteY128" fmla="*/ 243670 h 523265"/>
                <a:gd name="connsiteX129" fmla="*/ 91498 w 473458"/>
                <a:gd name="connsiteY129" fmla="*/ 254757 h 523265"/>
                <a:gd name="connsiteX130" fmla="*/ 84315 w 473458"/>
                <a:gd name="connsiteY130" fmla="*/ 260586 h 523265"/>
                <a:gd name="connsiteX131" fmla="*/ 79524 w 473458"/>
                <a:gd name="connsiteY131" fmla="*/ 266130 h 523265"/>
                <a:gd name="connsiteX132" fmla="*/ 72428 w 473458"/>
                <a:gd name="connsiteY132" fmla="*/ 269625 h 523265"/>
                <a:gd name="connsiteX133" fmla="*/ 67199 w 473458"/>
                <a:gd name="connsiteY133" fmla="*/ 277226 h 523265"/>
                <a:gd name="connsiteX134" fmla="*/ 63827 w 473458"/>
                <a:gd name="connsiteY134" fmla="*/ 282570 h 523265"/>
                <a:gd name="connsiteX135" fmla="*/ 58836 w 473458"/>
                <a:gd name="connsiteY135" fmla="*/ 286199 h 523265"/>
                <a:gd name="connsiteX136" fmla="*/ 52512 w 473458"/>
                <a:gd name="connsiteY136" fmla="*/ 282846 h 523265"/>
                <a:gd name="connsiteX137" fmla="*/ 51540 w 473458"/>
                <a:gd name="connsiteY137" fmla="*/ 275655 h 523265"/>
                <a:gd name="connsiteX138" fmla="*/ 52588 w 473458"/>
                <a:gd name="connsiteY138" fmla="*/ 268339 h 523265"/>
                <a:gd name="connsiteX139" fmla="*/ 46797 w 473458"/>
                <a:gd name="connsiteY139" fmla="*/ 271740 h 523265"/>
                <a:gd name="connsiteX140" fmla="*/ 41063 w 473458"/>
                <a:gd name="connsiteY140" fmla="*/ 274988 h 523265"/>
                <a:gd name="connsiteX141" fmla="*/ 35195 w 473458"/>
                <a:gd name="connsiteY141" fmla="*/ 281293 h 523265"/>
                <a:gd name="connsiteX142" fmla="*/ 28471 w 473458"/>
                <a:gd name="connsiteY142" fmla="*/ 286046 h 523265"/>
                <a:gd name="connsiteX143" fmla="*/ 21403 w 473458"/>
                <a:gd name="connsiteY143" fmla="*/ 277455 h 523265"/>
                <a:gd name="connsiteX144" fmla="*/ 13535 w 473458"/>
                <a:gd name="connsiteY144" fmla="*/ 282798 h 523265"/>
                <a:gd name="connsiteX145" fmla="*/ 8230 w 473458"/>
                <a:gd name="connsiteY145" fmla="*/ 288370 h 523265"/>
                <a:gd name="connsiteX146" fmla="*/ 5935 w 473458"/>
                <a:gd name="connsiteY146" fmla="*/ 308973 h 523265"/>
                <a:gd name="connsiteX147" fmla="*/ -266 w 473458"/>
                <a:gd name="connsiteY147" fmla="*/ 308964 h 523265"/>
                <a:gd name="connsiteX148" fmla="*/ 2553 w 473458"/>
                <a:gd name="connsiteY148" fmla="*/ 316107 h 523265"/>
                <a:gd name="connsiteX149" fmla="*/ 11230 w 473458"/>
                <a:gd name="connsiteY149" fmla="*/ 316136 h 523265"/>
                <a:gd name="connsiteX150" fmla="*/ 18450 w 473458"/>
                <a:gd name="connsiteY150" fmla="*/ 312392 h 523265"/>
                <a:gd name="connsiteX151" fmla="*/ 26404 w 473458"/>
                <a:gd name="connsiteY151" fmla="*/ 313602 h 523265"/>
                <a:gd name="connsiteX152" fmla="*/ 42444 w 473458"/>
                <a:gd name="connsiteY152" fmla="*/ 311316 h 523265"/>
                <a:gd name="connsiteX153" fmla="*/ 57226 w 473458"/>
                <a:gd name="connsiteY153" fmla="*/ 313478 h 523265"/>
                <a:gd name="connsiteX154" fmla="*/ 104328 w 473458"/>
                <a:gd name="connsiteY154" fmla="*/ 311802 h 523265"/>
                <a:gd name="connsiteX155" fmla="*/ 109795 w 473458"/>
                <a:gd name="connsiteY155" fmla="*/ 319813 h 523265"/>
                <a:gd name="connsiteX156" fmla="*/ 108805 w 473458"/>
                <a:gd name="connsiteY156" fmla="*/ 326737 h 523265"/>
                <a:gd name="connsiteX157" fmla="*/ 110633 w 473458"/>
                <a:gd name="connsiteY157" fmla="*/ 332681 h 523265"/>
                <a:gd name="connsiteX158" fmla="*/ 114434 w 473458"/>
                <a:gd name="connsiteY158" fmla="*/ 341463 h 523265"/>
                <a:gd name="connsiteX159" fmla="*/ 115405 w 473458"/>
                <a:gd name="connsiteY159" fmla="*/ 349369 h 523265"/>
                <a:gd name="connsiteX160" fmla="*/ 119215 w 473458"/>
                <a:gd name="connsiteY160" fmla="*/ 354979 h 523265"/>
                <a:gd name="connsiteX161" fmla="*/ 125845 w 473458"/>
                <a:gd name="connsiteY161" fmla="*/ 366085 h 523265"/>
                <a:gd name="connsiteX162" fmla="*/ 128264 w 473458"/>
                <a:gd name="connsiteY162" fmla="*/ 371590 h 523265"/>
                <a:gd name="connsiteX163" fmla="*/ 143685 w 473458"/>
                <a:gd name="connsiteY163" fmla="*/ 374315 h 523265"/>
                <a:gd name="connsiteX164" fmla="*/ 154296 w 473458"/>
                <a:gd name="connsiteY164" fmla="*/ 371648 h 523265"/>
                <a:gd name="connsiteX165" fmla="*/ 160192 w 473458"/>
                <a:gd name="connsiteY165" fmla="*/ 369238 h 523265"/>
                <a:gd name="connsiteX166" fmla="*/ 175404 w 473458"/>
                <a:gd name="connsiteY166" fmla="*/ 371648 h 523265"/>
                <a:gd name="connsiteX167" fmla="*/ 176260 w 473458"/>
                <a:gd name="connsiteY167" fmla="*/ 363351 h 523265"/>
                <a:gd name="connsiteX168" fmla="*/ 179632 w 473458"/>
                <a:gd name="connsiteY168" fmla="*/ 356512 h 523265"/>
                <a:gd name="connsiteX169" fmla="*/ 178728 w 473458"/>
                <a:gd name="connsiteY169" fmla="*/ 349435 h 523265"/>
                <a:gd name="connsiteX170" fmla="*/ 198568 w 473458"/>
                <a:gd name="connsiteY170" fmla="*/ 343882 h 523265"/>
                <a:gd name="connsiteX171" fmla="*/ 206645 w 473458"/>
                <a:gd name="connsiteY171" fmla="*/ 341568 h 523265"/>
                <a:gd name="connsiteX172" fmla="*/ 204788 w 473458"/>
                <a:gd name="connsiteY172" fmla="*/ 349426 h 523265"/>
                <a:gd name="connsiteX173" fmla="*/ 235354 w 473458"/>
                <a:gd name="connsiteY173" fmla="*/ 351750 h 523265"/>
                <a:gd name="connsiteX174" fmla="*/ 236782 w 473458"/>
                <a:gd name="connsiteY174" fmla="*/ 360513 h 523265"/>
                <a:gd name="connsiteX175" fmla="*/ 234449 w 473458"/>
                <a:gd name="connsiteY175" fmla="*/ 371619 h 523265"/>
                <a:gd name="connsiteX176" fmla="*/ 237116 w 473458"/>
                <a:gd name="connsiteY176" fmla="*/ 377191 h 523265"/>
                <a:gd name="connsiteX177" fmla="*/ 238354 w 473458"/>
                <a:gd name="connsiteY177" fmla="*/ 388297 h 523265"/>
                <a:gd name="connsiteX178" fmla="*/ 236192 w 473458"/>
                <a:gd name="connsiteY178" fmla="*/ 399203 h 523265"/>
                <a:gd name="connsiteX179" fmla="*/ 235153 w 473458"/>
                <a:gd name="connsiteY179" fmla="*/ 409719 h 523265"/>
                <a:gd name="connsiteX180" fmla="*/ 236392 w 473458"/>
                <a:gd name="connsiteY180" fmla="*/ 416006 h 523265"/>
                <a:gd name="connsiteX181" fmla="*/ 239945 w 473458"/>
                <a:gd name="connsiteY181" fmla="*/ 421606 h 523265"/>
                <a:gd name="connsiteX182" fmla="*/ 245345 w 473458"/>
                <a:gd name="connsiteY182" fmla="*/ 432665 h 523265"/>
                <a:gd name="connsiteX183" fmla="*/ 246926 w 473458"/>
                <a:gd name="connsiteY183" fmla="*/ 441894 h 523265"/>
                <a:gd name="connsiteX184" fmla="*/ 247307 w 473458"/>
                <a:gd name="connsiteY184" fmla="*/ 448257 h 523265"/>
                <a:gd name="connsiteX185" fmla="*/ 244184 w 473458"/>
                <a:gd name="connsiteY185" fmla="*/ 454915 h 523265"/>
                <a:gd name="connsiteX186" fmla="*/ 245041 w 473458"/>
                <a:gd name="connsiteY186" fmla="*/ 461859 h 523265"/>
                <a:gd name="connsiteX187" fmla="*/ 251337 w 473458"/>
                <a:gd name="connsiteY187" fmla="*/ 458134 h 523265"/>
                <a:gd name="connsiteX188" fmla="*/ 260347 w 473458"/>
                <a:gd name="connsiteY188" fmla="*/ 456658 h 523265"/>
                <a:gd name="connsiteX189" fmla="*/ 268472 w 473458"/>
                <a:gd name="connsiteY189" fmla="*/ 457954 h 523265"/>
                <a:gd name="connsiteX190" fmla="*/ 275854 w 473458"/>
                <a:gd name="connsiteY190" fmla="*/ 453201 h 523265"/>
                <a:gd name="connsiteX191" fmla="*/ 283121 w 473458"/>
                <a:gd name="connsiteY191" fmla="*/ 454810 h 523265"/>
                <a:gd name="connsiteX192" fmla="*/ 290123 w 473458"/>
                <a:gd name="connsiteY192" fmla="*/ 451810 h 523265"/>
                <a:gd name="connsiteX193" fmla="*/ 297838 w 473458"/>
                <a:gd name="connsiteY193" fmla="*/ 457277 h 523265"/>
                <a:gd name="connsiteX194" fmla="*/ 295580 w 473458"/>
                <a:gd name="connsiteY194" fmla="*/ 465993 h 523265"/>
                <a:gd name="connsiteX195" fmla="*/ 304115 w 473458"/>
                <a:gd name="connsiteY195" fmla="*/ 466050 h 523265"/>
                <a:gd name="connsiteX196" fmla="*/ 313268 w 473458"/>
                <a:gd name="connsiteY196" fmla="*/ 461859 h 523265"/>
                <a:gd name="connsiteX197" fmla="*/ 320145 w 473458"/>
                <a:gd name="connsiteY197" fmla="*/ 460478 h 523265"/>
                <a:gd name="connsiteX198" fmla="*/ 321079 w 473458"/>
                <a:gd name="connsiteY198" fmla="*/ 471289 h 523265"/>
                <a:gd name="connsiteX199" fmla="*/ 325212 w 473458"/>
                <a:gd name="connsiteY199" fmla="*/ 476880 h 523265"/>
                <a:gd name="connsiteX200" fmla="*/ 334633 w 473458"/>
                <a:gd name="connsiteY200" fmla="*/ 477356 h 523265"/>
                <a:gd name="connsiteX201" fmla="*/ 345453 w 473458"/>
                <a:gd name="connsiteY201" fmla="*/ 481595 h 523265"/>
                <a:gd name="connsiteX202" fmla="*/ 354578 w 473458"/>
                <a:gd name="connsiteY202" fmla="*/ 482671 h 523265"/>
                <a:gd name="connsiteX203" fmla="*/ 362208 w 473458"/>
                <a:gd name="connsiteY203" fmla="*/ 477127 h 523265"/>
                <a:gd name="connsiteX204" fmla="*/ 366246 w 473458"/>
                <a:gd name="connsiteY204" fmla="*/ 471603 h 523265"/>
                <a:gd name="connsiteX205" fmla="*/ 368932 w 473458"/>
                <a:gd name="connsiteY205" fmla="*/ 477118 h 523265"/>
                <a:gd name="connsiteX206" fmla="*/ 373457 w 473458"/>
                <a:gd name="connsiteY206" fmla="*/ 482671 h 523265"/>
                <a:gd name="connsiteX207" fmla="*/ 375685 w 473458"/>
                <a:gd name="connsiteY207" fmla="*/ 488215 h 523265"/>
                <a:gd name="connsiteX208" fmla="*/ 384848 w 473458"/>
                <a:gd name="connsiteY208" fmla="*/ 489367 h 523265"/>
                <a:gd name="connsiteX209" fmla="*/ 389402 w 473458"/>
                <a:gd name="connsiteY209" fmla="*/ 494863 h 523265"/>
                <a:gd name="connsiteX210" fmla="*/ 399422 w 473458"/>
                <a:gd name="connsiteY210" fmla="*/ 500340 h 523265"/>
                <a:gd name="connsiteX211" fmla="*/ 400260 w 473458"/>
                <a:gd name="connsiteY211" fmla="*/ 507636 h 523265"/>
                <a:gd name="connsiteX212" fmla="*/ 406270 w 473458"/>
                <a:gd name="connsiteY212" fmla="*/ 510436 h 523265"/>
                <a:gd name="connsiteX213" fmla="*/ 408471 w 473458"/>
                <a:gd name="connsiteY213" fmla="*/ 515970 h 523265"/>
                <a:gd name="connsiteX214" fmla="*/ 410461 w 473458"/>
                <a:gd name="connsiteY214" fmla="*/ 522190 h 523265"/>
                <a:gd name="connsiteX215" fmla="*/ 424930 w 473458"/>
                <a:gd name="connsiteY215" fmla="*/ 516085 h 523265"/>
                <a:gd name="connsiteX216" fmla="*/ 428206 w 473458"/>
                <a:gd name="connsiteY216" fmla="*/ 523171 h 5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473458" h="523265">
                  <a:moveTo>
                    <a:pt x="428206" y="523171"/>
                  </a:moveTo>
                  <a:lnTo>
                    <a:pt x="431397" y="486852"/>
                  </a:lnTo>
                  <a:lnTo>
                    <a:pt x="425235" y="488167"/>
                  </a:lnTo>
                  <a:lnTo>
                    <a:pt x="422901" y="495444"/>
                  </a:lnTo>
                  <a:lnTo>
                    <a:pt x="412166" y="493339"/>
                  </a:lnTo>
                  <a:lnTo>
                    <a:pt x="405575" y="482719"/>
                  </a:lnTo>
                  <a:lnTo>
                    <a:pt x="399031" y="479451"/>
                  </a:lnTo>
                  <a:lnTo>
                    <a:pt x="397698" y="473041"/>
                  </a:lnTo>
                  <a:lnTo>
                    <a:pt x="397793" y="466126"/>
                  </a:lnTo>
                  <a:lnTo>
                    <a:pt x="400165" y="454953"/>
                  </a:lnTo>
                  <a:lnTo>
                    <a:pt x="402727" y="447286"/>
                  </a:lnTo>
                  <a:lnTo>
                    <a:pt x="403413" y="438380"/>
                  </a:lnTo>
                  <a:lnTo>
                    <a:pt x="403632" y="427188"/>
                  </a:lnTo>
                  <a:lnTo>
                    <a:pt x="403641" y="419339"/>
                  </a:lnTo>
                  <a:lnTo>
                    <a:pt x="401460" y="410519"/>
                  </a:lnTo>
                  <a:lnTo>
                    <a:pt x="406851" y="399403"/>
                  </a:lnTo>
                  <a:lnTo>
                    <a:pt x="410709" y="394231"/>
                  </a:lnTo>
                  <a:lnTo>
                    <a:pt x="412633" y="388421"/>
                  </a:lnTo>
                  <a:lnTo>
                    <a:pt x="418157" y="383716"/>
                  </a:lnTo>
                  <a:lnTo>
                    <a:pt x="428778" y="382744"/>
                  </a:lnTo>
                  <a:lnTo>
                    <a:pt x="458029" y="378372"/>
                  </a:lnTo>
                  <a:lnTo>
                    <a:pt x="456267" y="371648"/>
                  </a:lnTo>
                  <a:lnTo>
                    <a:pt x="453581" y="366104"/>
                  </a:lnTo>
                  <a:lnTo>
                    <a:pt x="450438" y="360608"/>
                  </a:lnTo>
                  <a:lnTo>
                    <a:pt x="447637" y="349464"/>
                  </a:lnTo>
                  <a:lnTo>
                    <a:pt x="444466" y="343911"/>
                  </a:lnTo>
                  <a:lnTo>
                    <a:pt x="439208" y="338339"/>
                  </a:lnTo>
                  <a:lnTo>
                    <a:pt x="432283" y="332881"/>
                  </a:lnTo>
                  <a:lnTo>
                    <a:pt x="429940" y="327318"/>
                  </a:lnTo>
                  <a:lnTo>
                    <a:pt x="427121" y="316260"/>
                  </a:lnTo>
                  <a:lnTo>
                    <a:pt x="430130" y="310602"/>
                  </a:lnTo>
                  <a:lnTo>
                    <a:pt x="427997" y="299486"/>
                  </a:lnTo>
                  <a:lnTo>
                    <a:pt x="424396" y="288523"/>
                  </a:lnTo>
                  <a:lnTo>
                    <a:pt x="423710" y="278703"/>
                  </a:lnTo>
                  <a:lnTo>
                    <a:pt x="426225" y="273073"/>
                  </a:lnTo>
                  <a:lnTo>
                    <a:pt x="425625" y="266368"/>
                  </a:lnTo>
                  <a:lnTo>
                    <a:pt x="423530" y="260662"/>
                  </a:lnTo>
                  <a:lnTo>
                    <a:pt x="421748" y="252747"/>
                  </a:lnTo>
                  <a:lnTo>
                    <a:pt x="421205" y="238421"/>
                  </a:lnTo>
                  <a:lnTo>
                    <a:pt x="415757" y="227306"/>
                  </a:lnTo>
                  <a:lnTo>
                    <a:pt x="413242" y="221762"/>
                  </a:lnTo>
                  <a:lnTo>
                    <a:pt x="419386" y="210675"/>
                  </a:lnTo>
                  <a:lnTo>
                    <a:pt x="420139" y="199588"/>
                  </a:lnTo>
                  <a:lnTo>
                    <a:pt x="424987" y="191463"/>
                  </a:lnTo>
                  <a:lnTo>
                    <a:pt x="431150" y="186177"/>
                  </a:lnTo>
                  <a:lnTo>
                    <a:pt x="430645" y="177509"/>
                  </a:lnTo>
                  <a:lnTo>
                    <a:pt x="432379" y="166231"/>
                  </a:lnTo>
                  <a:lnTo>
                    <a:pt x="433950" y="155678"/>
                  </a:lnTo>
                  <a:lnTo>
                    <a:pt x="434426" y="149582"/>
                  </a:lnTo>
                  <a:lnTo>
                    <a:pt x="436883" y="144086"/>
                  </a:lnTo>
                  <a:lnTo>
                    <a:pt x="440570" y="135247"/>
                  </a:lnTo>
                  <a:lnTo>
                    <a:pt x="440312" y="127379"/>
                  </a:lnTo>
                  <a:lnTo>
                    <a:pt x="446761" y="121826"/>
                  </a:lnTo>
                  <a:lnTo>
                    <a:pt x="450104" y="116263"/>
                  </a:lnTo>
                  <a:lnTo>
                    <a:pt x="473193" y="90832"/>
                  </a:lnTo>
                  <a:lnTo>
                    <a:pt x="468669" y="86726"/>
                  </a:lnTo>
                  <a:lnTo>
                    <a:pt x="461667" y="82973"/>
                  </a:lnTo>
                  <a:lnTo>
                    <a:pt x="462296" y="71867"/>
                  </a:lnTo>
                  <a:lnTo>
                    <a:pt x="460277" y="64390"/>
                  </a:lnTo>
                  <a:lnTo>
                    <a:pt x="463744" y="55208"/>
                  </a:lnTo>
                  <a:lnTo>
                    <a:pt x="460468" y="49665"/>
                  </a:lnTo>
                  <a:lnTo>
                    <a:pt x="454391" y="49102"/>
                  </a:lnTo>
                  <a:lnTo>
                    <a:pt x="454086" y="42911"/>
                  </a:lnTo>
                  <a:lnTo>
                    <a:pt x="445799" y="40425"/>
                  </a:lnTo>
                  <a:lnTo>
                    <a:pt x="441837" y="34901"/>
                  </a:lnTo>
                  <a:lnTo>
                    <a:pt x="435302" y="27452"/>
                  </a:lnTo>
                  <a:lnTo>
                    <a:pt x="433140" y="21909"/>
                  </a:lnTo>
                  <a:lnTo>
                    <a:pt x="427740" y="19203"/>
                  </a:lnTo>
                  <a:lnTo>
                    <a:pt x="424073" y="26909"/>
                  </a:lnTo>
                  <a:lnTo>
                    <a:pt x="415900" y="24795"/>
                  </a:lnTo>
                  <a:lnTo>
                    <a:pt x="410118" y="22909"/>
                  </a:lnTo>
                  <a:lnTo>
                    <a:pt x="405394" y="27347"/>
                  </a:lnTo>
                  <a:lnTo>
                    <a:pt x="399346" y="28681"/>
                  </a:lnTo>
                  <a:lnTo>
                    <a:pt x="391487" y="25319"/>
                  </a:lnTo>
                  <a:lnTo>
                    <a:pt x="383972" y="16384"/>
                  </a:lnTo>
                  <a:lnTo>
                    <a:pt x="377048" y="10831"/>
                  </a:lnTo>
                  <a:lnTo>
                    <a:pt x="369285" y="5249"/>
                  </a:lnTo>
                  <a:lnTo>
                    <a:pt x="362341" y="9802"/>
                  </a:lnTo>
                  <a:lnTo>
                    <a:pt x="352778" y="9469"/>
                  </a:lnTo>
                  <a:lnTo>
                    <a:pt x="346901" y="5240"/>
                  </a:lnTo>
                  <a:lnTo>
                    <a:pt x="340014" y="3935"/>
                  </a:lnTo>
                  <a:lnTo>
                    <a:pt x="328966" y="-94"/>
                  </a:lnTo>
                  <a:lnTo>
                    <a:pt x="323717" y="5221"/>
                  </a:lnTo>
                  <a:lnTo>
                    <a:pt x="320584" y="10793"/>
                  </a:lnTo>
                  <a:lnTo>
                    <a:pt x="310334" y="13755"/>
                  </a:lnTo>
                  <a:lnTo>
                    <a:pt x="300362" y="7669"/>
                  </a:lnTo>
                  <a:lnTo>
                    <a:pt x="290141" y="14270"/>
                  </a:lnTo>
                  <a:lnTo>
                    <a:pt x="280959" y="17413"/>
                  </a:lnTo>
                  <a:lnTo>
                    <a:pt x="276968" y="21861"/>
                  </a:lnTo>
                  <a:lnTo>
                    <a:pt x="266072" y="16356"/>
                  </a:lnTo>
                  <a:lnTo>
                    <a:pt x="259604" y="21775"/>
                  </a:lnTo>
                  <a:lnTo>
                    <a:pt x="255937" y="27367"/>
                  </a:lnTo>
                  <a:lnTo>
                    <a:pt x="253937" y="33786"/>
                  </a:lnTo>
                  <a:lnTo>
                    <a:pt x="247936" y="35358"/>
                  </a:lnTo>
                  <a:lnTo>
                    <a:pt x="234953" y="29881"/>
                  </a:lnTo>
                  <a:lnTo>
                    <a:pt x="223638" y="28976"/>
                  </a:lnTo>
                  <a:lnTo>
                    <a:pt x="213827" y="25938"/>
                  </a:lnTo>
                  <a:lnTo>
                    <a:pt x="206198" y="27090"/>
                  </a:lnTo>
                  <a:lnTo>
                    <a:pt x="200473" y="17270"/>
                  </a:lnTo>
                  <a:lnTo>
                    <a:pt x="189081" y="10869"/>
                  </a:lnTo>
                  <a:lnTo>
                    <a:pt x="179937" y="6631"/>
                  </a:lnTo>
                  <a:lnTo>
                    <a:pt x="172508" y="10745"/>
                  </a:lnTo>
                  <a:lnTo>
                    <a:pt x="167583" y="16327"/>
                  </a:lnTo>
                  <a:lnTo>
                    <a:pt x="163430" y="21871"/>
                  </a:lnTo>
                  <a:lnTo>
                    <a:pt x="161040" y="27347"/>
                  </a:lnTo>
                  <a:lnTo>
                    <a:pt x="156753" y="32472"/>
                  </a:lnTo>
                  <a:lnTo>
                    <a:pt x="158459" y="38434"/>
                  </a:lnTo>
                  <a:lnTo>
                    <a:pt x="157191" y="49598"/>
                  </a:lnTo>
                  <a:lnTo>
                    <a:pt x="158182" y="60628"/>
                  </a:lnTo>
                  <a:lnTo>
                    <a:pt x="155039" y="66276"/>
                  </a:lnTo>
                  <a:lnTo>
                    <a:pt x="150610" y="77354"/>
                  </a:lnTo>
                  <a:lnTo>
                    <a:pt x="147666" y="82926"/>
                  </a:lnTo>
                  <a:lnTo>
                    <a:pt x="144714" y="88488"/>
                  </a:lnTo>
                  <a:lnTo>
                    <a:pt x="144057" y="99566"/>
                  </a:lnTo>
                  <a:lnTo>
                    <a:pt x="142571" y="110548"/>
                  </a:lnTo>
                  <a:lnTo>
                    <a:pt x="138618" y="121778"/>
                  </a:lnTo>
                  <a:lnTo>
                    <a:pt x="139380" y="132923"/>
                  </a:lnTo>
                  <a:lnTo>
                    <a:pt x="137827" y="144000"/>
                  </a:lnTo>
                  <a:lnTo>
                    <a:pt x="134569" y="154239"/>
                  </a:lnTo>
                  <a:lnTo>
                    <a:pt x="134779" y="165746"/>
                  </a:lnTo>
                  <a:lnTo>
                    <a:pt x="129855" y="171689"/>
                  </a:lnTo>
                  <a:lnTo>
                    <a:pt x="126197" y="177061"/>
                  </a:lnTo>
                  <a:lnTo>
                    <a:pt x="115720" y="182862"/>
                  </a:lnTo>
                  <a:lnTo>
                    <a:pt x="111586" y="188387"/>
                  </a:lnTo>
                  <a:lnTo>
                    <a:pt x="109357" y="193940"/>
                  </a:lnTo>
                  <a:lnTo>
                    <a:pt x="102452" y="205084"/>
                  </a:lnTo>
                  <a:lnTo>
                    <a:pt x="97355" y="210589"/>
                  </a:lnTo>
                  <a:lnTo>
                    <a:pt x="98432" y="221667"/>
                  </a:lnTo>
                  <a:lnTo>
                    <a:pt x="97041" y="243670"/>
                  </a:lnTo>
                  <a:lnTo>
                    <a:pt x="91498" y="254757"/>
                  </a:lnTo>
                  <a:lnTo>
                    <a:pt x="84315" y="260586"/>
                  </a:lnTo>
                  <a:lnTo>
                    <a:pt x="79524" y="266130"/>
                  </a:lnTo>
                  <a:lnTo>
                    <a:pt x="72428" y="269625"/>
                  </a:lnTo>
                  <a:lnTo>
                    <a:pt x="67199" y="277226"/>
                  </a:lnTo>
                  <a:lnTo>
                    <a:pt x="63827" y="282570"/>
                  </a:lnTo>
                  <a:lnTo>
                    <a:pt x="58836" y="286199"/>
                  </a:lnTo>
                  <a:lnTo>
                    <a:pt x="52512" y="282846"/>
                  </a:lnTo>
                  <a:lnTo>
                    <a:pt x="51540" y="275655"/>
                  </a:lnTo>
                  <a:lnTo>
                    <a:pt x="52588" y="268339"/>
                  </a:lnTo>
                  <a:lnTo>
                    <a:pt x="46797" y="271740"/>
                  </a:lnTo>
                  <a:lnTo>
                    <a:pt x="41063" y="274988"/>
                  </a:lnTo>
                  <a:lnTo>
                    <a:pt x="35195" y="281293"/>
                  </a:lnTo>
                  <a:lnTo>
                    <a:pt x="28471" y="286046"/>
                  </a:lnTo>
                  <a:lnTo>
                    <a:pt x="21403" y="277455"/>
                  </a:lnTo>
                  <a:lnTo>
                    <a:pt x="13535" y="282798"/>
                  </a:lnTo>
                  <a:lnTo>
                    <a:pt x="8230" y="288370"/>
                  </a:lnTo>
                  <a:lnTo>
                    <a:pt x="5935" y="308973"/>
                  </a:lnTo>
                  <a:lnTo>
                    <a:pt x="-266" y="308964"/>
                  </a:lnTo>
                  <a:lnTo>
                    <a:pt x="2553" y="316107"/>
                  </a:lnTo>
                  <a:lnTo>
                    <a:pt x="11230" y="316136"/>
                  </a:lnTo>
                  <a:lnTo>
                    <a:pt x="18450" y="312392"/>
                  </a:lnTo>
                  <a:lnTo>
                    <a:pt x="26404" y="313602"/>
                  </a:lnTo>
                  <a:lnTo>
                    <a:pt x="42444" y="311316"/>
                  </a:lnTo>
                  <a:lnTo>
                    <a:pt x="57226" y="313478"/>
                  </a:lnTo>
                  <a:lnTo>
                    <a:pt x="104328" y="311802"/>
                  </a:lnTo>
                  <a:lnTo>
                    <a:pt x="109795" y="319813"/>
                  </a:lnTo>
                  <a:lnTo>
                    <a:pt x="108805" y="326737"/>
                  </a:lnTo>
                  <a:lnTo>
                    <a:pt x="110633" y="332681"/>
                  </a:lnTo>
                  <a:lnTo>
                    <a:pt x="114434" y="341463"/>
                  </a:lnTo>
                  <a:lnTo>
                    <a:pt x="115405" y="349369"/>
                  </a:lnTo>
                  <a:lnTo>
                    <a:pt x="119215" y="354979"/>
                  </a:lnTo>
                  <a:lnTo>
                    <a:pt x="125845" y="366085"/>
                  </a:lnTo>
                  <a:lnTo>
                    <a:pt x="128264" y="371590"/>
                  </a:lnTo>
                  <a:lnTo>
                    <a:pt x="143685" y="374315"/>
                  </a:lnTo>
                  <a:lnTo>
                    <a:pt x="154296" y="371648"/>
                  </a:lnTo>
                  <a:lnTo>
                    <a:pt x="160192" y="369238"/>
                  </a:lnTo>
                  <a:lnTo>
                    <a:pt x="175404" y="371648"/>
                  </a:lnTo>
                  <a:lnTo>
                    <a:pt x="176260" y="363351"/>
                  </a:lnTo>
                  <a:lnTo>
                    <a:pt x="179632" y="356512"/>
                  </a:lnTo>
                  <a:lnTo>
                    <a:pt x="178728" y="349435"/>
                  </a:lnTo>
                  <a:lnTo>
                    <a:pt x="198568" y="343882"/>
                  </a:lnTo>
                  <a:lnTo>
                    <a:pt x="206645" y="341568"/>
                  </a:lnTo>
                  <a:lnTo>
                    <a:pt x="204788" y="349426"/>
                  </a:lnTo>
                  <a:lnTo>
                    <a:pt x="235354" y="351750"/>
                  </a:lnTo>
                  <a:lnTo>
                    <a:pt x="236782" y="360513"/>
                  </a:lnTo>
                  <a:lnTo>
                    <a:pt x="234449" y="371619"/>
                  </a:lnTo>
                  <a:lnTo>
                    <a:pt x="237116" y="377191"/>
                  </a:lnTo>
                  <a:lnTo>
                    <a:pt x="238354" y="388297"/>
                  </a:lnTo>
                  <a:lnTo>
                    <a:pt x="236192" y="399203"/>
                  </a:lnTo>
                  <a:lnTo>
                    <a:pt x="235153" y="409719"/>
                  </a:lnTo>
                  <a:lnTo>
                    <a:pt x="236392" y="416006"/>
                  </a:lnTo>
                  <a:lnTo>
                    <a:pt x="239945" y="421606"/>
                  </a:lnTo>
                  <a:lnTo>
                    <a:pt x="245345" y="432665"/>
                  </a:lnTo>
                  <a:lnTo>
                    <a:pt x="246926" y="441894"/>
                  </a:lnTo>
                  <a:lnTo>
                    <a:pt x="247307" y="448257"/>
                  </a:lnTo>
                  <a:lnTo>
                    <a:pt x="244184" y="454915"/>
                  </a:lnTo>
                  <a:lnTo>
                    <a:pt x="245041" y="461859"/>
                  </a:lnTo>
                  <a:lnTo>
                    <a:pt x="251337" y="458134"/>
                  </a:lnTo>
                  <a:lnTo>
                    <a:pt x="260347" y="456658"/>
                  </a:lnTo>
                  <a:lnTo>
                    <a:pt x="268472" y="457954"/>
                  </a:lnTo>
                  <a:lnTo>
                    <a:pt x="275854" y="453201"/>
                  </a:lnTo>
                  <a:lnTo>
                    <a:pt x="283121" y="454810"/>
                  </a:lnTo>
                  <a:lnTo>
                    <a:pt x="290123" y="451810"/>
                  </a:lnTo>
                  <a:lnTo>
                    <a:pt x="297838" y="457277"/>
                  </a:lnTo>
                  <a:lnTo>
                    <a:pt x="295580" y="465993"/>
                  </a:lnTo>
                  <a:lnTo>
                    <a:pt x="304115" y="466050"/>
                  </a:lnTo>
                  <a:lnTo>
                    <a:pt x="313268" y="461859"/>
                  </a:lnTo>
                  <a:lnTo>
                    <a:pt x="320145" y="460478"/>
                  </a:lnTo>
                  <a:lnTo>
                    <a:pt x="321079" y="471289"/>
                  </a:lnTo>
                  <a:lnTo>
                    <a:pt x="325212" y="476880"/>
                  </a:lnTo>
                  <a:lnTo>
                    <a:pt x="334633" y="477356"/>
                  </a:lnTo>
                  <a:lnTo>
                    <a:pt x="345453" y="481595"/>
                  </a:lnTo>
                  <a:lnTo>
                    <a:pt x="354578" y="482671"/>
                  </a:lnTo>
                  <a:lnTo>
                    <a:pt x="362208" y="477127"/>
                  </a:lnTo>
                  <a:lnTo>
                    <a:pt x="366246" y="471603"/>
                  </a:lnTo>
                  <a:lnTo>
                    <a:pt x="368932" y="477118"/>
                  </a:lnTo>
                  <a:lnTo>
                    <a:pt x="373457" y="482671"/>
                  </a:lnTo>
                  <a:lnTo>
                    <a:pt x="375685" y="488215"/>
                  </a:lnTo>
                  <a:lnTo>
                    <a:pt x="384848" y="489367"/>
                  </a:lnTo>
                  <a:lnTo>
                    <a:pt x="389402" y="494863"/>
                  </a:lnTo>
                  <a:lnTo>
                    <a:pt x="399422" y="500340"/>
                  </a:lnTo>
                  <a:lnTo>
                    <a:pt x="400260" y="507636"/>
                  </a:lnTo>
                  <a:lnTo>
                    <a:pt x="406270" y="510436"/>
                  </a:lnTo>
                  <a:lnTo>
                    <a:pt x="408471" y="515970"/>
                  </a:lnTo>
                  <a:lnTo>
                    <a:pt x="410461" y="522190"/>
                  </a:lnTo>
                  <a:lnTo>
                    <a:pt x="424930" y="516085"/>
                  </a:lnTo>
                  <a:lnTo>
                    <a:pt x="428206" y="523171"/>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66" name="Freeform: Shape 65">
              <a:extLst>
                <a:ext uri="{FF2B5EF4-FFF2-40B4-BE49-F238E27FC236}">
                  <a16:creationId xmlns:a16="http://schemas.microsoft.com/office/drawing/2014/main" id="{59331728-6EE1-369D-FD4E-3B9019F0DD01}"/>
                </a:ext>
              </a:extLst>
            </p:cNvPr>
            <p:cNvSpPr/>
            <p:nvPr/>
          </p:nvSpPr>
          <p:spPr>
            <a:xfrm>
              <a:off x="5558545" y="1378755"/>
              <a:ext cx="540993" cy="904973"/>
            </a:xfrm>
            <a:custGeom>
              <a:avLst/>
              <a:gdLst>
                <a:gd name="connsiteX0" fmla="*/ 186548 w 189823"/>
                <a:gd name="connsiteY0" fmla="*/ 317222 h 317315"/>
                <a:gd name="connsiteX1" fmla="*/ 186414 w 189823"/>
                <a:gd name="connsiteY1" fmla="*/ 307573 h 317315"/>
                <a:gd name="connsiteX2" fmla="*/ 189558 w 189823"/>
                <a:gd name="connsiteY2" fmla="*/ 302010 h 317315"/>
                <a:gd name="connsiteX3" fmla="*/ 186853 w 189823"/>
                <a:gd name="connsiteY3" fmla="*/ 294648 h 317315"/>
                <a:gd name="connsiteX4" fmla="*/ 186453 w 189823"/>
                <a:gd name="connsiteY4" fmla="*/ 285361 h 317315"/>
                <a:gd name="connsiteX5" fmla="*/ 183909 w 189823"/>
                <a:gd name="connsiteY5" fmla="*/ 279665 h 317315"/>
                <a:gd name="connsiteX6" fmla="*/ 178138 w 189823"/>
                <a:gd name="connsiteY6" fmla="*/ 274635 h 317315"/>
                <a:gd name="connsiteX7" fmla="*/ 173766 w 189823"/>
                <a:gd name="connsiteY7" fmla="*/ 268930 h 317315"/>
                <a:gd name="connsiteX8" fmla="*/ 169546 w 189823"/>
                <a:gd name="connsiteY8" fmla="*/ 263901 h 317315"/>
                <a:gd name="connsiteX9" fmla="*/ 162317 w 189823"/>
                <a:gd name="connsiteY9" fmla="*/ 252137 h 317315"/>
                <a:gd name="connsiteX10" fmla="*/ 162164 w 189823"/>
                <a:gd name="connsiteY10" fmla="*/ 243679 h 317315"/>
                <a:gd name="connsiteX11" fmla="*/ 156973 w 189823"/>
                <a:gd name="connsiteY11" fmla="*/ 238821 h 317315"/>
                <a:gd name="connsiteX12" fmla="*/ 152505 w 189823"/>
                <a:gd name="connsiteY12" fmla="*/ 230820 h 317315"/>
                <a:gd name="connsiteX13" fmla="*/ 151925 w 189823"/>
                <a:gd name="connsiteY13" fmla="*/ 224324 h 317315"/>
                <a:gd name="connsiteX14" fmla="*/ 148181 w 189823"/>
                <a:gd name="connsiteY14" fmla="*/ 216695 h 317315"/>
                <a:gd name="connsiteX15" fmla="*/ 150620 w 189823"/>
                <a:gd name="connsiteY15" fmla="*/ 210075 h 317315"/>
                <a:gd name="connsiteX16" fmla="*/ 150391 w 189823"/>
                <a:gd name="connsiteY16" fmla="*/ 202112 h 317315"/>
                <a:gd name="connsiteX17" fmla="*/ 145619 w 189823"/>
                <a:gd name="connsiteY17" fmla="*/ 196540 h 317315"/>
                <a:gd name="connsiteX18" fmla="*/ 149029 w 189823"/>
                <a:gd name="connsiteY18" fmla="*/ 191130 h 317315"/>
                <a:gd name="connsiteX19" fmla="*/ 154773 w 189823"/>
                <a:gd name="connsiteY19" fmla="*/ 186901 h 317315"/>
                <a:gd name="connsiteX20" fmla="*/ 157002 w 189823"/>
                <a:gd name="connsiteY20" fmla="*/ 180043 h 317315"/>
                <a:gd name="connsiteX21" fmla="*/ 161126 w 189823"/>
                <a:gd name="connsiteY21" fmla="*/ 174328 h 317315"/>
                <a:gd name="connsiteX22" fmla="*/ 163602 w 189823"/>
                <a:gd name="connsiteY22" fmla="*/ 166698 h 317315"/>
                <a:gd name="connsiteX23" fmla="*/ 169336 w 189823"/>
                <a:gd name="connsiteY23" fmla="*/ 157668 h 317315"/>
                <a:gd name="connsiteX24" fmla="*/ 173299 w 189823"/>
                <a:gd name="connsiteY24" fmla="*/ 152115 h 317315"/>
                <a:gd name="connsiteX25" fmla="*/ 169422 w 189823"/>
                <a:gd name="connsiteY25" fmla="*/ 141009 h 317315"/>
                <a:gd name="connsiteX26" fmla="*/ 165936 w 189823"/>
                <a:gd name="connsiteY26" fmla="*/ 131303 h 317315"/>
                <a:gd name="connsiteX27" fmla="*/ 162897 w 189823"/>
                <a:gd name="connsiteY27" fmla="*/ 125122 h 317315"/>
                <a:gd name="connsiteX28" fmla="*/ 158640 w 189823"/>
                <a:gd name="connsiteY28" fmla="*/ 120645 h 317315"/>
                <a:gd name="connsiteX29" fmla="*/ 148810 w 189823"/>
                <a:gd name="connsiteY29" fmla="*/ 113339 h 317315"/>
                <a:gd name="connsiteX30" fmla="*/ 142828 w 189823"/>
                <a:gd name="connsiteY30" fmla="*/ 107710 h 317315"/>
                <a:gd name="connsiteX31" fmla="*/ 139904 w 189823"/>
                <a:gd name="connsiteY31" fmla="*/ 102147 h 317315"/>
                <a:gd name="connsiteX32" fmla="*/ 135494 w 189823"/>
                <a:gd name="connsiteY32" fmla="*/ 97147 h 317315"/>
                <a:gd name="connsiteX33" fmla="*/ 137256 w 189823"/>
                <a:gd name="connsiteY33" fmla="*/ 90489 h 317315"/>
                <a:gd name="connsiteX34" fmla="*/ 145448 w 189823"/>
                <a:gd name="connsiteY34" fmla="*/ 85431 h 317315"/>
                <a:gd name="connsiteX35" fmla="*/ 153858 w 189823"/>
                <a:gd name="connsiteY35" fmla="*/ 87288 h 317315"/>
                <a:gd name="connsiteX36" fmla="*/ 160231 w 189823"/>
                <a:gd name="connsiteY36" fmla="*/ 87002 h 317315"/>
                <a:gd name="connsiteX37" fmla="*/ 169003 w 189823"/>
                <a:gd name="connsiteY37" fmla="*/ 87336 h 317315"/>
                <a:gd name="connsiteX38" fmla="*/ 175804 w 189823"/>
                <a:gd name="connsiteY38" fmla="*/ 85516 h 317315"/>
                <a:gd name="connsiteX39" fmla="*/ 169489 w 189823"/>
                <a:gd name="connsiteY39" fmla="*/ 79944 h 317315"/>
                <a:gd name="connsiteX40" fmla="*/ 165517 w 189823"/>
                <a:gd name="connsiteY40" fmla="*/ 74420 h 317315"/>
                <a:gd name="connsiteX41" fmla="*/ 162174 w 189823"/>
                <a:gd name="connsiteY41" fmla="*/ 68857 h 317315"/>
                <a:gd name="connsiteX42" fmla="*/ 160726 w 189823"/>
                <a:gd name="connsiteY42" fmla="*/ 61218 h 317315"/>
                <a:gd name="connsiteX43" fmla="*/ 161021 w 189823"/>
                <a:gd name="connsiteY43" fmla="*/ 55246 h 317315"/>
                <a:gd name="connsiteX44" fmla="*/ 159545 w 189823"/>
                <a:gd name="connsiteY44" fmla="*/ 46635 h 317315"/>
                <a:gd name="connsiteX45" fmla="*/ 159621 w 189823"/>
                <a:gd name="connsiteY45" fmla="*/ 37977 h 317315"/>
                <a:gd name="connsiteX46" fmla="*/ 159507 w 189823"/>
                <a:gd name="connsiteY46" fmla="*/ 31672 h 317315"/>
                <a:gd name="connsiteX47" fmla="*/ 155040 w 189823"/>
                <a:gd name="connsiteY47" fmla="*/ 25395 h 317315"/>
                <a:gd name="connsiteX48" fmla="*/ 155363 w 189823"/>
                <a:gd name="connsiteY48" fmla="*/ 18889 h 317315"/>
                <a:gd name="connsiteX49" fmla="*/ 153430 w 189823"/>
                <a:gd name="connsiteY49" fmla="*/ 12250 h 317315"/>
                <a:gd name="connsiteX50" fmla="*/ 148191 w 189823"/>
                <a:gd name="connsiteY50" fmla="*/ 9355 h 317315"/>
                <a:gd name="connsiteX51" fmla="*/ 145819 w 189823"/>
                <a:gd name="connsiteY51" fmla="*/ 3040 h 317315"/>
                <a:gd name="connsiteX52" fmla="*/ 134865 w 189823"/>
                <a:gd name="connsiteY52" fmla="*/ -94 h 317315"/>
                <a:gd name="connsiteX53" fmla="*/ 138037 w 189823"/>
                <a:gd name="connsiteY53" fmla="*/ 15041 h 317315"/>
                <a:gd name="connsiteX54" fmla="*/ 145067 w 189823"/>
                <a:gd name="connsiteY54" fmla="*/ 20213 h 317315"/>
                <a:gd name="connsiteX55" fmla="*/ 149439 w 189823"/>
                <a:gd name="connsiteY55" fmla="*/ 24480 h 317315"/>
                <a:gd name="connsiteX56" fmla="*/ 149448 w 189823"/>
                <a:gd name="connsiteY56" fmla="*/ 30976 h 317315"/>
                <a:gd name="connsiteX57" fmla="*/ 146905 w 189823"/>
                <a:gd name="connsiteY57" fmla="*/ 37825 h 317315"/>
                <a:gd name="connsiteX58" fmla="*/ 148686 w 189823"/>
                <a:gd name="connsiteY58" fmla="*/ 43568 h 317315"/>
                <a:gd name="connsiteX59" fmla="*/ 138409 w 189823"/>
                <a:gd name="connsiteY59" fmla="*/ 50798 h 317315"/>
                <a:gd name="connsiteX60" fmla="*/ 132341 w 189823"/>
                <a:gd name="connsiteY60" fmla="*/ 50798 h 317315"/>
                <a:gd name="connsiteX61" fmla="*/ 128455 w 189823"/>
                <a:gd name="connsiteY61" fmla="*/ 57618 h 317315"/>
                <a:gd name="connsiteX62" fmla="*/ 124893 w 189823"/>
                <a:gd name="connsiteY62" fmla="*/ 63257 h 317315"/>
                <a:gd name="connsiteX63" fmla="*/ 123340 w 189823"/>
                <a:gd name="connsiteY63" fmla="*/ 70591 h 317315"/>
                <a:gd name="connsiteX64" fmla="*/ 120911 w 189823"/>
                <a:gd name="connsiteY64" fmla="*/ 79268 h 317315"/>
                <a:gd name="connsiteX65" fmla="*/ 116282 w 189823"/>
                <a:gd name="connsiteY65" fmla="*/ 84221 h 317315"/>
                <a:gd name="connsiteX66" fmla="*/ 116730 w 189823"/>
                <a:gd name="connsiteY66" fmla="*/ 90308 h 317315"/>
                <a:gd name="connsiteX67" fmla="*/ 114882 w 189823"/>
                <a:gd name="connsiteY67" fmla="*/ 96594 h 317315"/>
                <a:gd name="connsiteX68" fmla="*/ 106976 w 189823"/>
                <a:gd name="connsiteY68" fmla="*/ 102147 h 317315"/>
                <a:gd name="connsiteX69" fmla="*/ 106938 w 189823"/>
                <a:gd name="connsiteY69" fmla="*/ 110082 h 317315"/>
                <a:gd name="connsiteX70" fmla="*/ 104795 w 189823"/>
                <a:gd name="connsiteY70" fmla="*/ 118768 h 317315"/>
                <a:gd name="connsiteX71" fmla="*/ 98966 w 189823"/>
                <a:gd name="connsiteY71" fmla="*/ 123969 h 317315"/>
                <a:gd name="connsiteX72" fmla="*/ 93222 w 189823"/>
                <a:gd name="connsiteY72" fmla="*/ 128236 h 317315"/>
                <a:gd name="connsiteX73" fmla="*/ 91022 w 189823"/>
                <a:gd name="connsiteY73" fmla="*/ 135380 h 317315"/>
                <a:gd name="connsiteX74" fmla="*/ 89669 w 189823"/>
                <a:gd name="connsiteY74" fmla="*/ 142638 h 317315"/>
                <a:gd name="connsiteX75" fmla="*/ 84840 w 189823"/>
                <a:gd name="connsiteY75" fmla="*/ 150020 h 317315"/>
                <a:gd name="connsiteX76" fmla="*/ 83154 w 189823"/>
                <a:gd name="connsiteY76" fmla="*/ 157640 h 317315"/>
                <a:gd name="connsiteX77" fmla="*/ 81716 w 189823"/>
                <a:gd name="connsiteY77" fmla="*/ 166584 h 317315"/>
                <a:gd name="connsiteX78" fmla="*/ 75534 w 189823"/>
                <a:gd name="connsiteY78" fmla="*/ 169413 h 317315"/>
                <a:gd name="connsiteX79" fmla="*/ 74725 w 189823"/>
                <a:gd name="connsiteY79" fmla="*/ 176175 h 317315"/>
                <a:gd name="connsiteX80" fmla="*/ 70905 w 189823"/>
                <a:gd name="connsiteY80" fmla="*/ 181805 h 317315"/>
                <a:gd name="connsiteX81" fmla="*/ 64438 w 189823"/>
                <a:gd name="connsiteY81" fmla="*/ 182643 h 317315"/>
                <a:gd name="connsiteX82" fmla="*/ 61980 w 189823"/>
                <a:gd name="connsiteY82" fmla="*/ 176842 h 317315"/>
                <a:gd name="connsiteX83" fmla="*/ 55675 w 189823"/>
                <a:gd name="connsiteY83" fmla="*/ 173099 h 317315"/>
                <a:gd name="connsiteX84" fmla="*/ 50159 w 189823"/>
                <a:gd name="connsiteY84" fmla="*/ 166641 h 317315"/>
                <a:gd name="connsiteX85" fmla="*/ 40758 w 189823"/>
                <a:gd name="connsiteY85" fmla="*/ 171842 h 317315"/>
                <a:gd name="connsiteX86" fmla="*/ 32738 w 189823"/>
                <a:gd name="connsiteY86" fmla="*/ 174290 h 317315"/>
                <a:gd name="connsiteX87" fmla="*/ 28700 w 189823"/>
                <a:gd name="connsiteY87" fmla="*/ 179871 h 317315"/>
                <a:gd name="connsiteX88" fmla="*/ 23804 w 189823"/>
                <a:gd name="connsiteY88" fmla="*/ 184234 h 317315"/>
                <a:gd name="connsiteX89" fmla="*/ 18318 w 189823"/>
                <a:gd name="connsiteY89" fmla="*/ 189225 h 317315"/>
                <a:gd name="connsiteX90" fmla="*/ 12079 w 189823"/>
                <a:gd name="connsiteY90" fmla="*/ 196521 h 317315"/>
                <a:gd name="connsiteX91" fmla="*/ 6811 w 189823"/>
                <a:gd name="connsiteY91" fmla="*/ 201388 h 317315"/>
                <a:gd name="connsiteX92" fmla="*/ 8840 w 189823"/>
                <a:gd name="connsiteY92" fmla="*/ 208618 h 317315"/>
                <a:gd name="connsiteX93" fmla="*/ 6735 w 189823"/>
                <a:gd name="connsiteY93" fmla="*/ 214733 h 317315"/>
                <a:gd name="connsiteX94" fmla="*/ 5487 w 189823"/>
                <a:gd name="connsiteY94" fmla="*/ 221153 h 317315"/>
                <a:gd name="connsiteX95" fmla="*/ 2220 w 189823"/>
                <a:gd name="connsiteY95" fmla="*/ 226639 h 317315"/>
                <a:gd name="connsiteX96" fmla="*/ -266 w 189823"/>
                <a:gd name="connsiteY96" fmla="*/ 232306 h 317315"/>
                <a:gd name="connsiteX97" fmla="*/ -56 w 189823"/>
                <a:gd name="connsiteY97" fmla="*/ 238526 h 317315"/>
                <a:gd name="connsiteX98" fmla="*/ 1963 w 189823"/>
                <a:gd name="connsiteY98" fmla="*/ 231754 h 317315"/>
                <a:gd name="connsiteX99" fmla="*/ 5154 w 189823"/>
                <a:gd name="connsiteY99" fmla="*/ 237221 h 317315"/>
                <a:gd name="connsiteX100" fmla="*/ 4944 w 189823"/>
                <a:gd name="connsiteY100" fmla="*/ 231116 h 317315"/>
                <a:gd name="connsiteX101" fmla="*/ 8021 w 189823"/>
                <a:gd name="connsiteY101" fmla="*/ 237793 h 317315"/>
                <a:gd name="connsiteX102" fmla="*/ 8793 w 189823"/>
                <a:gd name="connsiteY102" fmla="*/ 244060 h 317315"/>
                <a:gd name="connsiteX103" fmla="*/ 11240 w 189823"/>
                <a:gd name="connsiteY103" fmla="*/ 249928 h 317315"/>
                <a:gd name="connsiteX104" fmla="*/ 16203 w 189823"/>
                <a:gd name="connsiteY104" fmla="*/ 253404 h 317315"/>
                <a:gd name="connsiteX105" fmla="*/ 22661 w 189823"/>
                <a:gd name="connsiteY105" fmla="*/ 254519 h 317315"/>
                <a:gd name="connsiteX106" fmla="*/ 28700 w 189823"/>
                <a:gd name="connsiteY106" fmla="*/ 255728 h 317315"/>
                <a:gd name="connsiteX107" fmla="*/ 26900 w 189823"/>
                <a:gd name="connsiteY107" fmla="*/ 261501 h 317315"/>
                <a:gd name="connsiteX108" fmla="*/ 33148 w 189823"/>
                <a:gd name="connsiteY108" fmla="*/ 271311 h 317315"/>
                <a:gd name="connsiteX109" fmla="*/ 35234 w 189823"/>
                <a:gd name="connsiteY109" fmla="*/ 277350 h 317315"/>
                <a:gd name="connsiteX110" fmla="*/ 33319 w 189823"/>
                <a:gd name="connsiteY110" fmla="*/ 283027 h 317315"/>
                <a:gd name="connsiteX111" fmla="*/ 31500 w 189823"/>
                <a:gd name="connsiteY111" fmla="*/ 291752 h 317315"/>
                <a:gd name="connsiteX112" fmla="*/ 31491 w 189823"/>
                <a:gd name="connsiteY112" fmla="*/ 297876 h 317315"/>
                <a:gd name="connsiteX113" fmla="*/ 35672 w 189823"/>
                <a:gd name="connsiteY113" fmla="*/ 302677 h 317315"/>
                <a:gd name="connsiteX114" fmla="*/ 64571 w 189823"/>
                <a:gd name="connsiteY114" fmla="*/ 302934 h 317315"/>
                <a:gd name="connsiteX115" fmla="*/ 70219 w 189823"/>
                <a:gd name="connsiteY115" fmla="*/ 300248 h 317315"/>
                <a:gd name="connsiteX116" fmla="*/ 77363 w 189823"/>
                <a:gd name="connsiteY116" fmla="*/ 298696 h 317315"/>
                <a:gd name="connsiteX117" fmla="*/ 88688 w 189823"/>
                <a:gd name="connsiteY117" fmla="*/ 299381 h 317315"/>
                <a:gd name="connsiteX118" fmla="*/ 96927 w 189823"/>
                <a:gd name="connsiteY118" fmla="*/ 300562 h 317315"/>
                <a:gd name="connsiteX119" fmla="*/ 104081 w 189823"/>
                <a:gd name="connsiteY119" fmla="*/ 301363 h 317315"/>
                <a:gd name="connsiteX120" fmla="*/ 112606 w 189823"/>
                <a:gd name="connsiteY120" fmla="*/ 300877 h 317315"/>
                <a:gd name="connsiteX121" fmla="*/ 142895 w 189823"/>
                <a:gd name="connsiteY121" fmla="*/ 303039 h 317315"/>
                <a:gd name="connsiteX122" fmla="*/ 150096 w 189823"/>
                <a:gd name="connsiteY122" fmla="*/ 302010 h 317315"/>
                <a:gd name="connsiteX123" fmla="*/ 156792 w 189823"/>
                <a:gd name="connsiteY123" fmla="*/ 305306 h 317315"/>
                <a:gd name="connsiteX124" fmla="*/ 163012 w 189823"/>
                <a:gd name="connsiteY124" fmla="*/ 307573 h 317315"/>
                <a:gd name="connsiteX125" fmla="*/ 168879 w 189823"/>
                <a:gd name="connsiteY125" fmla="*/ 309992 h 317315"/>
                <a:gd name="connsiteX126" fmla="*/ 178833 w 189823"/>
                <a:gd name="connsiteY126" fmla="*/ 309783 h 317315"/>
                <a:gd name="connsiteX127" fmla="*/ 185786 w 189823"/>
                <a:gd name="connsiteY127" fmla="*/ 314069 h 317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89823" h="317315">
                  <a:moveTo>
                    <a:pt x="186548" y="317222"/>
                  </a:moveTo>
                  <a:lnTo>
                    <a:pt x="186414" y="307573"/>
                  </a:lnTo>
                  <a:lnTo>
                    <a:pt x="189558" y="302010"/>
                  </a:lnTo>
                  <a:lnTo>
                    <a:pt x="186853" y="294648"/>
                  </a:lnTo>
                  <a:lnTo>
                    <a:pt x="186453" y="285361"/>
                  </a:lnTo>
                  <a:lnTo>
                    <a:pt x="183909" y="279665"/>
                  </a:lnTo>
                  <a:lnTo>
                    <a:pt x="178138" y="274635"/>
                  </a:lnTo>
                  <a:lnTo>
                    <a:pt x="173766" y="268930"/>
                  </a:lnTo>
                  <a:lnTo>
                    <a:pt x="169546" y="263901"/>
                  </a:lnTo>
                  <a:lnTo>
                    <a:pt x="162317" y="252137"/>
                  </a:lnTo>
                  <a:lnTo>
                    <a:pt x="162164" y="243679"/>
                  </a:lnTo>
                  <a:lnTo>
                    <a:pt x="156973" y="238821"/>
                  </a:lnTo>
                  <a:lnTo>
                    <a:pt x="152505" y="230820"/>
                  </a:lnTo>
                  <a:lnTo>
                    <a:pt x="151925" y="224324"/>
                  </a:lnTo>
                  <a:lnTo>
                    <a:pt x="148181" y="216695"/>
                  </a:lnTo>
                  <a:lnTo>
                    <a:pt x="150620" y="210075"/>
                  </a:lnTo>
                  <a:lnTo>
                    <a:pt x="150391" y="202112"/>
                  </a:lnTo>
                  <a:lnTo>
                    <a:pt x="145619" y="196540"/>
                  </a:lnTo>
                  <a:lnTo>
                    <a:pt x="149029" y="191130"/>
                  </a:lnTo>
                  <a:lnTo>
                    <a:pt x="154773" y="186901"/>
                  </a:lnTo>
                  <a:lnTo>
                    <a:pt x="157002" y="180043"/>
                  </a:lnTo>
                  <a:lnTo>
                    <a:pt x="161126" y="174328"/>
                  </a:lnTo>
                  <a:lnTo>
                    <a:pt x="163602" y="166698"/>
                  </a:lnTo>
                  <a:lnTo>
                    <a:pt x="169336" y="157668"/>
                  </a:lnTo>
                  <a:lnTo>
                    <a:pt x="173299" y="152115"/>
                  </a:lnTo>
                  <a:lnTo>
                    <a:pt x="169422" y="141009"/>
                  </a:lnTo>
                  <a:lnTo>
                    <a:pt x="165936" y="131303"/>
                  </a:lnTo>
                  <a:lnTo>
                    <a:pt x="162897" y="125122"/>
                  </a:lnTo>
                  <a:lnTo>
                    <a:pt x="158640" y="120645"/>
                  </a:lnTo>
                  <a:lnTo>
                    <a:pt x="148810" y="113339"/>
                  </a:lnTo>
                  <a:lnTo>
                    <a:pt x="142828" y="107710"/>
                  </a:lnTo>
                  <a:lnTo>
                    <a:pt x="139904" y="102147"/>
                  </a:lnTo>
                  <a:lnTo>
                    <a:pt x="135494" y="97147"/>
                  </a:lnTo>
                  <a:lnTo>
                    <a:pt x="137256" y="90489"/>
                  </a:lnTo>
                  <a:lnTo>
                    <a:pt x="145448" y="85431"/>
                  </a:lnTo>
                  <a:lnTo>
                    <a:pt x="153858" y="87288"/>
                  </a:lnTo>
                  <a:lnTo>
                    <a:pt x="160231" y="87002"/>
                  </a:lnTo>
                  <a:lnTo>
                    <a:pt x="169003" y="87336"/>
                  </a:lnTo>
                  <a:lnTo>
                    <a:pt x="175804" y="85516"/>
                  </a:lnTo>
                  <a:lnTo>
                    <a:pt x="169489" y="79944"/>
                  </a:lnTo>
                  <a:lnTo>
                    <a:pt x="165517" y="74420"/>
                  </a:lnTo>
                  <a:lnTo>
                    <a:pt x="162174" y="68857"/>
                  </a:lnTo>
                  <a:lnTo>
                    <a:pt x="160726" y="61218"/>
                  </a:lnTo>
                  <a:lnTo>
                    <a:pt x="161021" y="55246"/>
                  </a:lnTo>
                  <a:lnTo>
                    <a:pt x="159545" y="46635"/>
                  </a:lnTo>
                  <a:lnTo>
                    <a:pt x="159621" y="37977"/>
                  </a:lnTo>
                  <a:lnTo>
                    <a:pt x="159507" y="31672"/>
                  </a:lnTo>
                  <a:lnTo>
                    <a:pt x="155040" y="25395"/>
                  </a:lnTo>
                  <a:lnTo>
                    <a:pt x="155363" y="18889"/>
                  </a:lnTo>
                  <a:lnTo>
                    <a:pt x="153430" y="12250"/>
                  </a:lnTo>
                  <a:lnTo>
                    <a:pt x="148191" y="9355"/>
                  </a:lnTo>
                  <a:lnTo>
                    <a:pt x="145819" y="3040"/>
                  </a:lnTo>
                  <a:lnTo>
                    <a:pt x="134865" y="-94"/>
                  </a:lnTo>
                  <a:lnTo>
                    <a:pt x="138037" y="15041"/>
                  </a:lnTo>
                  <a:lnTo>
                    <a:pt x="145067" y="20213"/>
                  </a:lnTo>
                  <a:lnTo>
                    <a:pt x="149439" y="24480"/>
                  </a:lnTo>
                  <a:lnTo>
                    <a:pt x="149448" y="30976"/>
                  </a:lnTo>
                  <a:lnTo>
                    <a:pt x="146905" y="37825"/>
                  </a:lnTo>
                  <a:lnTo>
                    <a:pt x="148686" y="43568"/>
                  </a:lnTo>
                  <a:lnTo>
                    <a:pt x="138409" y="50798"/>
                  </a:lnTo>
                  <a:lnTo>
                    <a:pt x="132341" y="50798"/>
                  </a:lnTo>
                  <a:lnTo>
                    <a:pt x="128455" y="57618"/>
                  </a:lnTo>
                  <a:lnTo>
                    <a:pt x="124893" y="63257"/>
                  </a:lnTo>
                  <a:lnTo>
                    <a:pt x="123340" y="70591"/>
                  </a:lnTo>
                  <a:lnTo>
                    <a:pt x="120911" y="79268"/>
                  </a:lnTo>
                  <a:lnTo>
                    <a:pt x="116282" y="84221"/>
                  </a:lnTo>
                  <a:lnTo>
                    <a:pt x="116730" y="90308"/>
                  </a:lnTo>
                  <a:lnTo>
                    <a:pt x="114882" y="96594"/>
                  </a:lnTo>
                  <a:lnTo>
                    <a:pt x="106976" y="102147"/>
                  </a:lnTo>
                  <a:lnTo>
                    <a:pt x="106938" y="110082"/>
                  </a:lnTo>
                  <a:lnTo>
                    <a:pt x="104795" y="118768"/>
                  </a:lnTo>
                  <a:lnTo>
                    <a:pt x="98966" y="123969"/>
                  </a:lnTo>
                  <a:lnTo>
                    <a:pt x="93222" y="128236"/>
                  </a:lnTo>
                  <a:lnTo>
                    <a:pt x="91022" y="135380"/>
                  </a:lnTo>
                  <a:lnTo>
                    <a:pt x="89669" y="142638"/>
                  </a:lnTo>
                  <a:lnTo>
                    <a:pt x="84840" y="150020"/>
                  </a:lnTo>
                  <a:lnTo>
                    <a:pt x="83154" y="157640"/>
                  </a:lnTo>
                  <a:lnTo>
                    <a:pt x="81716" y="166584"/>
                  </a:lnTo>
                  <a:lnTo>
                    <a:pt x="75534" y="169413"/>
                  </a:lnTo>
                  <a:lnTo>
                    <a:pt x="74725" y="176175"/>
                  </a:lnTo>
                  <a:lnTo>
                    <a:pt x="70905" y="181805"/>
                  </a:lnTo>
                  <a:lnTo>
                    <a:pt x="64438" y="182643"/>
                  </a:lnTo>
                  <a:lnTo>
                    <a:pt x="61980" y="176842"/>
                  </a:lnTo>
                  <a:lnTo>
                    <a:pt x="55675" y="173099"/>
                  </a:lnTo>
                  <a:lnTo>
                    <a:pt x="50159" y="166641"/>
                  </a:lnTo>
                  <a:lnTo>
                    <a:pt x="40758" y="171842"/>
                  </a:lnTo>
                  <a:lnTo>
                    <a:pt x="32738" y="174290"/>
                  </a:lnTo>
                  <a:lnTo>
                    <a:pt x="28700" y="179871"/>
                  </a:lnTo>
                  <a:lnTo>
                    <a:pt x="23804" y="184234"/>
                  </a:lnTo>
                  <a:lnTo>
                    <a:pt x="18318" y="189225"/>
                  </a:lnTo>
                  <a:lnTo>
                    <a:pt x="12079" y="196521"/>
                  </a:lnTo>
                  <a:lnTo>
                    <a:pt x="6811" y="201388"/>
                  </a:lnTo>
                  <a:lnTo>
                    <a:pt x="8840" y="208618"/>
                  </a:lnTo>
                  <a:lnTo>
                    <a:pt x="6735" y="214733"/>
                  </a:lnTo>
                  <a:lnTo>
                    <a:pt x="5487" y="221153"/>
                  </a:lnTo>
                  <a:lnTo>
                    <a:pt x="2220" y="226639"/>
                  </a:lnTo>
                  <a:lnTo>
                    <a:pt x="-266" y="232306"/>
                  </a:lnTo>
                  <a:lnTo>
                    <a:pt x="-56" y="238526"/>
                  </a:lnTo>
                  <a:lnTo>
                    <a:pt x="1963" y="231754"/>
                  </a:lnTo>
                  <a:lnTo>
                    <a:pt x="5154" y="237221"/>
                  </a:lnTo>
                  <a:lnTo>
                    <a:pt x="4944" y="231116"/>
                  </a:lnTo>
                  <a:lnTo>
                    <a:pt x="8021" y="237793"/>
                  </a:lnTo>
                  <a:lnTo>
                    <a:pt x="8793" y="244060"/>
                  </a:lnTo>
                  <a:lnTo>
                    <a:pt x="11240" y="249928"/>
                  </a:lnTo>
                  <a:lnTo>
                    <a:pt x="16203" y="253404"/>
                  </a:lnTo>
                  <a:lnTo>
                    <a:pt x="22661" y="254519"/>
                  </a:lnTo>
                  <a:lnTo>
                    <a:pt x="28700" y="255728"/>
                  </a:lnTo>
                  <a:lnTo>
                    <a:pt x="26900" y="261501"/>
                  </a:lnTo>
                  <a:lnTo>
                    <a:pt x="33148" y="271311"/>
                  </a:lnTo>
                  <a:lnTo>
                    <a:pt x="35234" y="277350"/>
                  </a:lnTo>
                  <a:lnTo>
                    <a:pt x="33319" y="283027"/>
                  </a:lnTo>
                  <a:lnTo>
                    <a:pt x="31500" y="291752"/>
                  </a:lnTo>
                  <a:lnTo>
                    <a:pt x="31491" y="297876"/>
                  </a:lnTo>
                  <a:lnTo>
                    <a:pt x="35672" y="302677"/>
                  </a:lnTo>
                  <a:lnTo>
                    <a:pt x="64571" y="302934"/>
                  </a:lnTo>
                  <a:lnTo>
                    <a:pt x="70219" y="300248"/>
                  </a:lnTo>
                  <a:lnTo>
                    <a:pt x="77363" y="298696"/>
                  </a:lnTo>
                  <a:lnTo>
                    <a:pt x="88688" y="299381"/>
                  </a:lnTo>
                  <a:lnTo>
                    <a:pt x="96927" y="300562"/>
                  </a:lnTo>
                  <a:lnTo>
                    <a:pt x="104081" y="301363"/>
                  </a:lnTo>
                  <a:lnTo>
                    <a:pt x="112606" y="300877"/>
                  </a:lnTo>
                  <a:lnTo>
                    <a:pt x="142895" y="303039"/>
                  </a:lnTo>
                  <a:lnTo>
                    <a:pt x="150096" y="302010"/>
                  </a:lnTo>
                  <a:lnTo>
                    <a:pt x="156792" y="305306"/>
                  </a:lnTo>
                  <a:lnTo>
                    <a:pt x="163012" y="307573"/>
                  </a:lnTo>
                  <a:lnTo>
                    <a:pt x="168879" y="309992"/>
                  </a:lnTo>
                  <a:lnTo>
                    <a:pt x="178833" y="309783"/>
                  </a:lnTo>
                  <a:lnTo>
                    <a:pt x="185786" y="314069"/>
                  </a:lnTo>
                  <a:close/>
                </a:path>
              </a:pathLst>
            </a:custGeom>
            <a:solidFill>
              <a:schemeClr val="tx1"/>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67" name="Freeform: Shape 66">
              <a:extLst>
                <a:ext uri="{FF2B5EF4-FFF2-40B4-BE49-F238E27FC236}">
                  <a16:creationId xmlns:a16="http://schemas.microsoft.com/office/drawing/2014/main" id="{EF587BBC-0675-A3B1-5343-018823A13B7F}"/>
                </a:ext>
              </a:extLst>
            </p:cNvPr>
            <p:cNvSpPr/>
            <p:nvPr/>
          </p:nvSpPr>
          <p:spPr>
            <a:xfrm>
              <a:off x="8000720" y="3325727"/>
              <a:ext cx="85970" cy="69785"/>
            </a:xfrm>
            <a:custGeom>
              <a:avLst/>
              <a:gdLst>
                <a:gd name="connsiteX0" fmla="*/ 29900 w 30165"/>
                <a:gd name="connsiteY0" fmla="*/ 24176 h 24469"/>
                <a:gd name="connsiteX1" fmla="*/ 29871 w 30165"/>
                <a:gd name="connsiteY1" fmla="*/ 18156 h 24469"/>
                <a:gd name="connsiteX2" fmla="*/ 23889 w 30165"/>
                <a:gd name="connsiteY2" fmla="*/ 18651 h 24469"/>
                <a:gd name="connsiteX3" fmla="*/ 28547 w 30165"/>
                <a:gd name="connsiteY3" fmla="*/ 22404 h 24469"/>
                <a:gd name="connsiteX4" fmla="*/ 13916 w 30165"/>
                <a:gd name="connsiteY4" fmla="*/ 24376 h 24469"/>
                <a:gd name="connsiteX5" fmla="*/ 9221 w 30165"/>
                <a:gd name="connsiteY5" fmla="*/ 20565 h 24469"/>
                <a:gd name="connsiteX6" fmla="*/ 13822 w 30165"/>
                <a:gd name="connsiteY6" fmla="*/ 24366 h 24469"/>
                <a:gd name="connsiteX7" fmla="*/ 4610 w 30165"/>
                <a:gd name="connsiteY7" fmla="*/ 11812 h 24469"/>
                <a:gd name="connsiteX8" fmla="*/ 4182 w 30165"/>
                <a:gd name="connsiteY8" fmla="*/ 5868 h 24469"/>
                <a:gd name="connsiteX9" fmla="*/ 3506 w 30165"/>
                <a:gd name="connsiteY9" fmla="*/ -94 h 24469"/>
                <a:gd name="connsiteX10" fmla="*/ -266 w 30165"/>
                <a:gd name="connsiteY10" fmla="*/ 4535 h 24469"/>
                <a:gd name="connsiteX11" fmla="*/ 2591 w 30165"/>
                <a:gd name="connsiteY11" fmla="*/ 9812 h 24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65" h="24469">
                  <a:moveTo>
                    <a:pt x="29900" y="24176"/>
                  </a:moveTo>
                  <a:lnTo>
                    <a:pt x="29871" y="18156"/>
                  </a:lnTo>
                  <a:lnTo>
                    <a:pt x="23889" y="18651"/>
                  </a:lnTo>
                  <a:lnTo>
                    <a:pt x="28547" y="22404"/>
                  </a:lnTo>
                  <a:close/>
                  <a:moveTo>
                    <a:pt x="13916" y="24376"/>
                  </a:moveTo>
                  <a:lnTo>
                    <a:pt x="9221" y="20565"/>
                  </a:lnTo>
                  <a:lnTo>
                    <a:pt x="13822" y="24366"/>
                  </a:lnTo>
                  <a:close/>
                  <a:moveTo>
                    <a:pt x="4610" y="11812"/>
                  </a:moveTo>
                  <a:lnTo>
                    <a:pt x="4182" y="5868"/>
                  </a:lnTo>
                  <a:lnTo>
                    <a:pt x="3506" y="-94"/>
                  </a:lnTo>
                  <a:lnTo>
                    <a:pt x="-266" y="4535"/>
                  </a:lnTo>
                  <a:lnTo>
                    <a:pt x="2591" y="9812"/>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68" name="Freeform: Shape 67">
              <a:extLst>
                <a:ext uri="{FF2B5EF4-FFF2-40B4-BE49-F238E27FC236}">
                  <a16:creationId xmlns:a16="http://schemas.microsoft.com/office/drawing/2014/main" id="{F54685EE-84FE-F945-2FC9-131DB739535B}"/>
                </a:ext>
              </a:extLst>
            </p:cNvPr>
            <p:cNvSpPr/>
            <p:nvPr/>
          </p:nvSpPr>
          <p:spPr>
            <a:xfrm>
              <a:off x="7270217" y="672873"/>
              <a:ext cx="47261" cy="21758"/>
            </a:xfrm>
            <a:custGeom>
              <a:avLst/>
              <a:gdLst>
                <a:gd name="connsiteX0" fmla="*/ 3916 w 16583"/>
                <a:gd name="connsiteY0" fmla="*/ 7535 h 7629"/>
                <a:gd name="connsiteX1" fmla="*/ 14736 w 16583"/>
                <a:gd name="connsiteY1" fmla="*/ 6383 h 7629"/>
                <a:gd name="connsiteX2" fmla="*/ 16317 w 16583"/>
                <a:gd name="connsiteY2" fmla="*/ -94 h 7629"/>
                <a:gd name="connsiteX3" fmla="*/ 8288 w 16583"/>
                <a:gd name="connsiteY3" fmla="*/ -94 h 7629"/>
                <a:gd name="connsiteX4" fmla="*/ -266 w 16583"/>
                <a:gd name="connsiteY4" fmla="*/ -94 h 7629"/>
                <a:gd name="connsiteX5" fmla="*/ 3916 w 16583"/>
                <a:gd name="connsiteY5" fmla="*/ 7535 h 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83" h="7629">
                  <a:moveTo>
                    <a:pt x="3916" y="7535"/>
                  </a:moveTo>
                  <a:lnTo>
                    <a:pt x="14736" y="6383"/>
                  </a:lnTo>
                  <a:lnTo>
                    <a:pt x="16317" y="-94"/>
                  </a:lnTo>
                  <a:lnTo>
                    <a:pt x="8288" y="-94"/>
                  </a:lnTo>
                  <a:lnTo>
                    <a:pt x="-266" y="-94"/>
                  </a:lnTo>
                  <a:lnTo>
                    <a:pt x="3916" y="7535"/>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69" name="Freeform: Shape 68">
              <a:extLst>
                <a:ext uri="{FF2B5EF4-FFF2-40B4-BE49-F238E27FC236}">
                  <a16:creationId xmlns:a16="http://schemas.microsoft.com/office/drawing/2014/main" id="{4B2D576A-1D3C-94FE-3727-D7C8AA52D4A0}"/>
                </a:ext>
              </a:extLst>
            </p:cNvPr>
            <p:cNvSpPr/>
            <p:nvPr/>
          </p:nvSpPr>
          <p:spPr>
            <a:xfrm>
              <a:off x="5974289" y="1544597"/>
              <a:ext cx="921582" cy="693713"/>
            </a:xfrm>
            <a:custGeom>
              <a:avLst/>
              <a:gdLst>
                <a:gd name="connsiteX0" fmla="*/ 43921 w 323364"/>
                <a:gd name="connsiteY0" fmla="*/ 243146 h 243240"/>
                <a:gd name="connsiteX1" fmla="*/ 51198 w 323364"/>
                <a:gd name="connsiteY1" fmla="*/ 226849 h 243240"/>
                <a:gd name="connsiteX2" fmla="*/ 51845 w 323364"/>
                <a:gd name="connsiteY2" fmla="*/ 219972 h 243240"/>
                <a:gd name="connsiteX3" fmla="*/ 53179 w 323364"/>
                <a:gd name="connsiteY3" fmla="*/ 210599 h 243240"/>
                <a:gd name="connsiteX4" fmla="*/ 58132 w 323364"/>
                <a:gd name="connsiteY4" fmla="*/ 206379 h 243240"/>
                <a:gd name="connsiteX5" fmla="*/ 65828 w 323364"/>
                <a:gd name="connsiteY5" fmla="*/ 205646 h 243240"/>
                <a:gd name="connsiteX6" fmla="*/ 72753 w 323364"/>
                <a:gd name="connsiteY6" fmla="*/ 204570 h 243240"/>
                <a:gd name="connsiteX7" fmla="*/ 79192 w 323364"/>
                <a:gd name="connsiteY7" fmla="*/ 204170 h 243240"/>
                <a:gd name="connsiteX8" fmla="*/ 85259 w 323364"/>
                <a:gd name="connsiteY8" fmla="*/ 206779 h 243240"/>
                <a:gd name="connsiteX9" fmla="*/ 91594 w 323364"/>
                <a:gd name="connsiteY9" fmla="*/ 206046 h 243240"/>
                <a:gd name="connsiteX10" fmla="*/ 98527 w 323364"/>
                <a:gd name="connsiteY10" fmla="*/ 205656 h 243240"/>
                <a:gd name="connsiteX11" fmla="*/ 104252 w 323364"/>
                <a:gd name="connsiteY11" fmla="*/ 208627 h 243240"/>
                <a:gd name="connsiteX12" fmla="*/ 103290 w 323364"/>
                <a:gd name="connsiteY12" fmla="*/ 199474 h 243240"/>
                <a:gd name="connsiteX13" fmla="*/ 103490 w 323364"/>
                <a:gd name="connsiteY13" fmla="*/ 188349 h 243240"/>
                <a:gd name="connsiteX14" fmla="*/ 107405 w 323364"/>
                <a:gd name="connsiteY14" fmla="*/ 182872 h 243240"/>
                <a:gd name="connsiteX15" fmla="*/ 111520 w 323364"/>
                <a:gd name="connsiteY15" fmla="*/ 175776 h 243240"/>
                <a:gd name="connsiteX16" fmla="*/ 115968 w 323364"/>
                <a:gd name="connsiteY16" fmla="*/ 167860 h 243240"/>
                <a:gd name="connsiteX17" fmla="*/ 124064 w 323364"/>
                <a:gd name="connsiteY17" fmla="*/ 162460 h 243240"/>
                <a:gd name="connsiteX18" fmla="*/ 130465 w 323364"/>
                <a:gd name="connsiteY18" fmla="*/ 162098 h 243240"/>
                <a:gd name="connsiteX19" fmla="*/ 135513 w 323364"/>
                <a:gd name="connsiteY19" fmla="*/ 166089 h 243240"/>
                <a:gd name="connsiteX20" fmla="*/ 142581 w 323364"/>
                <a:gd name="connsiteY20" fmla="*/ 169127 h 243240"/>
                <a:gd name="connsiteX21" fmla="*/ 149839 w 323364"/>
                <a:gd name="connsiteY21" fmla="*/ 177157 h 243240"/>
                <a:gd name="connsiteX22" fmla="*/ 152772 w 323364"/>
                <a:gd name="connsiteY22" fmla="*/ 182434 h 243240"/>
                <a:gd name="connsiteX23" fmla="*/ 160402 w 323364"/>
                <a:gd name="connsiteY23" fmla="*/ 181281 h 243240"/>
                <a:gd name="connsiteX24" fmla="*/ 165879 w 323364"/>
                <a:gd name="connsiteY24" fmla="*/ 184272 h 243240"/>
                <a:gd name="connsiteX25" fmla="*/ 172213 w 323364"/>
                <a:gd name="connsiteY25" fmla="*/ 186034 h 243240"/>
                <a:gd name="connsiteX26" fmla="*/ 179395 w 323364"/>
                <a:gd name="connsiteY26" fmla="*/ 185196 h 243240"/>
                <a:gd name="connsiteX27" fmla="*/ 188120 w 323364"/>
                <a:gd name="connsiteY27" fmla="*/ 187082 h 243240"/>
                <a:gd name="connsiteX28" fmla="*/ 194511 w 323364"/>
                <a:gd name="connsiteY28" fmla="*/ 190701 h 243240"/>
                <a:gd name="connsiteX29" fmla="*/ 200512 w 323364"/>
                <a:gd name="connsiteY29" fmla="*/ 189130 h 243240"/>
                <a:gd name="connsiteX30" fmla="*/ 203379 w 323364"/>
                <a:gd name="connsiteY30" fmla="*/ 183567 h 243240"/>
                <a:gd name="connsiteX31" fmla="*/ 206150 w 323364"/>
                <a:gd name="connsiteY31" fmla="*/ 177252 h 243240"/>
                <a:gd name="connsiteX32" fmla="*/ 210303 w 323364"/>
                <a:gd name="connsiteY32" fmla="*/ 172870 h 243240"/>
                <a:gd name="connsiteX33" fmla="*/ 217171 w 323364"/>
                <a:gd name="connsiteY33" fmla="*/ 173356 h 243240"/>
                <a:gd name="connsiteX34" fmla="*/ 222086 w 323364"/>
                <a:gd name="connsiteY34" fmla="*/ 177223 h 243240"/>
                <a:gd name="connsiteX35" fmla="*/ 227534 w 323364"/>
                <a:gd name="connsiteY35" fmla="*/ 172756 h 243240"/>
                <a:gd name="connsiteX36" fmla="*/ 233516 w 323364"/>
                <a:gd name="connsiteY36" fmla="*/ 170718 h 243240"/>
                <a:gd name="connsiteX37" fmla="*/ 240355 w 323364"/>
                <a:gd name="connsiteY37" fmla="*/ 168403 h 243240"/>
                <a:gd name="connsiteX38" fmla="*/ 247451 w 323364"/>
                <a:gd name="connsiteY38" fmla="*/ 165260 h 243240"/>
                <a:gd name="connsiteX39" fmla="*/ 253337 w 323364"/>
                <a:gd name="connsiteY39" fmla="*/ 166822 h 243240"/>
                <a:gd name="connsiteX40" fmla="*/ 260272 w 323364"/>
                <a:gd name="connsiteY40" fmla="*/ 167489 h 243240"/>
                <a:gd name="connsiteX41" fmla="*/ 266244 w 323364"/>
                <a:gd name="connsiteY41" fmla="*/ 165289 h 243240"/>
                <a:gd name="connsiteX42" fmla="*/ 270273 w 323364"/>
                <a:gd name="connsiteY42" fmla="*/ 160583 h 243240"/>
                <a:gd name="connsiteX43" fmla="*/ 274197 w 323364"/>
                <a:gd name="connsiteY43" fmla="*/ 156049 h 243240"/>
                <a:gd name="connsiteX44" fmla="*/ 279912 w 323364"/>
                <a:gd name="connsiteY44" fmla="*/ 157735 h 243240"/>
                <a:gd name="connsiteX45" fmla="*/ 284779 w 323364"/>
                <a:gd name="connsiteY45" fmla="*/ 161460 h 243240"/>
                <a:gd name="connsiteX46" fmla="*/ 290570 w 323364"/>
                <a:gd name="connsiteY46" fmla="*/ 158707 h 243240"/>
                <a:gd name="connsiteX47" fmla="*/ 295933 w 323364"/>
                <a:gd name="connsiteY47" fmla="*/ 161669 h 243240"/>
                <a:gd name="connsiteX48" fmla="*/ 302515 w 323364"/>
                <a:gd name="connsiteY48" fmla="*/ 163517 h 243240"/>
                <a:gd name="connsiteX49" fmla="*/ 308906 w 323364"/>
                <a:gd name="connsiteY49" fmla="*/ 165146 h 243240"/>
                <a:gd name="connsiteX50" fmla="*/ 313659 w 323364"/>
                <a:gd name="connsiteY50" fmla="*/ 160583 h 243240"/>
                <a:gd name="connsiteX51" fmla="*/ 323099 w 323364"/>
                <a:gd name="connsiteY51" fmla="*/ 164050 h 243240"/>
                <a:gd name="connsiteX52" fmla="*/ 318345 w 323364"/>
                <a:gd name="connsiteY52" fmla="*/ 157154 h 243240"/>
                <a:gd name="connsiteX53" fmla="*/ 319012 w 323364"/>
                <a:gd name="connsiteY53" fmla="*/ 149534 h 243240"/>
                <a:gd name="connsiteX54" fmla="*/ 314955 w 323364"/>
                <a:gd name="connsiteY54" fmla="*/ 144067 h 243240"/>
                <a:gd name="connsiteX55" fmla="*/ 309687 w 323364"/>
                <a:gd name="connsiteY55" fmla="*/ 140971 h 243240"/>
                <a:gd name="connsiteX56" fmla="*/ 304344 w 323364"/>
                <a:gd name="connsiteY56" fmla="*/ 137885 h 243240"/>
                <a:gd name="connsiteX57" fmla="*/ 298038 w 323364"/>
                <a:gd name="connsiteY57" fmla="*/ 136418 h 243240"/>
                <a:gd name="connsiteX58" fmla="*/ 298829 w 323364"/>
                <a:gd name="connsiteY58" fmla="*/ 130313 h 243240"/>
                <a:gd name="connsiteX59" fmla="*/ 293952 w 323364"/>
                <a:gd name="connsiteY59" fmla="*/ 124912 h 243240"/>
                <a:gd name="connsiteX60" fmla="*/ 294771 w 323364"/>
                <a:gd name="connsiteY60" fmla="*/ 118673 h 243240"/>
                <a:gd name="connsiteX61" fmla="*/ 288656 w 323364"/>
                <a:gd name="connsiteY61" fmla="*/ 115073 h 243240"/>
                <a:gd name="connsiteX62" fmla="*/ 286142 w 323364"/>
                <a:gd name="connsiteY62" fmla="*/ 109463 h 243240"/>
                <a:gd name="connsiteX63" fmla="*/ 278312 w 323364"/>
                <a:gd name="connsiteY63" fmla="*/ 105110 h 243240"/>
                <a:gd name="connsiteX64" fmla="*/ 271749 w 323364"/>
                <a:gd name="connsiteY64" fmla="*/ 101204 h 243240"/>
                <a:gd name="connsiteX65" fmla="*/ 266386 w 323364"/>
                <a:gd name="connsiteY65" fmla="*/ 96880 h 243240"/>
                <a:gd name="connsiteX66" fmla="*/ 268368 w 323364"/>
                <a:gd name="connsiteY66" fmla="*/ 88698 h 243240"/>
                <a:gd name="connsiteX67" fmla="*/ 258929 w 323364"/>
                <a:gd name="connsiteY67" fmla="*/ 81802 h 243240"/>
                <a:gd name="connsiteX68" fmla="*/ 252137 w 323364"/>
                <a:gd name="connsiteY68" fmla="*/ 76725 h 243240"/>
                <a:gd name="connsiteX69" fmla="*/ 245241 w 323364"/>
                <a:gd name="connsiteY69" fmla="*/ 75992 h 243240"/>
                <a:gd name="connsiteX70" fmla="*/ 240012 w 323364"/>
                <a:gd name="connsiteY70" fmla="*/ 71820 h 243240"/>
                <a:gd name="connsiteX71" fmla="*/ 242660 w 323364"/>
                <a:gd name="connsiteY71" fmla="*/ 66210 h 243240"/>
                <a:gd name="connsiteX72" fmla="*/ 231716 w 323364"/>
                <a:gd name="connsiteY72" fmla="*/ 62657 h 243240"/>
                <a:gd name="connsiteX73" fmla="*/ 224486 w 323364"/>
                <a:gd name="connsiteY73" fmla="*/ 63190 h 243240"/>
                <a:gd name="connsiteX74" fmla="*/ 225715 w 323364"/>
                <a:gd name="connsiteY74" fmla="*/ 55122 h 243240"/>
                <a:gd name="connsiteX75" fmla="*/ 227401 w 323364"/>
                <a:gd name="connsiteY75" fmla="*/ 47331 h 243240"/>
                <a:gd name="connsiteX76" fmla="*/ 226620 w 323364"/>
                <a:gd name="connsiteY76" fmla="*/ 40397 h 243240"/>
                <a:gd name="connsiteX77" fmla="*/ 227601 w 323364"/>
                <a:gd name="connsiteY77" fmla="*/ 31024 h 243240"/>
                <a:gd name="connsiteX78" fmla="*/ 219314 w 323364"/>
                <a:gd name="connsiteY78" fmla="*/ 16432 h 243240"/>
                <a:gd name="connsiteX79" fmla="*/ 214399 w 323364"/>
                <a:gd name="connsiteY79" fmla="*/ 10803 h 243240"/>
                <a:gd name="connsiteX80" fmla="*/ 209103 w 323364"/>
                <a:gd name="connsiteY80" fmla="*/ 5173 h 243240"/>
                <a:gd name="connsiteX81" fmla="*/ 197988 w 323364"/>
                <a:gd name="connsiteY81" fmla="*/ -94 h 243240"/>
                <a:gd name="connsiteX82" fmla="*/ 191720 w 323364"/>
                <a:gd name="connsiteY82" fmla="*/ 2059 h 243240"/>
                <a:gd name="connsiteX83" fmla="*/ 186024 w 323364"/>
                <a:gd name="connsiteY83" fmla="*/ 5030 h 243240"/>
                <a:gd name="connsiteX84" fmla="*/ 178890 w 323364"/>
                <a:gd name="connsiteY84" fmla="*/ 9593 h 243240"/>
                <a:gd name="connsiteX85" fmla="*/ 179661 w 323364"/>
                <a:gd name="connsiteY85" fmla="*/ 16184 h 243240"/>
                <a:gd name="connsiteX86" fmla="*/ 174299 w 323364"/>
                <a:gd name="connsiteY86" fmla="*/ 21718 h 243240"/>
                <a:gd name="connsiteX87" fmla="*/ 171356 w 323364"/>
                <a:gd name="connsiteY87" fmla="*/ 27310 h 243240"/>
                <a:gd name="connsiteX88" fmla="*/ 164355 w 323364"/>
                <a:gd name="connsiteY88" fmla="*/ 32796 h 243240"/>
                <a:gd name="connsiteX89" fmla="*/ 160450 w 323364"/>
                <a:gd name="connsiteY89" fmla="*/ 38435 h 243240"/>
                <a:gd name="connsiteX90" fmla="*/ 157230 w 323364"/>
                <a:gd name="connsiteY90" fmla="*/ 43559 h 243240"/>
                <a:gd name="connsiteX91" fmla="*/ 150306 w 323364"/>
                <a:gd name="connsiteY91" fmla="*/ 46169 h 243240"/>
                <a:gd name="connsiteX92" fmla="*/ 146172 w 323364"/>
                <a:gd name="connsiteY92" fmla="*/ 52094 h 243240"/>
                <a:gd name="connsiteX93" fmla="*/ 139542 w 323364"/>
                <a:gd name="connsiteY93" fmla="*/ 50903 h 243240"/>
                <a:gd name="connsiteX94" fmla="*/ 134380 w 323364"/>
                <a:gd name="connsiteY94" fmla="*/ 53932 h 243240"/>
                <a:gd name="connsiteX95" fmla="*/ 128093 w 323364"/>
                <a:gd name="connsiteY95" fmla="*/ 54713 h 243240"/>
                <a:gd name="connsiteX96" fmla="*/ 121188 w 323364"/>
                <a:gd name="connsiteY96" fmla="*/ 54284 h 243240"/>
                <a:gd name="connsiteX97" fmla="*/ 113510 w 323364"/>
                <a:gd name="connsiteY97" fmla="*/ 55046 h 243240"/>
                <a:gd name="connsiteX98" fmla="*/ 109205 w 323364"/>
                <a:gd name="connsiteY98" fmla="*/ 59399 h 243240"/>
                <a:gd name="connsiteX99" fmla="*/ 115378 w 323364"/>
                <a:gd name="connsiteY99" fmla="*/ 64152 h 243240"/>
                <a:gd name="connsiteX100" fmla="*/ 110538 w 323364"/>
                <a:gd name="connsiteY100" fmla="*/ 71753 h 243240"/>
                <a:gd name="connsiteX101" fmla="*/ 104195 w 323364"/>
                <a:gd name="connsiteY101" fmla="*/ 77144 h 243240"/>
                <a:gd name="connsiteX102" fmla="*/ 88317 w 323364"/>
                <a:gd name="connsiteY102" fmla="*/ 82754 h 243240"/>
                <a:gd name="connsiteX103" fmla="*/ 79449 w 323364"/>
                <a:gd name="connsiteY103" fmla="*/ 83250 h 243240"/>
                <a:gd name="connsiteX104" fmla="*/ 73896 w 323364"/>
                <a:gd name="connsiteY104" fmla="*/ 86422 h 243240"/>
                <a:gd name="connsiteX105" fmla="*/ 68581 w 323364"/>
                <a:gd name="connsiteY105" fmla="*/ 89222 h 243240"/>
                <a:gd name="connsiteX106" fmla="*/ 61790 w 323364"/>
                <a:gd name="connsiteY106" fmla="*/ 92708 h 243240"/>
                <a:gd name="connsiteX107" fmla="*/ 55198 w 323364"/>
                <a:gd name="connsiteY107" fmla="*/ 92861 h 243240"/>
                <a:gd name="connsiteX108" fmla="*/ 52827 w 323364"/>
                <a:gd name="connsiteY108" fmla="*/ 86002 h 243240"/>
                <a:gd name="connsiteX109" fmla="*/ 48083 w 323364"/>
                <a:gd name="connsiteY109" fmla="*/ 91660 h 243240"/>
                <a:gd name="connsiteX110" fmla="*/ 42435 w 323364"/>
                <a:gd name="connsiteY110" fmla="*/ 93908 h 243240"/>
                <a:gd name="connsiteX111" fmla="*/ 33558 w 323364"/>
                <a:gd name="connsiteY111" fmla="*/ 98376 h 243240"/>
                <a:gd name="connsiteX112" fmla="*/ 25690 w 323364"/>
                <a:gd name="connsiteY112" fmla="*/ 96051 h 243240"/>
                <a:gd name="connsiteX113" fmla="*/ 19546 w 323364"/>
                <a:gd name="connsiteY113" fmla="*/ 102995 h 243240"/>
                <a:gd name="connsiteX114" fmla="*/ 17260 w 323364"/>
                <a:gd name="connsiteY114" fmla="*/ 109748 h 243240"/>
                <a:gd name="connsiteX115" fmla="*/ 15260 w 323364"/>
                <a:gd name="connsiteY115" fmla="*/ 116159 h 243240"/>
                <a:gd name="connsiteX116" fmla="*/ 11193 w 323364"/>
                <a:gd name="connsiteY116" fmla="*/ 121702 h 243240"/>
                <a:gd name="connsiteX117" fmla="*/ 8897 w 323364"/>
                <a:gd name="connsiteY117" fmla="*/ 128751 h 243240"/>
                <a:gd name="connsiteX118" fmla="*/ 3020 w 323364"/>
                <a:gd name="connsiteY118" fmla="*/ 132894 h 243240"/>
                <a:gd name="connsiteX119" fmla="*/ -266 w 323364"/>
                <a:gd name="connsiteY119" fmla="*/ 138371 h 243240"/>
                <a:gd name="connsiteX120" fmla="*/ 4516 w 323364"/>
                <a:gd name="connsiteY120" fmla="*/ 143924 h 243240"/>
                <a:gd name="connsiteX121" fmla="*/ 4744 w 323364"/>
                <a:gd name="connsiteY121" fmla="*/ 151925 h 243240"/>
                <a:gd name="connsiteX122" fmla="*/ 2306 w 323364"/>
                <a:gd name="connsiteY122" fmla="*/ 158545 h 243240"/>
                <a:gd name="connsiteX123" fmla="*/ 6449 w 323364"/>
                <a:gd name="connsiteY123" fmla="*/ 163012 h 243240"/>
                <a:gd name="connsiteX124" fmla="*/ 6992 w 323364"/>
                <a:gd name="connsiteY124" fmla="*/ 171680 h 243240"/>
                <a:gd name="connsiteX125" fmla="*/ 11098 w 323364"/>
                <a:gd name="connsiteY125" fmla="*/ 180671 h 243240"/>
                <a:gd name="connsiteX126" fmla="*/ 16289 w 323364"/>
                <a:gd name="connsiteY126" fmla="*/ 185529 h 243240"/>
                <a:gd name="connsiteX127" fmla="*/ 18584 w 323364"/>
                <a:gd name="connsiteY127" fmla="*/ 192273 h 243240"/>
                <a:gd name="connsiteX128" fmla="*/ 20375 w 323364"/>
                <a:gd name="connsiteY128" fmla="*/ 201912 h 243240"/>
                <a:gd name="connsiteX129" fmla="*/ 27595 w 323364"/>
                <a:gd name="connsiteY129" fmla="*/ 210389 h 243240"/>
                <a:gd name="connsiteX130" fmla="*/ 31900 w 323364"/>
                <a:gd name="connsiteY130" fmla="*/ 216009 h 243240"/>
                <a:gd name="connsiteX131" fmla="*/ 38034 w 323364"/>
                <a:gd name="connsiteY131" fmla="*/ 221515 h 243240"/>
                <a:gd name="connsiteX132" fmla="*/ 40958 w 323364"/>
                <a:gd name="connsiteY132" fmla="*/ 226849 h 243240"/>
                <a:gd name="connsiteX133" fmla="*/ 40977 w 323364"/>
                <a:gd name="connsiteY133" fmla="*/ 236498 h 243240"/>
                <a:gd name="connsiteX134" fmla="*/ 43921 w 323364"/>
                <a:gd name="connsiteY134" fmla="*/ 243146 h 24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323364" h="243240">
                  <a:moveTo>
                    <a:pt x="43921" y="243146"/>
                  </a:moveTo>
                  <a:lnTo>
                    <a:pt x="51198" y="226849"/>
                  </a:lnTo>
                  <a:lnTo>
                    <a:pt x="51845" y="219972"/>
                  </a:lnTo>
                  <a:lnTo>
                    <a:pt x="53179" y="210599"/>
                  </a:lnTo>
                  <a:lnTo>
                    <a:pt x="58132" y="206379"/>
                  </a:lnTo>
                  <a:lnTo>
                    <a:pt x="65828" y="205646"/>
                  </a:lnTo>
                  <a:lnTo>
                    <a:pt x="72753" y="204570"/>
                  </a:lnTo>
                  <a:lnTo>
                    <a:pt x="79192" y="204170"/>
                  </a:lnTo>
                  <a:lnTo>
                    <a:pt x="85259" y="206779"/>
                  </a:lnTo>
                  <a:lnTo>
                    <a:pt x="91594" y="206046"/>
                  </a:lnTo>
                  <a:lnTo>
                    <a:pt x="98527" y="205656"/>
                  </a:lnTo>
                  <a:lnTo>
                    <a:pt x="104252" y="208627"/>
                  </a:lnTo>
                  <a:lnTo>
                    <a:pt x="103290" y="199474"/>
                  </a:lnTo>
                  <a:lnTo>
                    <a:pt x="103490" y="188349"/>
                  </a:lnTo>
                  <a:lnTo>
                    <a:pt x="107405" y="182872"/>
                  </a:lnTo>
                  <a:lnTo>
                    <a:pt x="111520" y="175776"/>
                  </a:lnTo>
                  <a:lnTo>
                    <a:pt x="115968" y="167860"/>
                  </a:lnTo>
                  <a:lnTo>
                    <a:pt x="124064" y="162460"/>
                  </a:lnTo>
                  <a:lnTo>
                    <a:pt x="130465" y="162098"/>
                  </a:lnTo>
                  <a:lnTo>
                    <a:pt x="135513" y="166089"/>
                  </a:lnTo>
                  <a:lnTo>
                    <a:pt x="142581" y="169127"/>
                  </a:lnTo>
                  <a:lnTo>
                    <a:pt x="149839" y="177157"/>
                  </a:lnTo>
                  <a:lnTo>
                    <a:pt x="152772" y="182434"/>
                  </a:lnTo>
                  <a:lnTo>
                    <a:pt x="160402" y="181281"/>
                  </a:lnTo>
                  <a:lnTo>
                    <a:pt x="165879" y="184272"/>
                  </a:lnTo>
                  <a:lnTo>
                    <a:pt x="172213" y="186034"/>
                  </a:lnTo>
                  <a:lnTo>
                    <a:pt x="179395" y="185196"/>
                  </a:lnTo>
                  <a:lnTo>
                    <a:pt x="188120" y="187082"/>
                  </a:lnTo>
                  <a:lnTo>
                    <a:pt x="194511" y="190701"/>
                  </a:lnTo>
                  <a:lnTo>
                    <a:pt x="200512" y="189130"/>
                  </a:lnTo>
                  <a:lnTo>
                    <a:pt x="203379" y="183567"/>
                  </a:lnTo>
                  <a:lnTo>
                    <a:pt x="206150" y="177252"/>
                  </a:lnTo>
                  <a:lnTo>
                    <a:pt x="210303" y="172870"/>
                  </a:lnTo>
                  <a:lnTo>
                    <a:pt x="217171" y="173356"/>
                  </a:lnTo>
                  <a:lnTo>
                    <a:pt x="222086" y="177223"/>
                  </a:lnTo>
                  <a:lnTo>
                    <a:pt x="227534" y="172756"/>
                  </a:lnTo>
                  <a:lnTo>
                    <a:pt x="233516" y="170718"/>
                  </a:lnTo>
                  <a:lnTo>
                    <a:pt x="240355" y="168403"/>
                  </a:lnTo>
                  <a:lnTo>
                    <a:pt x="247451" y="165260"/>
                  </a:lnTo>
                  <a:lnTo>
                    <a:pt x="253337" y="166822"/>
                  </a:lnTo>
                  <a:lnTo>
                    <a:pt x="260272" y="167489"/>
                  </a:lnTo>
                  <a:lnTo>
                    <a:pt x="266244" y="165289"/>
                  </a:lnTo>
                  <a:lnTo>
                    <a:pt x="270273" y="160583"/>
                  </a:lnTo>
                  <a:lnTo>
                    <a:pt x="274197" y="156049"/>
                  </a:lnTo>
                  <a:lnTo>
                    <a:pt x="279912" y="157735"/>
                  </a:lnTo>
                  <a:lnTo>
                    <a:pt x="284779" y="161460"/>
                  </a:lnTo>
                  <a:lnTo>
                    <a:pt x="290570" y="158707"/>
                  </a:lnTo>
                  <a:lnTo>
                    <a:pt x="295933" y="161669"/>
                  </a:lnTo>
                  <a:lnTo>
                    <a:pt x="302515" y="163517"/>
                  </a:lnTo>
                  <a:lnTo>
                    <a:pt x="308906" y="165146"/>
                  </a:lnTo>
                  <a:lnTo>
                    <a:pt x="313659" y="160583"/>
                  </a:lnTo>
                  <a:lnTo>
                    <a:pt x="323099" y="164050"/>
                  </a:lnTo>
                  <a:lnTo>
                    <a:pt x="318345" y="157154"/>
                  </a:lnTo>
                  <a:lnTo>
                    <a:pt x="319012" y="149534"/>
                  </a:lnTo>
                  <a:lnTo>
                    <a:pt x="314955" y="144067"/>
                  </a:lnTo>
                  <a:lnTo>
                    <a:pt x="309687" y="140971"/>
                  </a:lnTo>
                  <a:lnTo>
                    <a:pt x="304344" y="137885"/>
                  </a:lnTo>
                  <a:lnTo>
                    <a:pt x="298038" y="136418"/>
                  </a:lnTo>
                  <a:lnTo>
                    <a:pt x="298829" y="130313"/>
                  </a:lnTo>
                  <a:lnTo>
                    <a:pt x="293952" y="124912"/>
                  </a:lnTo>
                  <a:lnTo>
                    <a:pt x="294771" y="118673"/>
                  </a:lnTo>
                  <a:lnTo>
                    <a:pt x="288656" y="115073"/>
                  </a:lnTo>
                  <a:lnTo>
                    <a:pt x="286142" y="109463"/>
                  </a:lnTo>
                  <a:lnTo>
                    <a:pt x="278312" y="105110"/>
                  </a:lnTo>
                  <a:lnTo>
                    <a:pt x="271749" y="101204"/>
                  </a:lnTo>
                  <a:lnTo>
                    <a:pt x="266386" y="96880"/>
                  </a:lnTo>
                  <a:lnTo>
                    <a:pt x="268368" y="88698"/>
                  </a:lnTo>
                  <a:lnTo>
                    <a:pt x="258929" y="81802"/>
                  </a:lnTo>
                  <a:lnTo>
                    <a:pt x="252137" y="76725"/>
                  </a:lnTo>
                  <a:lnTo>
                    <a:pt x="245241" y="75992"/>
                  </a:lnTo>
                  <a:lnTo>
                    <a:pt x="240012" y="71820"/>
                  </a:lnTo>
                  <a:lnTo>
                    <a:pt x="242660" y="66210"/>
                  </a:lnTo>
                  <a:lnTo>
                    <a:pt x="231716" y="62657"/>
                  </a:lnTo>
                  <a:lnTo>
                    <a:pt x="224486" y="63190"/>
                  </a:lnTo>
                  <a:lnTo>
                    <a:pt x="225715" y="55122"/>
                  </a:lnTo>
                  <a:lnTo>
                    <a:pt x="227401" y="47331"/>
                  </a:lnTo>
                  <a:lnTo>
                    <a:pt x="226620" y="40397"/>
                  </a:lnTo>
                  <a:lnTo>
                    <a:pt x="227601" y="31024"/>
                  </a:lnTo>
                  <a:lnTo>
                    <a:pt x="219314" y="16432"/>
                  </a:lnTo>
                  <a:lnTo>
                    <a:pt x="214399" y="10803"/>
                  </a:lnTo>
                  <a:lnTo>
                    <a:pt x="209103" y="5173"/>
                  </a:lnTo>
                  <a:lnTo>
                    <a:pt x="197988" y="-94"/>
                  </a:lnTo>
                  <a:lnTo>
                    <a:pt x="191720" y="2059"/>
                  </a:lnTo>
                  <a:lnTo>
                    <a:pt x="186024" y="5030"/>
                  </a:lnTo>
                  <a:lnTo>
                    <a:pt x="178890" y="9593"/>
                  </a:lnTo>
                  <a:lnTo>
                    <a:pt x="179661" y="16184"/>
                  </a:lnTo>
                  <a:lnTo>
                    <a:pt x="174299" y="21718"/>
                  </a:lnTo>
                  <a:lnTo>
                    <a:pt x="171356" y="27310"/>
                  </a:lnTo>
                  <a:lnTo>
                    <a:pt x="164355" y="32796"/>
                  </a:lnTo>
                  <a:lnTo>
                    <a:pt x="160450" y="38435"/>
                  </a:lnTo>
                  <a:lnTo>
                    <a:pt x="157230" y="43559"/>
                  </a:lnTo>
                  <a:lnTo>
                    <a:pt x="150306" y="46169"/>
                  </a:lnTo>
                  <a:lnTo>
                    <a:pt x="146172" y="52094"/>
                  </a:lnTo>
                  <a:lnTo>
                    <a:pt x="139542" y="50903"/>
                  </a:lnTo>
                  <a:lnTo>
                    <a:pt x="134380" y="53932"/>
                  </a:lnTo>
                  <a:lnTo>
                    <a:pt x="128093" y="54713"/>
                  </a:lnTo>
                  <a:lnTo>
                    <a:pt x="121188" y="54284"/>
                  </a:lnTo>
                  <a:lnTo>
                    <a:pt x="113510" y="55046"/>
                  </a:lnTo>
                  <a:lnTo>
                    <a:pt x="109205" y="59399"/>
                  </a:lnTo>
                  <a:lnTo>
                    <a:pt x="115378" y="64152"/>
                  </a:lnTo>
                  <a:lnTo>
                    <a:pt x="110538" y="71753"/>
                  </a:lnTo>
                  <a:lnTo>
                    <a:pt x="104195" y="77144"/>
                  </a:lnTo>
                  <a:lnTo>
                    <a:pt x="88317" y="82754"/>
                  </a:lnTo>
                  <a:lnTo>
                    <a:pt x="79449" y="83250"/>
                  </a:lnTo>
                  <a:lnTo>
                    <a:pt x="73896" y="86422"/>
                  </a:lnTo>
                  <a:lnTo>
                    <a:pt x="68581" y="89222"/>
                  </a:lnTo>
                  <a:lnTo>
                    <a:pt x="61790" y="92708"/>
                  </a:lnTo>
                  <a:lnTo>
                    <a:pt x="55198" y="92861"/>
                  </a:lnTo>
                  <a:lnTo>
                    <a:pt x="52827" y="86002"/>
                  </a:lnTo>
                  <a:lnTo>
                    <a:pt x="48083" y="91660"/>
                  </a:lnTo>
                  <a:lnTo>
                    <a:pt x="42435" y="93908"/>
                  </a:lnTo>
                  <a:lnTo>
                    <a:pt x="33558" y="98376"/>
                  </a:lnTo>
                  <a:lnTo>
                    <a:pt x="25690" y="96051"/>
                  </a:lnTo>
                  <a:lnTo>
                    <a:pt x="19546" y="102995"/>
                  </a:lnTo>
                  <a:lnTo>
                    <a:pt x="17260" y="109748"/>
                  </a:lnTo>
                  <a:lnTo>
                    <a:pt x="15260" y="116159"/>
                  </a:lnTo>
                  <a:lnTo>
                    <a:pt x="11193" y="121702"/>
                  </a:lnTo>
                  <a:lnTo>
                    <a:pt x="8897" y="128751"/>
                  </a:lnTo>
                  <a:lnTo>
                    <a:pt x="3020" y="132894"/>
                  </a:lnTo>
                  <a:lnTo>
                    <a:pt x="-266" y="138371"/>
                  </a:lnTo>
                  <a:lnTo>
                    <a:pt x="4516" y="143924"/>
                  </a:lnTo>
                  <a:lnTo>
                    <a:pt x="4744" y="151925"/>
                  </a:lnTo>
                  <a:lnTo>
                    <a:pt x="2306" y="158545"/>
                  </a:lnTo>
                  <a:lnTo>
                    <a:pt x="6449" y="163012"/>
                  </a:lnTo>
                  <a:lnTo>
                    <a:pt x="6992" y="171680"/>
                  </a:lnTo>
                  <a:lnTo>
                    <a:pt x="11098" y="180671"/>
                  </a:lnTo>
                  <a:lnTo>
                    <a:pt x="16289" y="185529"/>
                  </a:lnTo>
                  <a:lnTo>
                    <a:pt x="18584" y="192273"/>
                  </a:lnTo>
                  <a:lnTo>
                    <a:pt x="20375" y="201912"/>
                  </a:lnTo>
                  <a:lnTo>
                    <a:pt x="27595" y="210389"/>
                  </a:lnTo>
                  <a:lnTo>
                    <a:pt x="31900" y="216009"/>
                  </a:lnTo>
                  <a:lnTo>
                    <a:pt x="38034" y="221515"/>
                  </a:lnTo>
                  <a:lnTo>
                    <a:pt x="40958" y="226849"/>
                  </a:lnTo>
                  <a:lnTo>
                    <a:pt x="40977" y="236498"/>
                  </a:lnTo>
                  <a:lnTo>
                    <a:pt x="43921" y="243146"/>
                  </a:lnTo>
                  <a:close/>
                </a:path>
              </a:pathLst>
            </a:custGeom>
            <a:solidFill>
              <a:srgbClr val="FF6B0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70" name="Freeform: Shape 69">
              <a:extLst>
                <a:ext uri="{FF2B5EF4-FFF2-40B4-BE49-F238E27FC236}">
                  <a16:creationId xmlns:a16="http://schemas.microsoft.com/office/drawing/2014/main" id="{124C50C0-CBB4-8C84-CAF7-19CFB03839BD}"/>
                </a:ext>
              </a:extLst>
            </p:cNvPr>
            <p:cNvSpPr/>
            <p:nvPr/>
          </p:nvSpPr>
          <p:spPr>
            <a:xfrm>
              <a:off x="3182202" y="1060598"/>
              <a:ext cx="181119" cy="181271"/>
            </a:xfrm>
            <a:custGeom>
              <a:avLst/>
              <a:gdLst>
                <a:gd name="connsiteX0" fmla="*/ 57922 w 63551"/>
                <a:gd name="connsiteY0" fmla="*/ 14260 h 63560"/>
                <a:gd name="connsiteX1" fmla="*/ 58808 w 63551"/>
                <a:gd name="connsiteY1" fmla="*/ 8326 h 63560"/>
                <a:gd name="connsiteX2" fmla="*/ 57856 w 63551"/>
                <a:gd name="connsiteY2" fmla="*/ 14232 h 63560"/>
                <a:gd name="connsiteX3" fmla="*/ 50836 w 63551"/>
                <a:gd name="connsiteY3" fmla="*/ 55017 h 63560"/>
                <a:gd name="connsiteX4" fmla="*/ 50998 w 63551"/>
                <a:gd name="connsiteY4" fmla="*/ 49064 h 63560"/>
                <a:gd name="connsiteX5" fmla="*/ 50836 w 63551"/>
                <a:gd name="connsiteY5" fmla="*/ 55017 h 63560"/>
                <a:gd name="connsiteX6" fmla="*/ 60533 w 63551"/>
                <a:gd name="connsiteY6" fmla="*/ 31396 h 63560"/>
                <a:gd name="connsiteX7" fmla="*/ 63285 w 63551"/>
                <a:gd name="connsiteY7" fmla="*/ 26004 h 63560"/>
                <a:gd name="connsiteX8" fmla="*/ 57475 w 63551"/>
                <a:gd name="connsiteY8" fmla="*/ 27576 h 63560"/>
                <a:gd name="connsiteX9" fmla="*/ 41987 w 63551"/>
                <a:gd name="connsiteY9" fmla="*/ 61037 h 63560"/>
                <a:gd name="connsiteX10" fmla="*/ 42359 w 63551"/>
                <a:gd name="connsiteY10" fmla="*/ 55094 h 63560"/>
                <a:gd name="connsiteX11" fmla="*/ 38063 w 63551"/>
                <a:gd name="connsiteY11" fmla="*/ 50969 h 63560"/>
                <a:gd name="connsiteX12" fmla="*/ 35463 w 63551"/>
                <a:gd name="connsiteY12" fmla="*/ 56351 h 63560"/>
                <a:gd name="connsiteX13" fmla="*/ 39673 w 63551"/>
                <a:gd name="connsiteY13" fmla="*/ 60637 h 63560"/>
                <a:gd name="connsiteX14" fmla="*/ 23613 w 63551"/>
                <a:gd name="connsiteY14" fmla="*/ 17203 h 63560"/>
                <a:gd name="connsiteX15" fmla="*/ 29186 w 63551"/>
                <a:gd name="connsiteY15" fmla="*/ 15079 h 63560"/>
                <a:gd name="connsiteX16" fmla="*/ 23947 w 63551"/>
                <a:gd name="connsiteY16" fmla="*/ 12184 h 63560"/>
                <a:gd name="connsiteX17" fmla="*/ 20727 w 63551"/>
                <a:gd name="connsiteY17" fmla="*/ 63466 h 63560"/>
                <a:gd name="connsiteX18" fmla="*/ 22556 w 63551"/>
                <a:gd name="connsiteY18" fmla="*/ 57780 h 63560"/>
                <a:gd name="connsiteX19" fmla="*/ 17584 w 63551"/>
                <a:gd name="connsiteY19" fmla="*/ 61094 h 63560"/>
                <a:gd name="connsiteX20" fmla="*/ -104 w 63551"/>
                <a:gd name="connsiteY20" fmla="*/ 5364 h 63560"/>
                <a:gd name="connsiteX21" fmla="*/ 5135 w 63551"/>
                <a:gd name="connsiteY21" fmla="*/ 2506 h 63560"/>
                <a:gd name="connsiteX22" fmla="*/ -266 w 63551"/>
                <a:gd name="connsiteY22" fmla="*/ -94 h 6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551" h="63560">
                  <a:moveTo>
                    <a:pt x="57922" y="14260"/>
                  </a:moveTo>
                  <a:lnTo>
                    <a:pt x="58808" y="8326"/>
                  </a:lnTo>
                  <a:lnTo>
                    <a:pt x="57856" y="14232"/>
                  </a:lnTo>
                  <a:close/>
                  <a:moveTo>
                    <a:pt x="50836" y="55017"/>
                  </a:moveTo>
                  <a:lnTo>
                    <a:pt x="50998" y="49064"/>
                  </a:lnTo>
                  <a:lnTo>
                    <a:pt x="50836" y="55017"/>
                  </a:lnTo>
                  <a:close/>
                  <a:moveTo>
                    <a:pt x="60533" y="31396"/>
                  </a:moveTo>
                  <a:lnTo>
                    <a:pt x="63285" y="26004"/>
                  </a:lnTo>
                  <a:lnTo>
                    <a:pt x="57475" y="27576"/>
                  </a:lnTo>
                  <a:close/>
                  <a:moveTo>
                    <a:pt x="41987" y="61037"/>
                  </a:moveTo>
                  <a:lnTo>
                    <a:pt x="42359" y="55094"/>
                  </a:lnTo>
                  <a:lnTo>
                    <a:pt x="38063" y="50969"/>
                  </a:lnTo>
                  <a:lnTo>
                    <a:pt x="35463" y="56351"/>
                  </a:lnTo>
                  <a:lnTo>
                    <a:pt x="39673" y="60637"/>
                  </a:lnTo>
                  <a:close/>
                  <a:moveTo>
                    <a:pt x="23613" y="17203"/>
                  </a:moveTo>
                  <a:lnTo>
                    <a:pt x="29186" y="15079"/>
                  </a:lnTo>
                  <a:lnTo>
                    <a:pt x="23947" y="12184"/>
                  </a:lnTo>
                  <a:close/>
                  <a:moveTo>
                    <a:pt x="20727" y="63466"/>
                  </a:moveTo>
                  <a:lnTo>
                    <a:pt x="22556" y="57780"/>
                  </a:lnTo>
                  <a:lnTo>
                    <a:pt x="17584" y="61094"/>
                  </a:lnTo>
                  <a:close/>
                  <a:moveTo>
                    <a:pt x="-104" y="5364"/>
                  </a:moveTo>
                  <a:lnTo>
                    <a:pt x="5135" y="2506"/>
                  </a:lnTo>
                  <a:lnTo>
                    <a:pt x="-266" y="-94"/>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71" name="Freeform: Shape 70">
              <a:extLst>
                <a:ext uri="{FF2B5EF4-FFF2-40B4-BE49-F238E27FC236}">
                  <a16:creationId xmlns:a16="http://schemas.microsoft.com/office/drawing/2014/main" id="{B555AC9E-58F9-8806-9E8A-C9BDB6D6C2AE}"/>
                </a:ext>
              </a:extLst>
            </p:cNvPr>
            <p:cNvSpPr/>
            <p:nvPr/>
          </p:nvSpPr>
          <p:spPr>
            <a:xfrm>
              <a:off x="7898268" y="1412577"/>
              <a:ext cx="111380" cy="137833"/>
            </a:xfrm>
            <a:custGeom>
              <a:avLst/>
              <a:gdLst>
                <a:gd name="connsiteX0" fmla="*/ 4049 w 39081"/>
                <a:gd name="connsiteY0" fmla="*/ 48236 h 48329"/>
                <a:gd name="connsiteX1" fmla="*/ 9936 w 39081"/>
                <a:gd name="connsiteY1" fmla="*/ 46588 h 48329"/>
                <a:gd name="connsiteX2" fmla="*/ 15917 w 39081"/>
                <a:gd name="connsiteY2" fmla="*/ 46255 h 48329"/>
                <a:gd name="connsiteX3" fmla="*/ 21604 w 39081"/>
                <a:gd name="connsiteY3" fmla="*/ 43692 h 48329"/>
                <a:gd name="connsiteX4" fmla="*/ 26757 w 39081"/>
                <a:gd name="connsiteY4" fmla="*/ 46721 h 48329"/>
                <a:gd name="connsiteX5" fmla="*/ 32834 w 39081"/>
                <a:gd name="connsiteY5" fmla="*/ 38939 h 48329"/>
                <a:gd name="connsiteX6" fmla="*/ 35834 w 39081"/>
                <a:gd name="connsiteY6" fmla="*/ 33082 h 48329"/>
                <a:gd name="connsiteX7" fmla="*/ 31300 w 39081"/>
                <a:gd name="connsiteY7" fmla="*/ 29186 h 48329"/>
                <a:gd name="connsiteX8" fmla="*/ 25204 w 39081"/>
                <a:gd name="connsiteY8" fmla="*/ 29500 h 48329"/>
                <a:gd name="connsiteX9" fmla="*/ 19680 w 39081"/>
                <a:gd name="connsiteY9" fmla="*/ 32948 h 48329"/>
                <a:gd name="connsiteX10" fmla="*/ 22347 w 39081"/>
                <a:gd name="connsiteY10" fmla="*/ 27443 h 48329"/>
                <a:gd name="connsiteX11" fmla="*/ 27566 w 39081"/>
                <a:gd name="connsiteY11" fmla="*/ 24195 h 48329"/>
                <a:gd name="connsiteX12" fmla="*/ 33329 w 39081"/>
                <a:gd name="connsiteY12" fmla="*/ 19556 h 48329"/>
                <a:gd name="connsiteX13" fmla="*/ 38815 w 39081"/>
                <a:gd name="connsiteY13" fmla="*/ 16613 h 48329"/>
                <a:gd name="connsiteX14" fmla="*/ 37768 w 39081"/>
                <a:gd name="connsiteY14" fmla="*/ 10526 h 48329"/>
                <a:gd name="connsiteX15" fmla="*/ 36006 w 39081"/>
                <a:gd name="connsiteY15" fmla="*/ 4754 h 48329"/>
                <a:gd name="connsiteX16" fmla="*/ 31815 w 39081"/>
                <a:gd name="connsiteY16" fmla="*/ -94 h 48329"/>
                <a:gd name="connsiteX17" fmla="*/ 25985 w 39081"/>
                <a:gd name="connsiteY17" fmla="*/ 1201 h 48329"/>
                <a:gd name="connsiteX18" fmla="*/ 22642 w 39081"/>
                <a:gd name="connsiteY18" fmla="*/ 6669 h 48329"/>
                <a:gd name="connsiteX19" fmla="*/ 15260 w 39081"/>
                <a:gd name="connsiteY19" fmla="*/ 3544 h 48329"/>
                <a:gd name="connsiteX20" fmla="*/ 11631 w 39081"/>
                <a:gd name="connsiteY20" fmla="*/ 9659 h 48329"/>
                <a:gd name="connsiteX21" fmla="*/ 7964 w 39081"/>
                <a:gd name="connsiteY21" fmla="*/ 14851 h 48329"/>
                <a:gd name="connsiteX22" fmla="*/ 3401 w 39081"/>
                <a:gd name="connsiteY22" fmla="*/ 23128 h 48329"/>
                <a:gd name="connsiteX23" fmla="*/ -266 w 39081"/>
                <a:gd name="connsiteY23" fmla="*/ 29176 h 48329"/>
                <a:gd name="connsiteX24" fmla="*/ 153 w 39081"/>
                <a:gd name="connsiteY24" fmla="*/ 37044 h 48329"/>
                <a:gd name="connsiteX25" fmla="*/ 325 w 39081"/>
                <a:gd name="connsiteY25" fmla="*/ 45874 h 4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081" h="48329">
                  <a:moveTo>
                    <a:pt x="4049" y="48236"/>
                  </a:moveTo>
                  <a:lnTo>
                    <a:pt x="9936" y="46588"/>
                  </a:lnTo>
                  <a:lnTo>
                    <a:pt x="15917" y="46255"/>
                  </a:lnTo>
                  <a:lnTo>
                    <a:pt x="21604" y="43692"/>
                  </a:lnTo>
                  <a:lnTo>
                    <a:pt x="26757" y="46721"/>
                  </a:lnTo>
                  <a:lnTo>
                    <a:pt x="32834" y="38939"/>
                  </a:lnTo>
                  <a:lnTo>
                    <a:pt x="35834" y="33082"/>
                  </a:lnTo>
                  <a:lnTo>
                    <a:pt x="31300" y="29186"/>
                  </a:lnTo>
                  <a:lnTo>
                    <a:pt x="25204" y="29500"/>
                  </a:lnTo>
                  <a:lnTo>
                    <a:pt x="19680" y="32948"/>
                  </a:lnTo>
                  <a:lnTo>
                    <a:pt x="22347" y="27443"/>
                  </a:lnTo>
                  <a:lnTo>
                    <a:pt x="27566" y="24195"/>
                  </a:lnTo>
                  <a:lnTo>
                    <a:pt x="33329" y="19556"/>
                  </a:lnTo>
                  <a:lnTo>
                    <a:pt x="38815" y="16613"/>
                  </a:lnTo>
                  <a:lnTo>
                    <a:pt x="37768" y="10526"/>
                  </a:lnTo>
                  <a:lnTo>
                    <a:pt x="36006" y="4754"/>
                  </a:lnTo>
                  <a:lnTo>
                    <a:pt x="31815" y="-94"/>
                  </a:lnTo>
                  <a:lnTo>
                    <a:pt x="25985" y="1201"/>
                  </a:lnTo>
                  <a:lnTo>
                    <a:pt x="22642" y="6669"/>
                  </a:lnTo>
                  <a:lnTo>
                    <a:pt x="15260" y="3544"/>
                  </a:lnTo>
                  <a:lnTo>
                    <a:pt x="11631" y="9659"/>
                  </a:lnTo>
                  <a:lnTo>
                    <a:pt x="7964" y="14851"/>
                  </a:lnTo>
                  <a:lnTo>
                    <a:pt x="3401" y="23128"/>
                  </a:lnTo>
                  <a:lnTo>
                    <a:pt x="-266" y="29176"/>
                  </a:lnTo>
                  <a:lnTo>
                    <a:pt x="153" y="37044"/>
                  </a:lnTo>
                  <a:lnTo>
                    <a:pt x="325" y="45874"/>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72" name="Freeform: Shape 71">
              <a:extLst>
                <a:ext uri="{FF2B5EF4-FFF2-40B4-BE49-F238E27FC236}">
                  <a16:creationId xmlns:a16="http://schemas.microsoft.com/office/drawing/2014/main" id="{57255504-EC8B-03C5-4A2B-890EDCB4181A}"/>
                </a:ext>
              </a:extLst>
            </p:cNvPr>
            <p:cNvSpPr/>
            <p:nvPr/>
          </p:nvSpPr>
          <p:spPr>
            <a:xfrm>
              <a:off x="6636626" y="-87123"/>
              <a:ext cx="874780" cy="760455"/>
            </a:xfrm>
            <a:custGeom>
              <a:avLst/>
              <a:gdLst>
                <a:gd name="connsiteX0" fmla="*/ 192291 w 306942"/>
                <a:gd name="connsiteY0" fmla="*/ 12726 h 266642"/>
                <a:gd name="connsiteX1" fmla="*/ 200130 w 306942"/>
                <a:gd name="connsiteY1" fmla="*/ 10517 h 266642"/>
                <a:gd name="connsiteX2" fmla="*/ 192291 w 306942"/>
                <a:gd name="connsiteY2" fmla="*/ 12726 h 266642"/>
                <a:gd name="connsiteX3" fmla="*/ 306677 w 306942"/>
                <a:gd name="connsiteY3" fmla="*/ 266549 h 266642"/>
                <a:gd name="connsiteX4" fmla="*/ 301495 w 306942"/>
                <a:gd name="connsiteY4" fmla="*/ 260834 h 266642"/>
                <a:gd name="connsiteX5" fmla="*/ 295799 w 306942"/>
                <a:gd name="connsiteY5" fmla="*/ 256681 h 266642"/>
                <a:gd name="connsiteX6" fmla="*/ 291751 w 306942"/>
                <a:gd name="connsiteY6" fmla="*/ 252090 h 266642"/>
                <a:gd name="connsiteX7" fmla="*/ 287465 w 306942"/>
                <a:gd name="connsiteY7" fmla="*/ 247870 h 266642"/>
                <a:gd name="connsiteX8" fmla="*/ 281655 w 306942"/>
                <a:gd name="connsiteY8" fmla="*/ 246537 h 266642"/>
                <a:gd name="connsiteX9" fmla="*/ 277578 w 306942"/>
                <a:gd name="connsiteY9" fmla="*/ 242165 h 266642"/>
                <a:gd name="connsiteX10" fmla="*/ 275206 w 306942"/>
                <a:gd name="connsiteY10" fmla="*/ 236678 h 266642"/>
                <a:gd name="connsiteX11" fmla="*/ 272520 w 306942"/>
                <a:gd name="connsiteY11" fmla="*/ 230858 h 266642"/>
                <a:gd name="connsiteX12" fmla="*/ 270463 w 306942"/>
                <a:gd name="connsiteY12" fmla="*/ 225239 h 266642"/>
                <a:gd name="connsiteX13" fmla="*/ 270625 w 306942"/>
                <a:gd name="connsiteY13" fmla="*/ 219257 h 266642"/>
                <a:gd name="connsiteX14" fmla="*/ 269644 w 306942"/>
                <a:gd name="connsiteY14" fmla="*/ 213218 h 266642"/>
                <a:gd name="connsiteX15" fmla="*/ 276101 w 306942"/>
                <a:gd name="connsiteY15" fmla="*/ 212551 h 266642"/>
                <a:gd name="connsiteX16" fmla="*/ 271644 w 306942"/>
                <a:gd name="connsiteY16" fmla="*/ 208256 h 266642"/>
                <a:gd name="connsiteX17" fmla="*/ 267282 w 306942"/>
                <a:gd name="connsiteY17" fmla="*/ 203751 h 266642"/>
                <a:gd name="connsiteX18" fmla="*/ 261719 w 306942"/>
                <a:gd name="connsiteY18" fmla="*/ 197759 h 266642"/>
                <a:gd name="connsiteX19" fmla="*/ 258871 w 306942"/>
                <a:gd name="connsiteY19" fmla="*/ 192140 h 266642"/>
                <a:gd name="connsiteX20" fmla="*/ 256080 w 306942"/>
                <a:gd name="connsiteY20" fmla="*/ 186034 h 266642"/>
                <a:gd name="connsiteX21" fmla="*/ 253175 w 306942"/>
                <a:gd name="connsiteY21" fmla="*/ 180662 h 266642"/>
                <a:gd name="connsiteX22" fmla="*/ 249565 w 306942"/>
                <a:gd name="connsiteY22" fmla="*/ 174814 h 266642"/>
                <a:gd name="connsiteX23" fmla="*/ 246974 w 306942"/>
                <a:gd name="connsiteY23" fmla="*/ 169184 h 266642"/>
                <a:gd name="connsiteX24" fmla="*/ 244145 w 306942"/>
                <a:gd name="connsiteY24" fmla="*/ 163679 h 266642"/>
                <a:gd name="connsiteX25" fmla="*/ 240269 w 306942"/>
                <a:gd name="connsiteY25" fmla="*/ 159049 h 266642"/>
                <a:gd name="connsiteX26" fmla="*/ 237249 w 306942"/>
                <a:gd name="connsiteY26" fmla="*/ 153554 h 266642"/>
                <a:gd name="connsiteX27" fmla="*/ 234125 w 306942"/>
                <a:gd name="connsiteY27" fmla="*/ 148353 h 266642"/>
                <a:gd name="connsiteX28" fmla="*/ 230839 w 306942"/>
                <a:gd name="connsiteY28" fmla="*/ 142638 h 266642"/>
                <a:gd name="connsiteX29" fmla="*/ 227114 w 306942"/>
                <a:gd name="connsiteY29" fmla="*/ 137237 h 266642"/>
                <a:gd name="connsiteX30" fmla="*/ 227620 w 306942"/>
                <a:gd name="connsiteY30" fmla="*/ 131017 h 266642"/>
                <a:gd name="connsiteX31" fmla="*/ 224828 w 306942"/>
                <a:gd name="connsiteY31" fmla="*/ 125579 h 266642"/>
                <a:gd name="connsiteX32" fmla="*/ 221847 w 306942"/>
                <a:gd name="connsiteY32" fmla="*/ 120007 h 266642"/>
                <a:gd name="connsiteX33" fmla="*/ 217532 w 306942"/>
                <a:gd name="connsiteY33" fmla="*/ 113873 h 266642"/>
                <a:gd name="connsiteX34" fmla="*/ 214989 w 306942"/>
                <a:gd name="connsiteY34" fmla="*/ 108034 h 266642"/>
                <a:gd name="connsiteX35" fmla="*/ 212503 w 306942"/>
                <a:gd name="connsiteY35" fmla="*/ 99833 h 266642"/>
                <a:gd name="connsiteX36" fmla="*/ 207798 w 306942"/>
                <a:gd name="connsiteY36" fmla="*/ 96004 h 266642"/>
                <a:gd name="connsiteX37" fmla="*/ 203712 w 306942"/>
                <a:gd name="connsiteY37" fmla="*/ 91289 h 266642"/>
                <a:gd name="connsiteX38" fmla="*/ 200340 w 306942"/>
                <a:gd name="connsiteY38" fmla="*/ 86259 h 266642"/>
                <a:gd name="connsiteX39" fmla="*/ 196225 w 306942"/>
                <a:gd name="connsiteY39" fmla="*/ 81430 h 266642"/>
                <a:gd name="connsiteX40" fmla="*/ 192996 w 306942"/>
                <a:gd name="connsiteY40" fmla="*/ 76420 h 266642"/>
                <a:gd name="connsiteX41" fmla="*/ 190148 w 306942"/>
                <a:gd name="connsiteY41" fmla="*/ 70629 h 266642"/>
                <a:gd name="connsiteX42" fmla="*/ 189253 w 306942"/>
                <a:gd name="connsiteY42" fmla="*/ 64342 h 266642"/>
                <a:gd name="connsiteX43" fmla="*/ 184966 w 306942"/>
                <a:gd name="connsiteY43" fmla="*/ 58580 h 266642"/>
                <a:gd name="connsiteX44" fmla="*/ 183823 w 306942"/>
                <a:gd name="connsiteY44" fmla="*/ 50722 h 266642"/>
                <a:gd name="connsiteX45" fmla="*/ 186681 w 306942"/>
                <a:gd name="connsiteY45" fmla="*/ 45454 h 266642"/>
                <a:gd name="connsiteX46" fmla="*/ 189681 w 306942"/>
                <a:gd name="connsiteY46" fmla="*/ 51055 h 266642"/>
                <a:gd name="connsiteX47" fmla="*/ 191567 w 306942"/>
                <a:gd name="connsiteY47" fmla="*/ 56837 h 266642"/>
                <a:gd name="connsiteX48" fmla="*/ 194463 w 306942"/>
                <a:gd name="connsiteY48" fmla="*/ 62514 h 266642"/>
                <a:gd name="connsiteX49" fmla="*/ 198359 w 306942"/>
                <a:gd name="connsiteY49" fmla="*/ 67438 h 266642"/>
                <a:gd name="connsiteX50" fmla="*/ 202902 w 306942"/>
                <a:gd name="connsiteY50" fmla="*/ 71448 h 266642"/>
                <a:gd name="connsiteX51" fmla="*/ 204721 w 306942"/>
                <a:gd name="connsiteY51" fmla="*/ 77439 h 266642"/>
                <a:gd name="connsiteX52" fmla="*/ 205531 w 306942"/>
                <a:gd name="connsiteY52" fmla="*/ 83564 h 266642"/>
                <a:gd name="connsiteX53" fmla="*/ 209503 w 306942"/>
                <a:gd name="connsiteY53" fmla="*/ 88022 h 266642"/>
                <a:gd name="connsiteX54" fmla="*/ 214370 w 306942"/>
                <a:gd name="connsiteY54" fmla="*/ 91670 h 266642"/>
                <a:gd name="connsiteX55" fmla="*/ 219209 w 306942"/>
                <a:gd name="connsiteY55" fmla="*/ 98413 h 266642"/>
                <a:gd name="connsiteX56" fmla="*/ 227753 w 306942"/>
                <a:gd name="connsiteY56" fmla="*/ 105386 h 266642"/>
                <a:gd name="connsiteX57" fmla="*/ 233506 w 306942"/>
                <a:gd name="connsiteY57" fmla="*/ 102290 h 266642"/>
                <a:gd name="connsiteX58" fmla="*/ 235763 w 306942"/>
                <a:gd name="connsiteY58" fmla="*/ 96366 h 266642"/>
                <a:gd name="connsiteX59" fmla="*/ 236002 w 306942"/>
                <a:gd name="connsiteY59" fmla="*/ 86612 h 266642"/>
                <a:gd name="connsiteX60" fmla="*/ 238783 w 306942"/>
                <a:gd name="connsiteY60" fmla="*/ 78630 h 266642"/>
                <a:gd name="connsiteX61" fmla="*/ 239659 w 306942"/>
                <a:gd name="connsiteY61" fmla="*/ 72086 h 266642"/>
                <a:gd name="connsiteX62" fmla="*/ 240288 w 306942"/>
                <a:gd name="connsiteY62" fmla="*/ 63428 h 266642"/>
                <a:gd name="connsiteX63" fmla="*/ 243726 w 306942"/>
                <a:gd name="connsiteY63" fmla="*/ 58456 h 266642"/>
                <a:gd name="connsiteX64" fmla="*/ 241297 w 306942"/>
                <a:gd name="connsiteY64" fmla="*/ 49912 h 266642"/>
                <a:gd name="connsiteX65" fmla="*/ 236687 w 306942"/>
                <a:gd name="connsiteY65" fmla="*/ 39035 h 266642"/>
                <a:gd name="connsiteX66" fmla="*/ 232782 w 306942"/>
                <a:gd name="connsiteY66" fmla="*/ 32862 h 266642"/>
                <a:gd name="connsiteX67" fmla="*/ 230868 w 306942"/>
                <a:gd name="connsiteY67" fmla="*/ 25443 h 266642"/>
                <a:gd name="connsiteX68" fmla="*/ 226581 w 306942"/>
                <a:gd name="connsiteY68" fmla="*/ 16965 h 266642"/>
                <a:gd name="connsiteX69" fmla="*/ 222343 w 306942"/>
                <a:gd name="connsiteY69" fmla="*/ 7593 h 266642"/>
                <a:gd name="connsiteX70" fmla="*/ 217313 w 306942"/>
                <a:gd name="connsiteY70" fmla="*/ 11012 h 266642"/>
                <a:gd name="connsiteX71" fmla="*/ 211065 w 306942"/>
                <a:gd name="connsiteY71" fmla="*/ 13117 h 266642"/>
                <a:gd name="connsiteX72" fmla="*/ 205112 w 306942"/>
                <a:gd name="connsiteY72" fmla="*/ 12631 h 266642"/>
                <a:gd name="connsiteX73" fmla="*/ 199435 w 306942"/>
                <a:gd name="connsiteY73" fmla="*/ 14546 h 266642"/>
                <a:gd name="connsiteX74" fmla="*/ 193272 w 306942"/>
                <a:gd name="connsiteY74" fmla="*/ 13736 h 266642"/>
                <a:gd name="connsiteX75" fmla="*/ 187662 w 306942"/>
                <a:gd name="connsiteY75" fmla="*/ 15765 h 266642"/>
                <a:gd name="connsiteX76" fmla="*/ 182214 w 306942"/>
                <a:gd name="connsiteY76" fmla="*/ 13165 h 266642"/>
                <a:gd name="connsiteX77" fmla="*/ 177394 w 306942"/>
                <a:gd name="connsiteY77" fmla="*/ 8993 h 266642"/>
                <a:gd name="connsiteX78" fmla="*/ 170946 w 306942"/>
                <a:gd name="connsiteY78" fmla="*/ 6383 h 266642"/>
                <a:gd name="connsiteX79" fmla="*/ 165336 w 306942"/>
                <a:gd name="connsiteY79" fmla="*/ 1944 h 266642"/>
                <a:gd name="connsiteX80" fmla="*/ 159020 w 306942"/>
                <a:gd name="connsiteY80" fmla="*/ 4287 h 266642"/>
                <a:gd name="connsiteX81" fmla="*/ 152096 w 306942"/>
                <a:gd name="connsiteY81" fmla="*/ 1182 h 266642"/>
                <a:gd name="connsiteX82" fmla="*/ 144390 w 306942"/>
                <a:gd name="connsiteY82" fmla="*/ 316 h 266642"/>
                <a:gd name="connsiteX83" fmla="*/ 138294 w 306942"/>
                <a:gd name="connsiteY83" fmla="*/ 2630 h 266642"/>
                <a:gd name="connsiteX84" fmla="*/ 132246 w 306942"/>
                <a:gd name="connsiteY84" fmla="*/ 3754 h 266642"/>
                <a:gd name="connsiteX85" fmla="*/ 127455 w 306942"/>
                <a:gd name="connsiteY85" fmla="*/ 8669 h 266642"/>
                <a:gd name="connsiteX86" fmla="*/ 121387 w 306942"/>
                <a:gd name="connsiteY86" fmla="*/ 9812 h 266642"/>
                <a:gd name="connsiteX87" fmla="*/ 113148 w 306942"/>
                <a:gd name="connsiteY87" fmla="*/ 16517 h 266642"/>
                <a:gd name="connsiteX88" fmla="*/ 107519 w 306942"/>
                <a:gd name="connsiteY88" fmla="*/ 19975 h 266642"/>
                <a:gd name="connsiteX89" fmla="*/ 101470 w 306942"/>
                <a:gd name="connsiteY89" fmla="*/ 21566 h 266642"/>
                <a:gd name="connsiteX90" fmla="*/ 95565 w 306942"/>
                <a:gd name="connsiteY90" fmla="*/ 18861 h 266642"/>
                <a:gd name="connsiteX91" fmla="*/ 90031 w 306942"/>
                <a:gd name="connsiteY91" fmla="*/ 16222 h 266642"/>
                <a:gd name="connsiteX92" fmla="*/ 84173 w 306942"/>
                <a:gd name="connsiteY92" fmla="*/ 14270 h 266642"/>
                <a:gd name="connsiteX93" fmla="*/ 78077 w 306942"/>
                <a:gd name="connsiteY93" fmla="*/ 14070 h 266642"/>
                <a:gd name="connsiteX94" fmla="*/ 71733 w 306942"/>
                <a:gd name="connsiteY94" fmla="*/ 11012 h 266642"/>
                <a:gd name="connsiteX95" fmla="*/ 64294 w 306942"/>
                <a:gd name="connsiteY95" fmla="*/ 11012 h 266642"/>
                <a:gd name="connsiteX96" fmla="*/ 58751 w 306942"/>
                <a:gd name="connsiteY96" fmla="*/ 6211 h 266642"/>
                <a:gd name="connsiteX97" fmla="*/ 52150 w 306942"/>
                <a:gd name="connsiteY97" fmla="*/ 5459 h 266642"/>
                <a:gd name="connsiteX98" fmla="*/ 44501 w 306942"/>
                <a:gd name="connsiteY98" fmla="*/ 3144 h 266642"/>
                <a:gd name="connsiteX99" fmla="*/ 38415 w 306942"/>
                <a:gd name="connsiteY99" fmla="*/ 2830 h 266642"/>
                <a:gd name="connsiteX100" fmla="*/ 27708 w 306942"/>
                <a:gd name="connsiteY100" fmla="*/ -94 h 266642"/>
                <a:gd name="connsiteX101" fmla="*/ 12173 w 306942"/>
                <a:gd name="connsiteY101" fmla="*/ 2601 h 266642"/>
                <a:gd name="connsiteX102" fmla="*/ 6496 w 306942"/>
                <a:gd name="connsiteY102" fmla="*/ -94 h 266642"/>
                <a:gd name="connsiteX103" fmla="*/ -266 w 306942"/>
                <a:gd name="connsiteY103" fmla="*/ 5383 h 266642"/>
                <a:gd name="connsiteX104" fmla="*/ 696 w 306942"/>
                <a:gd name="connsiteY104" fmla="*/ 12660 h 266642"/>
                <a:gd name="connsiteX105" fmla="*/ 4563 w 306942"/>
                <a:gd name="connsiteY105" fmla="*/ 22071 h 266642"/>
                <a:gd name="connsiteX106" fmla="*/ 3591 w 306942"/>
                <a:gd name="connsiteY106" fmla="*/ 29957 h 266642"/>
                <a:gd name="connsiteX107" fmla="*/ 105 w 306942"/>
                <a:gd name="connsiteY107" fmla="*/ 35396 h 266642"/>
                <a:gd name="connsiteX108" fmla="*/ 96 w 306942"/>
                <a:gd name="connsiteY108" fmla="*/ 41949 h 266642"/>
                <a:gd name="connsiteX109" fmla="*/ 2382 w 306942"/>
                <a:gd name="connsiteY109" fmla="*/ 48064 h 266642"/>
                <a:gd name="connsiteX110" fmla="*/ 4020 w 306942"/>
                <a:gd name="connsiteY110" fmla="*/ 55360 h 266642"/>
                <a:gd name="connsiteX111" fmla="*/ 7344 w 306942"/>
                <a:gd name="connsiteY111" fmla="*/ 66114 h 266642"/>
                <a:gd name="connsiteX112" fmla="*/ 8678 w 306942"/>
                <a:gd name="connsiteY112" fmla="*/ 88660 h 266642"/>
                <a:gd name="connsiteX113" fmla="*/ 9173 w 306942"/>
                <a:gd name="connsiteY113" fmla="*/ 96366 h 266642"/>
                <a:gd name="connsiteX114" fmla="*/ 11393 w 306942"/>
                <a:gd name="connsiteY114" fmla="*/ 135399 h 266642"/>
                <a:gd name="connsiteX115" fmla="*/ 13802 w 306942"/>
                <a:gd name="connsiteY115" fmla="*/ 176880 h 266642"/>
                <a:gd name="connsiteX116" fmla="*/ 14374 w 306942"/>
                <a:gd name="connsiteY116" fmla="*/ 186634 h 266642"/>
                <a:gd name="connsiteX117" fmla="*/ 15621 w 306942"/>
                <a:gd name="connsiteY117" fmla="*/ 218352 h 266642"/>
                <a:gd name="connsiteX118" fmla="*/ 17050 w 306942"/>
                <a:gd name="connsiteY118" fmla="*/ 252509 h 266642"/>
                <a:gd name="connsiteX119" fmla="*/ 17593 w 306942"/>
                <a:gd name="connsiteY119" fmla="*/ 266387 h 266642"/>
                <a:gd name="connsiteX120" fmla="*/ 93670 w 306942"/>
                <a:gd name="connsiteY120" fmla="*/ 266387 h 266642"/>
                <a:gd name="connsiteX121" fmla="*/ 171326 w 306942"/>
                <a:gd name="connsiteY121" fmla="*/ 266387 h 266642"/>
                <a:gd name="connsiteX122" fmla="*/ 174746 w 306942"/>
                <a:gd name="connsiteY122" fmla="*/ 260148 h 266642"/>
                <a:gd name="connsiteX123" fmla="*/ 173375 w 306942"/>
                <a:gd name="connsiteY123" fmla="*/ 266387 h 266642"/>
                <a:gd name="connsiteX124" fmla="*/ 230601 w 306942"/>
                <a:gd name="connsiteY124" fmla="*/ 266320 h 266642"/>
                <a:gd name="connsiteX125" fmla="*/ 306325 w 306942"/>
                <a:gd name="connsiteY125" fmla="*/ 266387 h 26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306942" h="266642">
                  <a:moveTo>
                    <a:pt x="192291" y="12726"/>
                  </a:moveTo>
                  <a:lnTo>
                    <a:pt x="200130" y="10517"/>
                  </a:lnTo>
                  <a:lnTo>
                    <a:pt x="192291" y="12726"/>
                  </a:lnTo>
                  <a:close/>
                  <a:moveTo>
                    <a:pt x="306677" y="266549"/>
                  </a:moveTo>
                  <a:lnTo>
                    <a:pt x="301495" y="260834"/>
                  </a:lnTo>
                  <a:lnTo>
                    <a:pt x="295799" y="256681"/>
                  </a:lnTo>
                  <a:lnTo>
                    <a:pt x="291751" y="252090"/>
                  </a:lnTo>
                  <a:lnTo>
                    <a:pt x="287465" y="247870"/>
                  </a:lnTo>
                  <a:lnTo>
                    <a:pt x="281655" y="246537"/>
                  </a:lnTo>
                  <a:lnTo>
                    <a:pt x="277578" y="242165"/>
                  </a:lnTo>
                  <a:lnTo>
                    <a:pt x="275206" y="236678"/>
                  </a:lnTo>
                  <a:lnTo>
                    <a:pt x="272520" y="230858"/>
                  </a:lnTo>
                  <a:lnTo>
                    <a:pt x="270463" y="225239"/>
                  </a:lnTo>
                  <a:lnTo>
                    <a:pt x="270625" y="219257"/>
                  </a:lnTo>
                  <a:lnTo>
                    <a:pt x="269644" y="213218"/>
                  </a:lnTo>
                  <a:lnTo>
                    <a:pt x="276101" y="212551"/>
                  </a:lnTo>
                  <a:lnTo>
                    <a:pt x="271644" y="208256"/>
                  </a:lnTo>
                  <a:lnTo>
                    <a:pt x="267282" y="203751"/>
                  </a:lnTo>
                  <a:lnTo>
                    <a:pt x="261719" y="197759"/>
                  </a:lnTo>
                  <a:lnTo>
                    <a:pt x="258871" y="192140"/>
                  </a:lnTo>
                  <a:lnTo>
                    <a:pt x="256080" y="186034"/>
                  </a:lnTo>
                  <a:lnTo>
                    <a:pt x="253175" y="180662"/>
                  </a:lnTo>
                  <a:lnTo>
                    <a:pt x="249565" y="174814"/>
                  </a:lnTo>
                  <a:lnTo>
                    <a:pt x="246974" y="169184"/>
                  </a:lnTo>
                  <a:lnTo>
                    <a:pt x="244145" y="163679"/>
                  </a:lnTo>
                  <a:lnTo>
                    <a:pt x="240269" y="159049"/>
                  </a:lnTo>
                  <a:lnTo>
                    <a:pt x="237249" y="153554"/>
                  </a:lnTo>
                  <a:lnTo>
                    <a:pt x="234125" y="148353"/>
                  </a:lnTo>
                  <a:lnTo>
                    <a:pt x="230839" y="142638"/>
                  </a:lnTo>
                  <a:lnTo>
                    <a:pt x="227114" y="137237"/>
                  </a:lnTo>
                  <a:lnTo>
                    <a:pt x="227620" y="131017"/>
                  </a:lnTo>
                  <a:lnTo>
                    <a:pt x="224828" y="125579"/>
                  </a:lnTo>
                  <a:lnTo>
                    <a:pt x="221847" y="120007"/>
                  </a:lnTo>
                  <a:lnTo>
                    <a:pt x="217532" y="113873"/>
                  </a:lnTo>
                  <a:lnTo>
                    <a:pt x="214989" y="108034"/>
                  </a:lnTo>
                  <a:lnTo>
                    <a:pt x="212503" y="99833"/>
                  </a:lnTo>
                  <a:lnTo>
                    <a:pt x="207798" y="96004"/>
                  </a:lnTo>
                  <a:lnTo>
                    <a:pt x="203712" y="91289"/>
                  </a:lnTo>
                  <a:lnTo>
                    <a:pt x="200340" y="86259"/>
                  </a:lnTo>
                  <a:lnTo>
                    <a:pt x="196225" y="81430"/>
                  </a:lnTo>
                  <a:lnTo>
                    <a:pt x="192996" y="76420"/>
                  </a:lnTo>
                  <a:lnTo>
                    <a:pt x="190148" y="70629"/>
                  </a:lnTo>
                  <a:lnTo>
                    <a:pt x="189253" y="64342"/>
                  </a:lnTo>
                  <a:lnTo>
                    <a:pt x="184966" y="58580"/>
                  </a:lnTo>
                  <a:lnTo>
                    <a:pt x="183823" y="50722"/>
                  </a:lnTo>
                  <a:lnTo>
                    <a:pt x="186681" y="45454"/>
                  </a:lnTo>
                  <a:lnTo>
                    <a:pt x="189681" y="51055"/>
                  </a:lnTo>
                  <a:lnTo>
                    <a:pt x="191567" y="56837"/>
                  </a:lnTo>
                  <a:lnTo>
                    <a:pt x="194463" y="62514"/>
                  </a:lnTo>
                  <a:lnTo>
                    <a:pt x="198359" y="67438"/>
                  </a:lnTo>
                  <a:lnTo>
                    <a:pt x="202902" y="71448"/>
                  </a:lnTo>
                  <a:lnTo>
                    <a:pt x="204721" y="77439"/>
                  </a:lnTo>
                  <a:lnTo>
                    <a:pt x="205531" y="83564"/>
                  </a:lnTo>
                  <a:lnTo>
                    <a:pt x="209503" y="88022"/>
                  </a:lnTo>
                  <a:lnTo>
                    <a:pt x="214370" y="91670"/>
                  </a:lnTo>
                  <a:lnTo>
                    <a:pt x="219209" y="98413"/>
                  </a:lnTo>
                  <a:lnTo>
                    <a:pt x="227753" y="105386"/>
                  </a:lnTo>
                  <a:lnTo>
                    <a:pt x="233506" y="102290"/>
                  </a:lnTo>
                  <a:lnTo>
                    <a:pt x="235763" y="96366"/>
                  </a:lnTo>
                  <a:lnTo>
                    <a:pt x="236002" y="86612"/>
                  </a:lnTo>
                  <a:lnTo>
                    <a:pt x="238783" y="78630"/>
                  </a:lnTo>
                  <a:lnTo>
                    <a:pt x="239659" y="72086"/>
                  </a:lnTo>
                  <a:lnTo>
                    <a:pt x="240288" y="63428"/>
                  </a:lnTo>
                  <a:lnTo>
                    <a:pt x="243726" y="58456"/>
                  </a:lnTo>
                  <a:lnTo>
                    <a:pt x="241297" y="49912"/>
                  </a:lnTo>
                  <a:lnTo>
                    <a:pt x="236687" y="39035"/>
                  </a:lnTo>
                  <a:lnTo>
                    <a:pt x="232782" y="32862"/>
                  </a:lnTo>
                  <a:lnTo>
                    <a:pt x="230868" y="25443"/>
                  </a:lnTo>
                  <a:lnTo>
                    <a:pt x="226581" y="16965"/>
                  </a:lnTo>
                  <a:lnTo>
                    <a:pt x="222343" y="7593"/>
                  </a:lnTo>
                  <a:lnTo>
                    <a:pt x="217313" y="11012"/>
                  </a:lnTo>
                  <a:lnTo>
                    <a:pt x="211065" y="13117"/>
                  </a:lnTo>
                  <a:lnTo>
                    <a:pt x="205112" y="12631"/>
                  </a:lnTo>
                  <a:lnTo>
                    <a:pt x="199435" y="14546"/>
                  </a:lnTo>
                  <a:lnTo>
                    <a:pt x="193272" y="13736"/>
                  </a:lnTo>
                  <a:lnTo>
                    <a:pt x="187662" y="15765"/>
                  </a:lnTo>
                  <a:lnTo>
                    <a:pt x="182214" y="13165"/>
                  </a:lnTo>
                  <a:lnTo>
                    <a:pt x="177394" y="8993"/>
                  </a:lnTo>
                  <a:lnTo>
                    <a:pt x="170946" y="6383"/>
                  </a:lnTo>
                  <a:lnTo>
                    <a:pt x="165336" y="1944"/>
                  </a:lnTo>
                  <a:lnTo>
                    <a:pt x="159020" y="4287"/>
                  </a:lnTo>
                  <a:lnTo>
                    <a:pt x="152096" y="1182"/>
                  </a:lnTo>
                  <a:lnTo>
                    <a:pt x="144390" y="316"/>
                  </a:lnTo>
                  <a:lnTo>
                    <a:pt x="138294" y="2630"/>
                  </a:lnTo>
                  <a:lnTo>
                    <a:pt x="132246" y="3754"/>
                  </a:lnTo>
                  <a:lnTo>
                    <a:pt x="127455" y="8669"/>
                  </a:lnTo>
                  <a:lnTo>
                    <a:pt x="121387" y="9812"/>
                  </a:lnTo>
                  <a:lnTo>
                    <a:pt x="113148" y="16517"/>
                  </a:lnTo>
                  <a:lnTo>
                    <a:pt x="107519" y="19975"/>
                  </a:lnTo>
                  <a:lnTo>
                    <a:pt x="101470" y="21566"/>
                  </a:lnTo>
                  <a:lnTo>
                    <a:pt x="95565" y="18861"/>
                  </a:lnTo>
                  <a:lnTo>
                    <a:pt x="90031" y="16222"/>
                  </a:lnTo>
                  <a:lnTo>
                    <a:pt x="84173" y="14270"/>
                  </a:lnTo>
                  <a:lnTo>
                    <a:pt x="78077" y="14070"/>
                  </a:lnTo>
                  <a:lnTo>
                    <a:pt x="71733" y="11012"/>
                  </a:lnTo>
                  <a:lnTo>
                    <a:pt x="64294" y="11012"/>
                  </a:lnTo>
                  <a:lnTo>
                    <a:pt x="58751" y="6211"/>
                  </a:lnTo>
                  <a:lnTo>
                    <a:pt x="52150" y="5459"/>
                  </a:lnTo>
                  <a:lnTo>
                    <a:pt x="44501" y="3144"/>
                  </a:lnTo>
                  <a:lnTo>
                    <a:pt x="38415" y="2830"/>
                  </a:lnTo>
                  <a:lnTo>
                    <a:pt x="27708" y="-94"/>
                  </a:lnTo>
                  <a:lnTo>
                    <a:pt x="12173" y="2601"/>
                  </a:lnTo>
                  <a:lnTo>
                    <a:pt x="6496" y="-94"/>
                  </a:lnTo>
                  <a:lnTo>
                    <a:pt x="-266" y="5383"/>
                  </a:lnTo>
                  <a:lnTo>
                    <a:pt x="696" y="12660"/>
                  </a:lnTo>
                  <a:lnTo>
                    <a:pt x="4563" y="22071"/>
                  </a:lnTo>
                  <a:lnTo>
                    <a:pt x="3591" y="29957"/>
                  </a:lnTo>
                  <a:lnTo>
                    <a:pt x="105" y="35396"/>
                  </a:lnTo>
                  <a:lnTo>
                    <a:pt x="96" y="41949"/>
                  </a:lnTo>
                  <a:lnTo>
                    <a:pt x="2382" y="48064"/>
                  </a:lnTo>
                  <a:lnTo>
                    <a:pt x="4020" y="55360"/>
                  </a:lnTo>
                  <a:lnTo>
                    <a:pt x="7344" y="66114"/>
                  </a:lnTo>
                  <a:lnTo>
                    <a:pt x="8678" y="88660"/>
                  </a:lnTo>
                  <a:lnTo>
                    <a:pt x="9173" y="96366"/>
                  </a:lnTo>
                  <a:lnTo>
                    <a:pt x="11393" y="135399"/>
                  </a:lnTo>
                  <a:lnTo>
                    <a:pt x="13802" y="176880"/>
                  </a:lnTo>
                  <a:lnTo>
                    <a:pt x="14374" y="186634"/>
                  </a:lnTo>
                  <a:lnTo>
                    <a:pt x="15621" y="218352"/>
                  </a:lnTo>
                  <a:lnTo>
                    <a:pt x="17050" y="252509"/>
                  </a:lnTo>
                  <a:lnTo>
                    <a:pt x="17593" y="266387"/>
                  </a:lnTo>
                  <a:lnTo>
                    <a:pt x="93670" y="266387"/>
                  </a:lnTo>
                  <a:lnTo>
                    <a:pt x="171326" y="266387"/>
                  </a:lnTo>
                  <a:lnTo>
                    <a:pt x="174746" y="260148"/>
                  </a:lnTo>
                  <a:lnTo>
                    <a:pt x="173375" y="266387"/>
                  </a:lnTo>
                  <a:lnTo>
                    <a:pt x="230601" y="266320"/>
                  </a:lnTo>
                  <a:lnTo>
                    <a:pt x="306325" y="266387"/>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73" name="Freeform: Shape 72">
              <a:extLst>
                <a:ext uri="{FF2B5EF4-FFF2-40B4-BE49-F238E27FC236}">
                  <a16:creationId xmlns:a16="http://schemas.microsoft.com/office/drawing/2014/main" id="{74DE0B36-3CC8-3440-664F-91898B359770}"/>
                </a:ext>
              </a:extLst>
            </p:cNvPr>
            <p:cNvSpPr/>
            <p:nvPr/>
          </p:nvSpPr>
          <p:spPr>
            <a:xfrm>
              <a:off x="5549995" y="2117045"/>
              <a:ext cx="211740" cy="224464"/>
            </a:xfrm>
            <a:custGeom>
              <a:avLst/>
              <a:gdLst>
                <a:gd name="connsiteX0" fmla="*/ 37806 w 74295"/>
                <a:gd name="connsiteY0" fmla="*/ 78611 h 78705"/>
                <a:gd name="connsiteX1" fmla="*/ 55903 w 74295"/>
                <a:gd name="connsiteY1" fmla="*/ 76439 h 78705"/>
                <a:gd name="connsiteX2" fmla="*/ 62609 w 74295"/>
                <a:gd name="connsiteY2" fmla="*/ 75687 h 78705"/>
                <a:gd name="connsiteX3" fmla="*/ 70086 w 74295"/>
                <a:gd name="connsiteY3" fmla="*/ 76449 h 78705"/>
                <a:gd name="connsiteX4" fmla="*/ 72124 w 74295"/>
                <a:gd name="connsiteY4" fmla="*/ 65171 h 78705"/>
                <a:gd name="connsiteX5" fmla="*/ 72105 w 74295"/>
                <a:gd name="connsiteY5" fmla="*/ 58132 h 78705"/>
                <a:gd name="connsiteX6" fmla="*/ 74029 w 74295"/>
                <a:gd name="connsiteY6" fmla="*/ 52103 h 78705"/>
                <a:gd name="connsiteX7" fmla="*/ 72248 w 74295"/>
                <a:gd name="connsiteY7" fmla="*/ 45474 h 78705"/>
                <a:gd name="connsiteX8" fmla="*/ 43454 w 74295"/>
                <a:gd name="connsiteY8" fmla="*/ 44064 h 78705"/>
                <a:gd name="connsiteX9" fmla="*/ 37444 w 74295"/>
                <a:gd name="connsiteY9" fmla="*/ 43245 h 78705"/>
                <a:gd name="connsiteX10" fmla="*/ 33881 w 74295"/>
                <a:gd name="connsiteY10" fmla="*/ 48665 h 78705"/>
                <a:gd name="connsiteX11" fmla="*/ 31652 w 74295"/>
                <a:gd name="connsiteY11" fmla="*/ 55408 h 78705"/>
                <a:gd name="connsiteX12" fmla="*/ 28033 w 74295"/>
                <a:gd name="connsiteY12" fmla="*/ 62943 h 78705"/>
                <a:gd name="connsiteX13" fmla="*/ 24728 w 74295"/>
                <a:gd name="connsiteY13" fmla="*/ 68553 h 78705"/>
                <a:gd name="connsiteX14" fmla="*/ 28262 w 74295"/>
                <a:gd name="connsiteY14" fmla="*/ 74154 h 78705"/>
                <a:gd name="connsiteX15" fmla="*/ 33938 w 74295"/>
                <a:gd name="connsiteY15" fmla="*/ 76459 h 78705"/>
                <a:gd name="connsiteX16" fmla="*/ 5954 w 74295"/>
                <a:gd name="connsiteY16" fmla="*/ 15127 h 78705"/>
                <a:gd name="connsiteX17" fmla="*/ 9193 w 74295"/>
                <a:gd name="connsiteY17" fmla="*/ 9174 h 78705"/>
                <a:gd name="connsiteX18" fmla="*/ 12259 w 74295"/>
                <a:gd name="connsiteY18" fmla="*/ 3268 h 78705"/>
                <a:gd name="connsiteX19" fmla="*/ 7326 w 74295"/>
                <a:gd name="connsiteY19" fmla="*/ -94 h 78705"/>
                <a:gd name="connsiteX20" fmla="*/ 4278 w 74295"/>
                <a:gd name="connsiteY20" fmla="*/ 5202 h 78705"/>
                <a:gd name="connsiteX21" fmla="*/ -266 w 74295"/>
                <a:gd name="connsiteY21" fmla="*/ 9822 h 78705"/>
                <a:gd name="connsiteX22" fmla="*/ 5954 w 74295"/>
                <a:gd name="connsiteY22" fmla="*/ 15127 h 78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295" h="78705">
                  <a:moveTo>
                    <a:pt x="37806" y="78611"/>
                  </a:moveTo>
                  <a:lnTo>
                    <a:pt x="55903" y="76439"/>
                  </a:lnTo>
                  <a:lnTo>
                    <a:pt x="62609" y="75687"/>
                  </a:lnTo>
                  <a:lnTo>
                    <a:pt x="70086" y="76449"/>
                  </a:lnTo>
                  <a:lnTo>
                    <a:pt x="72124" y="65171"/>
                  </a:lnTo>
                  <a:lnTo>
                    <a:pt x="72105" y="58132"/>
                  </a:lnTo>
                  <a:lnTo>
                    <a:pt x="74029" y="52103"/>
                  </a:lnTo>
                  <a:lnTo>
                    <a:pt x="72248" y="45474"/>
                  </a:lnTo>
                  <a:lnTo>
                    <a:pt x="43454" y="44064"/>
                  </a:lnTo>
                  <a:lnTo>
                    <a:pt x="37444" y="43245"/>
                  </a:lnTo>
                  <a:lnTo>
                    <a:pt x="33881" y="48665"/>
                  </a:lnTo>
                  <a:lnTo>
                    <a:pt x="31652" y="55408"/>
                  </a:lnTo>
                  <a:lnTo>
                    <a:pt x="28033" y="62943"/>
                  </a:lnTo>
                  <a:lnTo>
                    <a:pt x="24728" y="68553"/>
                  </a:lnTo>
                  <a:lnTo>
                    <a:pt x="28262" y="74154"/>
                  </a:lnTo>
                  <a:lnTo>
                    <a:pt x="33938" y="76459"/>
                  </a:lnTo>
                  <a:close/>
                  <a:moveTo>
                    <a:pt x="5954" y="15127"/>
                  </a:moveTo>
                  <a:lnTo>
                    <a:pt x="9193" y="9174"/>
                  </a:lnTo>
                  <a:lnTo>
                    <a:pt x="12259" y="3268"/>
                  </a:lnTo>
                  <a:lnTo>
                    <a:pt x="7326" y="-94"/>
                  </a:lnTo>
                  <a:lnTo>
                    <a:pt x="4278" y="5202"/>
                  </a:lnTo>
                  <a:lnTo>
                    <a:pt x="-266" y="9822"/>
                  </a:lnTo>
                  <a:lnTo>
                    <a:pt x="5954" y="15127"/>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74" name="Freeform: Shape 73">
              <a:extLst>
                <a:ext uri="{FF2B5EF4-FFF2-40B4-BE49-F238E27FC236}">
                  <a16:creationId xmlns:a16="http://schemas.microsoft.com/office/drawing/2014/main" id="{991E2B6D-11AA-2359-F85E-C1B283CDC5D8}"/>
                </a:ext>
              </a:extLst>
            </p:cNvPr>
            <p:cNvSpPr/>
            <p:nvPr/>
          </p:nvSpPr>
          <p:spPr>
            <a:xfrm>
              <a:off x="7512386" y="989536"/>
              <a:ext cx="475409" cy="446889"/>
            </a:xfrm>
            <a:custGeom>
              <a:avLst/>
              <a:gdLst>
                <a:gd name="connsiteX0" fmla="*/ 156449 w 166811"/>
                <a:gd name="connsiteY0" fmla="*/ 156602 h 156695"/>
                <a:gd name="connsiteX1" fmla="*/ 159354 w 166811"/>
                <a:gd name="connsiteY1" fmla="*/ 151363 h 156695"/>
                <a:gd name="connsiteX2" fmla="*/ 166545 w 166811"/>
                <a:gd name="connsiteY2" fmla="*/ 146753 h 156695"/>
                <a:gd name="connsiteX3" fmla="*/ 163288 w 166811"/>
                <a:gd name="connsiteY3" fmla="*/ 141685 h 156695"/>
                <a:gd name="connsiteX4" fmla="*/ 157316 w 166811"/>
                <a:gd name="connsiteY4" fmla="*/ 142162 h 156695"/>
                <a:gd name="connsiteX5" fmla="*/ 154753 w 166811"/>
                <a:gd name="connsiteY5" fmla="*/ 136723 h 156695"/>
                <a:gd name="connsiteX6" fmla="*/ 149553 w 166811"/>
                <a:gd name="connsiteY6" fmla="*/ 133542 h 156695"/>
                <a:gd name="connsiteX7" fmla="*/ 146829 w 166811"/>
                <a:gd name="connsiteY7" fmla="*/ 127979 h 156695"/>
                <a:gd name="connsiteX8" fmla="*/ 143828 w 166811"/>
                <a:gd name="connsiteY8" fmla="*/ 121864 h 156695"/>
                <a:gd name="connsiteX9" fmla="*/ 138866 w 166811"/>
                <a:gd name="connsiteY9" fmla="*/ 118426 h 156695"/>
                <a:gd name="connsiteX10" fmla="*/ 134055 w 166811"/>
                <a:gd name="connsiteY10" fmla="*/ 114749 h 156695"/>
                <a:gd name="connsiteX11" fmla="*/ 128921 w 166811"/>
                <a:gd name="connsiteY11" fmla="*/ 110948 h 156695"/>
                <a:gd name="connsiteX12" fmla="*/ 125083 w 166811"/>
                <a:gd name="connsiteY12" fmla="*/ 105386 h 156695"/>
                <a:gd name="connsiteX13" fmla="*/ 120930 w 166811"/>
                <a:gd name="connsiteY13" fmla="*/ 99833 h 156695"/>
                <a:gd name="connsiteX14" fmla="*/ 116787 w 166811"/>
                <a:gd name="connsiteY14" fmla="*/ 94327 h 156695"/>
                <a:gd name="connsiteX15" fmla="*/ 111157 w 166811"/>
                <a:gd name="connsiteY15" fmla="*/ 92251 h 156695"/>
                <a:gd name="connsiteX16" fmla="*/ 105109 w 166811"/>
                <a:gd name="connsiteY16" fmla="*/ 89679 h 156695"/>
                <a:gd name="connsiteX17" fmla="*/ 102442 w 166811"/>
                <a:gd name="connsiteY17" fmla="*/ 84297 h 156695"/>
                <a:gd name="connsiteX18" fmla="*/ 96489 w 166811"/>
                <a:gd name="connsiteY18" fmla="*/ 84583 h 156695"/>
                <a:gd name="connsiteX19" fmla="*/ 90698 w 166811"/>
                <a:gd name="connsiteY19" fmla="*/ 83021 h 156695"/>
                <a:gd name="connsiteX20" fmla="*/ 87421 w 166811"/>
                <a:gd name="connsiteY20" fmla="*/ 77725 h 156695"/>
                <a:gd name="connsiteX21" fmla="*/ 85535 w 166811"/>
                <a:gd name="connsiteY21" fmla="*/ 71477 h 156695"/>
                <a:gd name="connsiteX22" fmla="*/ 81230 w 166811"/>
                <a:gd name="connsiteY22" fmla="*/ 75935 h 156695"/>
                <a:gd name="connsiteX23" fmla="*/ 77296 w 166811"/>
                <a:gd name="connsiteY23" fmla="*/ 71067 h 156695"/>
                <a:gd name="connsiteX24" fmla="*/ 72276 w 166811"/>
                <a:gd name="connsiteY24" fmla="*/ 66524 h 156695"/>
                <a:gd name="connsiteX25" fmla="*/ 70209 w 166811"/>
                <a:gd name="connsiteY25" fmla="*/ 59885 h 156695"/>
                <a:gd name="connsiteX26" fmla="*/ 66581 w 166811"/>
                <a:gd name="connsiteY26" fmla="*/ 53389 h 156695"/>
                <a:gd name="connsiteX27" fmla="*/ 65152 w 166811"/>
                <a:gd name="connsiteY27" fmla="*/ 47283 h 156695"/>
                <a:gd name="connsiteX28" fmla="*/ 64295 w 166811"/>
                <a:gd name="connsiteY28" fmla="*/ 41121 h 156695"/>
                <a:gd name="connsiteX29" fmla="*/ 62713 w 166811"/>
                <a:gd name="connsiteY29" fmla="*/ 35072 h 156695"/>
                <a:gd name="connsiteX30" fmla="*/ 60304 w 166811"/>
                <a:gd name="connsiteY30" fmla="*/ 28309 h 156695"/>
                <a:gd name="connsiteX31" fmla="*/ 58751 w 166811"/>
                <a:gd name="connsiteY31" fmla="*/ 22118 h 156695"/>
                <a:gd name="connsiteX32" fmla="*/ 55798 w 166811"/>
                <a:gd name="connsiteY32" fmla="*/ 14250 h 156695"/>
                <a:gd name="connsiteX33" fmla="*/ 50379 w 166811"/>
                <a:gd name="connsiteY33" fmla="*/ 5497 h 156695"/>
                <a:gd name="connsiteX34" fmla="*/ 47111 w 166811"/>
                <a:gd name="connsiteY34" fmla="*/ -94 h 156695"/>
                <a:gd name="connsiteX35" fmla="*/ 43092 w 166811"/>
                <a:gd name="connsiteY35" fmla="*/ 6716 h 156695"/>
                <a:gd name="connsiteX36" fmla="*/ 40587 w 166811"/>
                <a:gd name="connsiteY36" fmla="*/ 12155 h 156695"/>
                <a:gd name="connsiteX37" fmla="*/ 33176 w 166811"/>
                <a:gd name="connsiteY37" fmla="*/ 13736 h 156695"/>
                <a:gd name="connsiteX38" fmla="*/ 27938 w 166811"/>
                <a:gd name="connsiteY38" fmla="*/ 16965 h 156695"/>
                <a:gd name="connsiteX39" fmla="*/ 21994 w 166811"/>
                <a:gd name="connsiteY39" fmla="*/ 18880 h 156695"/>
                <a:gd name="connsiteX40" fmla="*/ 20822 w 166811"/>
                <a:gd name="connsiteY40" fmla="*/ 24852 h 156695"/>
                <a:gd name="connsiteX41" fmla="*/ 14755 w 166811"/>
                <a:gd name="connsiteY41" fmla="*/ 26785 h 156695"/>
                <a:gd name="connsiteX42" fmla="*/ 10535 w 166811"/>
                <a:gd name="connsiteY42" fmla="*/ 31129 h 156695"/>
                <a:gd name="connsiteX43" fmla="*/ 8525 w 166811"/>
                <a:gd name="connsiteY43" fmla="*/ 37511 h 156695"/>
                <a:gd name="connsiteX44" fmla="*/ 9840 w 166811"/>
                <a:gd name="connsiteY44" fmla="*/ 43464 h 156695"/>
                <a:gd name="connsiteX45" fmla="*/ 9154 w 166811"/>
                <a:gd name="connsiteY45" fmla="*/ 49569 h 156695"/>
                <a:gd name="connsiteX46" fmla="*/ 6030 w 166811"/>
                <a:gd name="connsiteY46" fmla="*/ 60752 h 156695"/>
                <a:gd name="connsiteX47" fmla="*/ 3677 w 166811"/>
                <a:gd name="connsiteY47" fmla="*/ 66505 h 156695"/>
                <a:gd name="connsiteX48" fmla="*/ 1811 w 166811"/>
                <a:gd name="connsiteY48" fmla="*/ 75001 h 156695"/>
                <a:gd name="connsiteX49" fmla="*/ -266 w 166811"/>
                <a:gd name="connsiteY49" fmla="*/ 83659 h 156695"/>
                <a:gd name="connsiteX50" fmla="*/ 886 w 166811"/>
                <a:gd name="connsiteY50" fmla="*/ 92717 h 156695"/>
                <a:gd name="connsiteX51" fmla="*/ 1734 w 166811"/>
                <a:gd name="connsiteY51" fmla="*/ 99442 h 156695"/>
                <a:gd name="connsiteX52" fmla="*/ 7363 w 166811"/>
                <a:gd name="connsiteY52" fmla="*/ 101985 h 156695"/>
                <a:gd name="connsiteX53" fmla="*/ 13526 w 166811"/>
                <a:gd name="connsiteY53" fmla="*/ 103538 h 156695"/>
                <a:gd name="connsiteX54" fmla="*/ 18165 w 166811"/>
                <a:gd name="connsiteY54" fmla="*/ 99280 h 156695"/>
                <a:gd name="connsiteX55" fmla="*/ 23632 w 166811"/>
                <a:gd name="connsiteY55" fmla="*/ 102224 h 156695"/>
                <a:gd name="connsiteX56" fmla="*/ 35557 w 166811"/>
                <a:gd name="connsiteY56" fmla="*/ 86126 h 156695"/>
                <a:gd name="connsiteX57" fmla="*/ 40196 w 166811"/>
                <a:gd name="connsiteY57" fmla="*/ 91051 h 156695"/>
                <a:gd name="connsiteX58" fmla="*/ 45349 w 166811"/>
                <a:gd name="connsiteY58" fmla="*/ 94251 h 156695"/>
                <a:gd name="connsiteX59" fmla="*/ 49207 w 166811"/>
                <a:gd name="connsiteY59" fmla="*/ 99014 h 156695"/>
                <a:gd name="connsiteX60" fmla="*/ 55541 w 166811"/>
                <a:gd name="connsiteY60" fmla="*/ 97861 h 156695"/>
                <a:gd name="connsiteX61" fmla="*/ 61570 w 166811"/>
                <a:gd name="connsiteY61" fmla="*/ 96080 h 156695"/>
                <a:gd name="connsiteX62" fmla="*/ 66780 w 166811"/>
                <a:gd name="connsiteY62" fmla="*/ 92917 h 156695"/>
                <a:gd name="connsiteX63" fmla="*/ 69047 w 166811"/>
                <a:gd name="connsiteY63" fmla="*/ 99547 h 156695"/>
                <a:gd name="connsiteX64" fmla="*/ 74515 w 166811"/>
                <a:gd name="connsiteY64" fmla="*/ 97070 h 156695"/>
                <a:gd name="connsiteX65" fmla="*/ 80287 w 166811"/>
                <a:gd name="connsiteY65" fmla="*/ 95508 h 156695"/>
                <a:gd name="connsiteX66" fmla="*/ 85516 w 166811"/>
                <a:gd name="connsiteY66" fmla="*/ 99232 h 156695"/>
                <a:gd name="connsiteX67" fmla="*/ 90650 w 166811"/>
                <a:gd name="connsiteY67" fmla="*/ 95766 h 156695"/>
                <a:gd name="connsiteX68" fmla="*/ 96565 w 166811"/>
                <a:gd name="connsiteY68" fmla="*/ 100766 h 156695"/>
                <a:gd name="connsiteX69" fmla="*/ 107023 w 166811"/>
                <a:gd name="connsiteY69" fmla="*/ 105824 h 156695"/>
                <a:gd name="connsiteX70" fmla="*/ 112481 w 166811"/>
                <a:gd name="connsiteY70" fmla="*/ 110472 h 156695"/>
                <a:gd name="connsiteX71" fmla="*/ 115663 w 166811"/>
                <a:gd name="connsiteY71" fmla="*/ 115720 h 156695"/>
                <a:gd name="connsiteX72" fmla="*/ 119235 w 166811"/>
                <a:gd name="connsiteY72" fmla="*/ 121750 h 156695"/>
                <a:gd name="connsiteX73" fmla="*/ 124264 w 166811"/>
                <a:gd name="connsiteY73" fmla="*/ 125141 h 156695"/>
                <a:gd name="connsiteX74" fmla="*/ 129864 w 166811"/>
                <a:gd name="connsiteY74" fmla="*/ 129713 h 156695"/>
                <a:gd name="connsiteX75" fmla="*/ 135618 w 166811"/>
                <a:gd name="connsiteY75" fmla="*/ 136628 h 156695"/>
                <a:gd name="connsiteX76" fmla="*/ 139304 w 166811"/>
                <a:gd name="connsiteY76" fmla="*/ 142352 h 156695"/>
                <a:gd name="connsiteX77" fmla="*/ 145429 w 166811"/>
                <a:gd name="connsiteY77" fmla="*/ 148239 h 156695"/>
                <a:gd name="connsiteX78" fmla="*/ 148991 w 166811"/>
                <a:gd name="connsiteY78" fmla="*/ 153439 h 156695"/>
                <a:gd name="connsiteX79" fmla="*/ 154925 w 166811"/>
                <a:gd name="connsiteY79" fmla="*/ 155259 h 156695"/>
                <a:gd name="connsiteX80" fmla="*/ 93793 w 166811"/>
                <a:gd name="connsiteY80" fmla="*/ 67581 h 156695"/>
                <a:gd name="connsiteX81" fmla="*/ 89136 w 166811"/>
                <a:gd name="connsiteY81" fmla="*/ 63371 h 156695"/>
                <a:gd name="connsiteX82" fmla="*/ 84364 w 166811"/>
                <a:gd name="connsiteY82" fmla="*/ 58532 h 156695"/>
                <a:gd name="connsiteX83" fmla="*/ 86993 w 166811"/>
                <a:gd name="connsiteY83" fmla="*/ 63961 h 156695"/>
                <a:gd name="connsiteX84" fmla="*/ 93793 w 166811"/>
                <a:gd name="connsiteY84" fmla="*/ 67581 h 15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6811" h="156695">
                  <a:moveTo>
                    <a:pt x="156449" y="156602"/>
                  </a:moveTo>
                  <a:lnTo>
                    <a:pt x="159354" y="151363"/>
                  </a:lnTo>
                  <a:lnTo>
                    <a:pt x="166545" y="146753"/>
                  </a:lnTo>
                  <a:lnTo>
                    <a:pt x="163288" y="141685"/>
                  </a:lnTo>
                  <a:lnTo>
                    <a:pt x="157316" y="142162"/>
                  </a:lnTo>
                  <a:lnTo>
                    <a:pt x="154753" y="136723"/>
                  </a:lnTo>
                  <a:lnTo>
                    <a:pt x="149553" y="133542"/>
                  </a:lnTo>
                  <a:lnTo>
                    <a:pt x="146829" y="127979"/>
                  </a:lnTo>
                  <a:lnTo>
                    <a:pt x="143828" y="121864"/>
                  </a:lnTo>
                  <a:lnTo>
                    <a:pt x="138866" y="118426"/>
                  </a:lnTo>
                  <a:lnTo>
                    <a:pt x="134055" y="114749"/>
                  </a:lnTo>
                  <a:lnTo>
                    <a:pt x="128921" y="110948"/>
                  </a:lnTo>
                  <a:lnTo>
                    <a:pt x="125083" y="105386"/>
                  </a:lnTo>
                  <a:lnTo>
                    <a:pt x="120930" y="99833"/>
                  </a:lnTo>
                  <a:lnTo>
                    <a:pt x="116787" y="94327"/>
                  </a:lnTo>
                  <a:lnTo>
                    <a:pt x="111157" y="92251"/>
                  </a:lnTo>
                  <a:lnTo>
                    <a:pt x="105109" y="89679"/>
                  </a:lnTo>
                  <a:lnTo>
                    <a:pt x="102442" y="84297"/>
                  </a:lnTo>
                  <a:lnTo>
                    <a:pt x="96489" y="84583"/>
                  </a:lnTo>
                  <a:lnTo>
                    <a:pt x="90698" y="83021"/>
                  </a:lnTo>
                  <a:lnTo>
                    <a:pt x="87421" y="77725"/>
                  </a:lnTo>
                  <a:lnTo>
                    <a:pt x="85535" y="71477"/>
                  </a:lnTo>
                  <a:lnTo>
                    <a:pt x="81230" y="75935"/>
                  </a:lnTo>
                  <a:lnTo>
                    <a:pt x="77296" y="71067"/>
                  </a:lnTo>
                  <a:lnTo>
                    <a:pt x="72276" y="66524"/>
                  </a:lnTo>
                  <a:lnTo>
                    <a:pt x="70209" y="59885"/>
                  </a:lnTo>
                  <a:lnTo>
                    <a:pt x="66581" y="53389"/>
                  </a:lnTo>
                  <a:lnTo>
                    <a:pt x="65152" y="47283"/>
                  </a:lnTo>
                  <a:lnTo>
                    <a:pt x="64295" y="41121"/>
                  </a:lnTo>
                  <a:lnTo>
                    <a:pt x="62713" y="35072"/>
                  </a:lnTo>
                  <a:lnTo>
                    <a:pt x="60304" y="28309"/>
                  </a:lnTo>
                  <a:lnTo>
                    <a:pt x="58751" y="22118"/>
                  </a:lnTo>
                  <a:lnTo>
                    <a:pt x="55798" y="14250"/>
                  </a:lnTo>
                  <a:lnTo>
                    <a:pt x="50379" y="5497"/>
                  </a:lnTo>
                  <a:lnTo>
                    <a:pt x="47111" y="-94"/>
                  </a:lnTo>
                  <a:lnTo>
                    <a:pt x="43092" y="6716"/>
                  </a:lnTo>
                  <a:lnTo>
                    <a:pt x="40587" y="12155"/>
                  </a:lnTo>
                  <a:lnTo>
                    <a:pt x="33176" y="13736"/>
                  </a:lnTo>
                  <a:lnTo>
                    <a:pt x="27938" y="16965"/>
                  </a:lnTo>
                  <a:lnTo>
                    <a:pt x="21994" y="18880"/>
                  </a:lnTo>
                  <a:lnTo>
                    <a:pt x="20822" y="24852"/>
                  </a:lnTo>
                  <a:lnTo>
                    <a:pt x="14755" y="26785"/>
                  </a:lnTo>
                  <a:lnTo>
                    <a:pt x="10535" y="31129"/>
                  </a:lnTo>
                  <a:lnTo>
                    <a:pt x="8525" y="37511"/>
                  </a:lnTo>
                  <a:lnTo>
                    <a:pt x="9840" y="43464"/>
                  </a:lnTo>
                  <a:lnTo>
                    <a:pt x="9154" y="49569"/>
                  </a:lnTo>
                  <a:lnTo>
                    <a:pt x="6030" y="60752"/>
                  </a:lnTo>
                  <a:lnTo>
                    <a:pt x="3677" y="66505"/>
                  </a:lnTo>
                  <a:lnTo>
                    <a:pt x="1811" y="75001"/>
                  </a:lnTo>
                  <a:lnTo>
                    <a:pt x="-266" y="83659"/>
                  </a:lnTo>
                  <a:lnTo>
                    <a:pt x="886" y="92717"/>
                  </a:lnTo>
                  <a:lnTo>
                    <a:pt x="1734" y="99442"/>
                  </a:lnTo>
                  <a:lnTo>
                    <a:pt x="7363" y="101985"/>
                  </a:lnTo>
                  <a:lnTo>
                    <a:pt x="13526" y="103538"/>
                  </a:lnTo>
                  <a:lnTo>
                    <a:pt x="18165" y="99280"/>
                  </a:lnTo>
                  <a:lnTo>
                    <a:pt x="23632" y="102224"/>
                  </a:lnTo>
                  <a:lnTo>
                    <a:pt x="35557" y="86126"/>
                  </a:lnTo>
                  <a:lnTo>
                    <a:pt x="40196" y="91051"/>
                  </a:lnTo>
                  <a:lnTo>
                    <a:pt x="45349" y="94251"/>
                  </a:lnTo>
                  <a:lnTo>
                    <a:pt x="49207" y="99014"/>
                  </a:lnTo>
                  <a:lnTo>
                    <a:pt x="55541" y="97861"/>
                  </a:lnTo>
                  <a:lnTo>
                    <a:pt x="61570" y="96080"/>
                  </a:lnTo>
                  <a:lnTo>
                    <a:pt x="66780" y="92917"/>
                  </a:lnTo>
                  <a:lnTo>
                    <a:pt x="69047" y="99547"/>
                  </a:lnTo>
                  <a:lnTo>
                    <a:pt x="74515" y="97070"/>
                  </a:lnTo>
                  <a:lnTo>
                    <a:pt x="80287" y="95508"/>
                  </a:lnTo>
                  <a:lnTo>
                    <a:pt x="85516" y="99232"/>
                  </a:lnTo>
                  <a:lnTo>
                    <a:pt x="90650" y="95766"/>
                  </a:lnTo>
                  <a:lnTo>
                    <a:pt x="96565" y="100766"/>
                  </a:lnTo>
                  <a:lnTo>
                    <a:pt x="107023" y="105824"/>
                  </a:lnTo>
                  <a:lnTo>
                    <a:pt x="112481" y="110472"/>
                  </a:lnTo>
                  <a:lnTo>
                    <a:pt x="115663" y="115720"/>
                  </a:lnTo>
                  <a:lnTo>
                    <a:pt x="119235" y="121750"/>
                  </a:lnTo>
                  <a:lnTo>
                    <a:pt x="124264" y="125141"/>
                  </a:lnTo>
                  <a:lnTo>
                    <a:pt x="129864" y="129713"/>
                  </a:lnTo>
                  <a:lnTo>
                    <a:pt x="135618" y="136628"/>
                  </a:lnTo>
                  <a:lnTo>
                    <a:pt x="139304" y="142352"/>
                  </a:lnTo>
                  <a:lnTo>
                    <a:pt x="145429" y="148239"/>
                  </a:lnTo>
                  <a:lnTo>
                    <a:pt x="148991" y="153439"/>
                  </a:lnTo>
                  <a:lnTo>
                    <a:pt x="154925" y="155259"/>
                  </a:lnTo>
                  <a:close/>
                  <a:moveTo>
                    <a:pt x="93793" y="67581"/>
                  </a:moveTo>
                  <a:lnTo>
                    <a:pt x="89136" y="63371"/>
                  </a:lnTo>
                  <a:lnTo>
                    <a:pt x="84364" y="58532"/>
                  </a:lnTo>
                  <a:lnTo>
                    <a:pt x="86993" y="63961"/>
                  </a:lnTo>
                  <a:lnTo>
                    <a:pt x="93793" y="67581"/>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75" name="Freeform: Shape 74">
              <a:extLst>
                <a:ext uri="{FF2B5EF4-FFF2-40B4-BE49-F238E27FC236}">
                  <a16:creationId xmlns:a16="http://schemas.microsoft.com/office/drawing/2014/main" id="{0D44FEB5-FEAB-67EC-FB85-C9090B7F76D5}"/>
                </a:ext>
              </a:extLst>
            </p:cNvPr>
            <p:cNvSpPr/>
            <p:nvPr/>
          </p:nvSpPr>
          <p:spPr>
            <a:xfrm>
              <a:off x="6917073" y="1609659"/>
              <a:ext cx="83120" cy="65139"/>
            </a:xfrm>
            <a:custGeom>
              <a:avLst/>
              <a:gdLst>
                <a:gd name="connsiteX0" fmla="*/ 5173 w 29165"/>
                <a:gd name="connsiteY0" fmla="*/ 22747 h 22840"/>
                <a:gd name="connsiteX1" fmla="*/ 16079 w 29165"/>
                <a:gd name="connsiteY1" fmla="*/ 22604 h 22840"/>
                <a:gd name="connsiteX2" fmla="*/ 23299 w 29165"/>
                <a:gd name="connsiteY2" fmla="*/ 22518 h 22840"/>
                <a:gd name="connsiteX3" fmla="*/ 28900 w 29165"/>
                <a:gd name="connsiteY3" fmla="*/ 13679 h 22840"/>
                <a:gd name="connsiteX4" fmla="*/ 28614 w 29165"/>
                <a:gd name="connsiteY4" fmla="*/ -94 h 22840"/>
                <a:gd name="connsiteX5" fmla="*/ -266 w 29165"/>
                <a:gd name="connsiteY5" fmla="*/ -94 h 22840"/>
                <a:gd name="connsiteX6" fmla="*/ -85 w 29165"/>
                <a:gd name="connsiteY6" fmla="*/ 8869 h 22840"/>
                <a:gd name="connsiteX7" fmla="*/ 3324 w 29165"/>
                <a:gd name="connsiteY7" fmla="*/ 18623 h 22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165" h="22840">
                  <a:moveTo>
                    <a:pt x="5173" y="22747"/>
                  </a:moveTo>
                  <a:lnTo>
                    <a:pt x="16079" y="22604"/>
                  </a:lnTo>
                  <a:lnTo>
                    <a:pt x="23299" y="22518"/>
                  </a:lnTo>
                  <a:lnTo>
                    <a:pt x="28900" y="13679"/>
                  </a:lnTo>
                  <a:lnTo>
                    <a:pt x="28614" y="-94"/>
                  </a:lnTo>
                  <a:lnTo>
                    <a:pt x="-266" y="-94"/>
                  </a:lnTo>
                  <a:lnTo>
                    <a:pt x="-85" y="8869"/>
                  </a:lnTo>
                  <a:lnTo>
                    <a:pt x="3324" y="18623"/>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76" name="Freeform: Shape 75">
              <a:extLst>
                <a:ext uri="{FF2B5EF4-FFF2-40B4-BE49-F238E27FC236}">
                  <a16:creationId xmlns:a16="http://schemas.microsoft.com/office/drawing/2014/main" id="{A5A009FB-CF7B-BA97-6FC7-D69B60626E6B}"/>
                </a:ext>
              </a:extLst>
            </p:cNvPr>
            <p:cNvSpPr/>
            <p:nvPr/>
          </p:nvSpPr>
          <p:spPr>
            <a:xfrm>
              <a:off x="7288810" y="1249205"/>
              <a:ext cx="1055004" cy="896334"/>
            </a:xfrm>
            <a:custGeom>
              <a:avLst/>
              <a:gdLst>
                <a:gd name="connsiteX0" fmla="*/ 163259 w 370179"/>
                <a:gd name="connsiteY0" fmla="*/ 314193 h 314286"/>
                <a:gd name="connsiteX1" fmla="*/ 168489 w 370179"/>
                <a:gd name="connsiteY1" fmla="*/ 306973 h 314286"/>
                <a:gd name="connsiteX2" fmla="*/ 170965 w 370179"/>
                <a:gd name="connsiteY2" fmla="*/ 300944 h 314286"/>
                <a:gd name="connsiteX3" fmla="*/ 176813 w 370179"/>
                <a:gd name="connsiteY3" fmla="*/ 297629 h 314286"/>
                <a:gd name="connsiteX4" fmla="*/ 184815 w 370179"/>
                <a:gd name="connsiteY4" fmla="*/ 293790 h 314286"/>
                <a:gd name="connsiteX5" fmla="*/ 192968 w 370179"/>
                <a:gd name="connsiteY5" fmla="*/ 289552 h 314286"/>
                <a:gd name="connsiteX6" fmla="*/ 198121 w 370179"/>
                <a:gd name="connsiteY6" fmla="*/ 293800 h 314286"/>
                <a:gd name="connsiteX7" fmla="*/ 204036 w 370179"/>
                <a:gd name="connsiteY7" fmla="*/ 299182 h 314286"/>
                <a:gd name="connsiteX8" fmla="*/ 211704 w 370179"/>
                <a:gd name="connsiteY8" fmla="*/ 298724 h 314286"/>
                <a:gd name="connsiteX9" fmla="*/ 219743 w 370179"/>
                <a:gd name="connsiteY9" fmla="*/ 298953 h 314286"/>
                <a:gd name="connsiteX10" fmla="*/ 225991 w 370179"/>
                <a:gd name="connsiteY10" fmla="*/ 292495 h 314286"/>
                <a:gd name="connsiteX11" fmla="*/ 235030 w 370179"/>
                <a:gd name="connsiteY11" fmla="*/ 291923 h 314286"/>
                <a:gd name="connsiteX12" fmla="*/ 244298 w 370179"/>
                <a:gd name="connsiteY12" fmla="*/ 290057 h 314286"/>
                <a:gd name="connsiteX13" fmla="*/ 250194 w 370179"/>
                <a:gd name="connsiteY13" fmla="*/ 281055 h 314286"/>
                <a:gd name="connsiteX14" fmla="*/ 259290 w 370179"/>
                <a:gd name="connsiteY14" fmla="*/ 275407 h 314286"/>
                <a:gd name="connsiteX15" fmla="*/ 274073 w 370179"/>
                <a:gd name="connsiteY15" fmla="*/ 271283 h 314286"/>
                <a:gd name="connsiteX16" fmla="*/ 295685 w 370179"/>
                <a:gd name="connsiteY16" fmla="*/ 271845 h 314286"/>
                <a:gd name="connsiteX17" fmla="*/ 307954 w 370179"/>
                <a:gd name="connsiteY17" fmla="*/ 254795 h 314286"/>
                <a:gd name="connsiteX18" fmla="*/ 318984 w 370179"/>
                <a:gd name="connsiteY18" fmla="*/ 242603 h 314286"/>
                <a:gd name="connsiteX19" fmla="*/ 336233 w 370179"/>
                <a:gd name="connsiteY19" fmla="*/ 225420 h 314286"/>
                <a:gd name="connsiteX20" fmla="*/ 343215 w 370179"/>
                <a:gd name="connsiteY20" fmla="*/ 216752 h 314286"/>
                <a:gd name="connsiteX21" fmla="*/ 354388 w 370179"/>
                <a:gd name="connsiteY21" fmla="*/ 203569 h 314286"/>
                <a:gd name="connsiteX22" fmla="*/ 359693 w 370179"/>
                <a:gd name="connsiteY22" fmla="*/ 198617 h 314286"/>
                <a:gd name="connsiteX23" fmla="*/ 369914 w 370179"/>
                <a:gd name="connsiteY23" fmla="*/ 186443 h 314286"/>
                <a:gd name="connsiteX24" fmla="*/ 345377 w 370179"/>
                <a:gd name="connsiteY24" fmla="*/ 186386 h 314286"/>
                <a:gd name="connsiteX25" fmla="*/ 321879 w 370179"/>
                <a:gd name="connsiteY25" fmla="*/ 177566 h 314286"/>
                <a:gd name="connsiteX26" fmla="*/ 295485 w 370179"/>
                <a:gd name="connsiteY26" fmla="*/ 167870 h 314286"/>
                <a:gd name="connsiteX27" fmla="*/ 286475 w 370179"/>
                <a:gd name="connsiteY27" fmla="*/ 164526 h 314286"/>
                <a:gd name="connsiteX28" fmla="*/ 270387 w 370179"/>
                <a:gd name="connsiteY28" fmla="*/ 158678 h 314286"/>
                <a:gd name="connsiteX29" fmla="*/ 261367 w 370179"/>
                <a:gd name="connsiteY29" fmla="*/ 148772 h 314286"/>
                <a:gd name="connsiteX30" fmla="*/ 255366 w 370179"/>
                <a:gd name="connsiteY30" fmla="*/ 143543 h 314286"/>
                <a:gd name="connsiteX31" fmla="*/ 251432 w 370179"/>
                <a:gd name="connsiteY31" fmla="*/ 135256 h 314286"/>
                <a:gd name="connsiteX32" fmla="*/ 245127 w 370179"/>
                <a:gd name="connsiteY32" fmla="*/ 128913 h 314286"/>
                <a:gd name="connsiteX33" fmla="*/ 239773 w 370179"/>
                <a:gd name="connsiteY33" fmla="*/ 121159 h 314286"/>
                <a:gd name="connsiteX34" fmla="*/ 237126 w 370179"/>
                <a:gd name="connsiteY34" fmla="*/ 114873 h 314286"/>
                <a:gd name="connsiteX35" fmla="*/ 242917 w 370179"/>
                <a:gd name="connsiteY35" fmla="*/ 103595 h 314286"/>
                <a:gd name="connsiteX36" fmla="*/ 236088 w 370179"/>
                <a:gd name="connsiteY36" fmla="*/ 101595 h 314286"/>
                <a:gd name="connsiteX37" fmla="*/ 230268 w 370179"/>
                <a:gd name="connsiteY37" fmla="*/ 103119 h 314286"/>
                <a:gd name="connsiteX38" fmla="*/ 222715 w 370179"/>
                <a:gd name="connsiteY38" fmla="*/ 103681 h 314286"/>
                <a:gd name="connsiteX39" fmla="*/ 214646 w 370179"/>
                <a:gd name="connsiteY39" fmla="*/ 104186 h 314286"/>
                <a:gd name="connsiteX40" fmla="*/ 214066 w 370179"/>
                <a:gd name="connsiteY40" fmla="*/ 98033 h 314286"/>
                <a:gd name="connsiteX41" fmla="*/ 212904 w 370179"/>
                <a:gd name="connsiteY41" fmla="*/ 89451 h 314286"/>
                <a:gd name="connsiteX42" fmla="*/ 214228 w 370179"/>
                <a:gd name="connsiteY42" fmla="*/ 82821 h 314286"/>
                <a:gd name="connsiteX43" fmla="*/ 219657 w 370179"/>
                <a:gd name="connsiteY43" fmla="*/ 75954 h 314286"/>
                <a:gd name="connsiteX44" fmla="*/ 222848 w 370179"/>
                <a:gd name="connsiteY44" fmla="*/ 70296 h 314286"/>
                <a:gd name="connsiteX45" fmla="*/ 225886 w 370179"/>
                <a:gd name="connsiteY45" fmla="*/ 65076 h 314286"/>
                <a:gd name="connsiteX46" fmla="*/ 222533 w 370179"/>
                <a:gd name="connsiteY46" fmla="*/ 54237 h 314286"/>
                <a:gd name="connsiteX47" fmla="*/ 216114 w 370179"/>
                <a:gd name="connsiteY47" fmla="*/ 49769 h 314286"/>
                <a:gd name="connsiteX48" fmla="*/ 211532 w 370179"/>
                <a:gd name="connsiteY48" fmla="*/ 42549 h 314286"/>
                <a:gd name="connsiteX49" fmla="*/ 207589 w 370179"/>
                <a:gd name="connsiteY49" fmla="*/ 36958 h 314286"/>
                <a:gd name="connsiteX50" fmla="*/ 201559 w 370179"/>
                <a:gd name="connsiteY50" fmla="*/ 33739 h 314286"/>
                <a:gd name="connsiteX51" fmla="*/ 191615 w 370179"/>
                <a:gd name="connsiteY51" fmla="*/ 20594 h 314286"/>
                <a:gd name="connsiteX52" fmla="*/ 185472 w 370179"/>
                <a:gd name="connsiteY52" fmla="*/ 14775 h 314286"/>
                <a:gd name="connsiteX53" fmla="*/ 177213 w 370179"/>
                <a:gd name="connsiteY53" fmla="*/ 11365 h 314286"/>
                <a:gd name="connsiteX54" fmla="*/ 171251 w 370179"/>
                <a:gd name="connsiteY54" fmla="*/ 9145 h 314286"/>
                <a:gd name="connsiteX55" fmla="*/ 164250 w 370179"/>
                <a:gd name="connsiteY55" fmla="*/ 8364 h 314286"/>
                <a:gd name="connsiteX56" fmla="*/ 157354 w 370179"/>
                <a:gd name="connsiteY56" fmla="*/ 3459 h 314286"/>
                <a:gd name="connsiteX57" fmla="*/ 150429 w 370179"/>
                <a:gd name="connsiteY57" fmla="*/ 4945 h 314286"/>
                <a:gd name="connsiteX58" fmla="*/ 144866 w 370179"/>
                <a:gd name="connsiteY58" fmla="*/ 1754 h 314286"/>
                <a:gd name="connsiteX59" fmla="*/ 138780 w 370179"/>
                <a:gd name="connsiteY59" fmla="*/ 5869 h 314286"/>
                <a:gd name="connsiteX60" fmla="*/ 129522 w 370179"/>
                <a:gd name="connsiteY60" fmla="*/ 8583 h 314286"/>
                <a:gd name="connsiteX61" fmla="*/ 123787 w 370179"/>
                <a:gd name="connsiteY61" fmla="*/ 3230 h 314286"/>
                <a:gd name="connsiteX62" fmla="*/ 117463 w 370179"/>
                <a:gd name="connsiteY62" fmla="*/ -94 h 314286"/>
                <a:gd name="connsiteX63" fmla="*/ 105271 w 370179"/>
                <a:gd name="connsiteY63" fmla="*/ 14765 h 314286"/>
                <a:gd name="connsiteX64" fmla="*/ 100871 w 370179"/>
                <a:gd name="connsiteY64" fmla="*/ 8812 h 314286"/>
                <a:gd name="connsiteX65" fmla="*/ 94565 w 370179"/>
                <a:gd name="connsiteY65" fmla="*/ 12241 h 314286"/>
                <a:gd name="connsiteX66" fmla="*/ 88498 w 370179"/>
                <a:gd name="connsiteY66" fmla="*/ 10945 h 314286"/>
                <a:gd name="connsiteX67" fmla="*/ 81211 w 370179"/>
                <a:gd name="connsiteY67" fmla="*/ 12003 h 314286"/>
                <a:gd name="connsiteX68" fmla="*/ 78839 w 370179"/>
                <a:gd name="connsiteY68" fmla="*/ 21080 h 314286"/>
                <a:gd name="connsiteX69" fmla="*/ 78239 w 370179"/>
                <a:gd name="connsiteY69" fmla="*/ 29234 h 314286"/>
                <a:gd name="connsiteX70" fmla="*/ 74534 w 370179"/>
                <a:gd name="connsiteY70" fmla="*/ 37425 h 314286"/>
                <a:gd name="connsiteX71" fmla="*/ 72772 w 370179"/>
                <a:gd name="connsiteY71" fmla="*/ 47636 h 314286"/>
                <a:gd name="connsiteX72" fmla="*/ 72553 w 370179"/>
                <a:gd name="connsiteY72" fmla="*/ 55761 h 314286"/>
                <a:gd name="connsiteX73" fmla="*/ 61656 w 370179"/>
                <a:gd name="connsiteY73" fmla="*/ 56923 h 314286"/>
                <a:gd name="connsiteX74" fmla="*/ 57722 w 370179"/>
                <a:gd name="connsiteY74" fmla="*/ 64286 h 314286"/>
                <a:gd name="connsiteX75" fmla="*/ 55513 w 370179"/>
                <a:gd name="connsiteY75" fmla="*/ 69839 h 314286"/>
                <a:gd name="connsiteX76" fmla="*/ 52769 w 370179"/>
                <a:gd name="connsiteY76" fmla="*/ 75344 h 314286"/>
                <a:gd name="connsiteX77" fmla="*/ 47893 w 370179"/>
                <a:gd name="connsiteY77" fmla="*/ 79678 h 314286"/>
                <a:gd name="connsiteX78" fmla="*/ 47617 w 370179"/>
                <a:gd name="connsiteY78" fmla="*/ 86460 h 314286"/>
                <a:gd name="connsiteX79" fmla="*/ 44263 w 370179"/>
                <a:gd name="connsiteY79" fmla="*/ 96223 h 314286"/>
                <a:gd name="connsiteX80" fmla="*/ 44349 w 370179"/>
                <a:gd name="connsiteY80" fmla="*/ 104367 h 314286"/>
                <a:gd name="connsiteX81" fmla="*/ 42768 w 370179"/>
                <a:gd name="connsiteY81" fmla="*/ 110606 h 314286"/>
                <a:gd name="connsiteX82" fmla="*/ 36024 w 370179"/>
                <a:gd name="connsiteY82" fmla="*/ 106272 h 314286"/>
                <a:gd name="connsiteX83" fmla="*/ 28567 w 370179"/>
                <a:gd name="connsiteY83" fmla="*/ 115968 h 314286"/>
                <a:gd name="connsiteX84" fmla="*/ 30547 w 370179"/>
                <a:gd name="connsiteY84" fmla="*/ 124112 h 314286"/>
                <a:gd name="connsiteX85" fmla="*/ 27738 w 370179"/>
                <a:gd name="connsiteY85" fmla="*/ 130703 h 314286"/>
                <a:gd name="connsiteX86" fmla="*/ 25728 w 370179"/>
                <a:gd name="connsiteY86" fmla="*/ 137637 h 314286"/>
                <a:gd name="connsiteX87" fmla="*/ 25061 w 370179"/>
                <a:gd name="connsiteY87" fmla="*/ 145010 h 314286"/>
                <a:gd name="connsiteX88" fmla="*/ 26261 w 370179"/>
                <a:gd name="connsiteY88" fmla="*/ 157764 h 314286"/>
                <a:gd name="connsiteX89" fmla="*/ 26395 w 370179"/>
                <a:gd name="connsiteY89" fmla="*/ 169737 h 314286"/>
                <a:gd name="connsiteX90" fmla="*/ 20404 w 370179"/>
                <a:gd name="connsiteY90" fmla="*/ 173032 h 314286"/>
                <a:gd name="connsiteX91" fmla="*/ 13526 w 370179"/>
                <a:gd name="connsiteY91" fmla="*/ 173347 h 314286"/>
                <a:gd name="connsiteX92" fmla="*/ 4887 w 370179"/>
                <a:gd name="connsiteY92" fmla="*/ 173594 h 314286"/>
                <a:gd name="connsiteX93" fmla="*/ 3392 w 370179"/>
                <a:gd name="connsiteY93" fmla="*/ 179919 h 314286"/>
                <a:gd name="connsiteX94" fmla="*/ 325 w 370179"/>
                <a:gd name="connsiteY94" fmla="*/ 185825 h 314286"/>
                <a:gd name="connsiteX95" fmla="*/ -266 w 370179"/>
                <a:gd name="connsiteY95" fmla="*/ 191978 h 314286"/>
                <a:gd name="connsiteX96" fmla="*/ 6592 w 370179"/>
                <a:gd name="connsiteY96" fmla="*/ 194549 h 314286"/>
                <a:gd name="connsiteX97" fmla="*/ 14621 w 370179"/>
                <a:gd name="connsiteY97" fmla="*/ 194940 h 314286"/>
                <a:gd name="connsiteX98" fmla="*/ 20956 w 370179"/>
                <a:gd name="connsiteY98" fmla="*/ 199236 h 314286"/>
                <a:gd name="connsiteX99" fmla="*/ 24632 w 370179"/>
                <a:gd name="connsiteY99" fmla="*/ 206522 h 314286"/>
                <a:gd name="connsiteX100" fmla="*/ 28481 w 370179"/>
                <a:gd name="connsiteY100" fmla="*/ 213037 h 314286"/>
                <a:gd name="connsiteX101" fmla="*/ 35472 w 370179"/>
                <a:gd name="connsiteY101" fmla="*/ 216447 h 314286"/>
                <a:gd name="connsiteX102" fmla="*/ 39234 w 370179"/>
                <a:gd name="connsiteY102" fmla="*/ 221867 h 314286"/>
                <a:gd name="connsiteX103" fmla="*/ 46064 w 370179"/>
                <a:gd name="connsiteY103" fmla="*/ 225296 h 314286"/>
                <a:gd name="connsiteX104" fmla="*/ 49045 w 370179"/>
                <a:gd name="connsiteY104" fmla="*/ 230840 h 314286"/>
                <a:gd name="connsiteX105" fmla="*/ 48140 w 370179"/>
                <a:gd name="connsiteY105" fmla="*/ 238498 h 314286"/>
                <a:gd name="connsiteX106" fmla="*/ 49121 w 370179"/>
                <a:gd name="connsiteY106" fmla="*/ 244813 h 314286"/>
                <a:gd name="connsiteX107" fmla="*/ 52531 w 370179"/>
                <a:gd name="connsiteY107" fmla="*/ 250623 h 314286"/>
                <a:gd name="connsiteX108" fmla="*/ 57218 w 370179"/>
                <a:gd name="connsiteY108" fmla="*/ 255881 h 314286"/>
                <a:gd name="connsiteX109" fmla="*/ 64361 w 370179"/>
                <a:gd name="connsiteY109" fmla="*/ 258615 h 314286"/>
                <a:gd name="connsiteX110" fmla="*/ 70924 w 370179"/>
                <a:gd name="connsiteY110" fmla="*/ 260824 h 314286"/>
                <a:gd name="connsiteX111" fmla="*/ 69952 w 370179"/>
                <a:gd name="connsiteY111" fmla="*/ 266920 h 314286"/>
                <a:gd name="connsiteX112" fmla="*/ 70057 w 370179"/>
                <a:gd name="connsiteY112" fmla="*/ 275979 h 314286"/>
                <a:gd name="connsiteX113" fmla="*/ 73600 w 370179"/>
                <a:gd name="connsiteY113" fmla="*/ 282713 h 314286"/>
                <a:gd name="connsiteX114" fmla="*/ 95651 w 370179"/>
                <a:gd name="connsiteY114" fmla="*/ 285046 h 314286"/>
                <a:gd name="connsiteX115" fmla="*/ 106166 w 370179"/>
                <a:gd name="connsiteY115" fmla="*/ 291657 h 314286"/>
                <a:gd name="connsiteX116" fmla="*/ 121416 w 370179"/>
                <a:gd name="connsiteY116" fmla="*/ 302982 h 314286"/>
                <a:gd name="connsiteX117" fmla="*/ 127807 w 370179"/>
                <a:gd name="connsiteY117" fmla="*/ 308411 h 314286"/>
                <a:gd name="connsiteX118" fmla="*/ 135723 w 370179"/>
                <a:gd name="connsiteY118" fmla="*/ 308516 h 314286"/>
                <a:gd name="connsiteX119" fmla="*/ 141933 w 370179"/>
                <a:gd name="connsiteY119" fmla="*/ 308468 h 314286"/>
                <a:gd name="connsiteX120" fmla="*/ 148667 w 370179"/>
                <a:gd name="connsiteY120" fmla="*/ 310478 h 314286"/>
                <a:gd name="connsiteX121" fmla="*/ 156077 w 370179"/>
                <a:gd name="connsiteY121" fmla="*/ 312174 h 314286"/>
                <a:gd name="connsiteX122" fmla="*/ 162630 w 370179"/>
                <a:gd name="connsiteY122" fmla="*/ 314098 h 31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370179" h="314286">
                  <a:moveTo>
                    <a:pt x="163259" y="314193"/>
                  </a:moveTo>
                  <a:lnTo>
                    <a:pt x="168489" y="306973"/>
                  </a:lnTo>
                  <a:lnTo>
                    <a:pt x="170965" y="300944"/>
                  </a:lnTo>
                  <a:lnTo>
                    <a:pt x="176813" y="297629"/>
                  </a:lnTo>
                  <a:lnTo>
                    <a:pt x="184815" y="293790"/>
                  </a:lnTo>
                  <a:lnTo>
                    <a:pt x="192968" y="289552"/>
                  </a:lnTo>
                  <a:lnTo>
                    <a:pt x="198121" y="293800"/>
                  </a:lnTo>
                  <a:lnTo>
                    <a:pt x="204036" y="299182"/>
                  </a:lnTo>
                  <a:lnTo>
                    <a:pt x="211704" y="298724"/>
                  </a:lnTo>
                  <a:lnTo>
                    <a:pt x="219743" y="298953"/>
                  </a:lnTo>
                  <a:lnTo>
                    <a:pt x="225991" y="292495"/>
                  </a:lnTo>
                  <a:lnTo>
                    <a:pt x="235030" y="291923"/>
                  </a:lnTo>
                  <a:lnTo>
                    <a:pt x="244298" y="290057"/>
                  </a:lnTo>
                  <a:lnTo>
                    <a:pt x="250194" y="281055"/>
                  </a:lnTo>
                  <a:lnTo>
                    <a:pt x="259290" y="275407"/>
                  </a:lnTo>
                  <a:lnTo>
                    <a:pt x="274073" y="271283"/>
                  </a:lnTo>
                  <a:lnTo>
                    <a:pt x="295685" y="271845"/>
                  </a:lnTo>
                  <a:lnTo>
                    <a:pt x="307954" y="254795"/>
                  </a:lnTo>
                  <a:lnTo>
                    <a:pt x="318984" y="242603"/>
                  </a:lnTo>
                  <a:lnTo>
                    <a:pt x="336233" y="225420"/>
                  </a:lnTo>
                  <a:lnTo>
                    <a:pt x="343215" y="216752"/>
                  </a:lnTo>
                  <a:lnTo>
                    <a:pt x="354388" y="203569"/>
                  </a:lnTo>
                  <a:lnTo>
                    <a:pt x="359693" y="198617"/>
                  </a:lnTo>
                  <a:lnTo>
                    <a:pt x="369914" y="186443"/>
                  </a:lnTo>
                  <a:lnTo>
                    <a:pt x="345377" y="186386"/>
                  </a:lnTo>
                  <a:lnTo>
                    <a:pt x="321879" y="177566"/>
                  </a:lnTo>
                  <a:lnTo>
                    <a:pt x="295485" y="167870"/>
                  </a:lnTo>
                  <a:lnTo>
                    <a:pt x="286475" y="164526"/>
                  </a:lnTo>
                  <a:lnTo>
                    <a:pt x="270387" y="158678"/>
                  </a:lnTo>
                  <a:lnTo>
                    <a:pt x="261367" y="148772"/>
                  </a:lnTo>
                  <a:lnTo>
                    <a:pt x="255366" y="143543"/>
                  </a:lnTo>
                  <a:lnTo>
                    <a:pt x="251432" y="135256"/>
                  </a:lnTo>
                  <a:lnTo>
                    <a:pt x="245127" y="128913"/>
                  </a:lnTo>
                  <a:lnTo>
                    <a:pt x="239773" y="121159"/>
                  </a:lnTo>
                  <a:lnTo>
                    <a:pt x="237126" y="114873"/>
                  </a:lnTo>
                  <a:lnTo>
                    <a:pt x="242917" y="103595"/>
                  </a:lnTo>
                  <a:lnTo>
                    <a:pt x="236088" y="101595"/>
                  </a:lnTo>
                  <a:lnTo>
                    <a:pt x="230268" y="103119"/>
                  </a:lnTo>
                  <a:lnTo>
                    <a:pt x="222715" y="103681"/>
                  </a:lnTo>
                  <a:lnTo>
                    <a:pt x="214646" y="104186"/>
                  </a:lnTo>
                  <a:lnTo>
                    <a:pt x="214066" y="98033"/>
                  </a:lnTo>
                  <a:lnTo>
                    <a:pt x="212904" y="89451"/>
                  </a:lnTo>
                  <a:lnTo>
                    <a:pt x="214228" y="82821"/>
                  </a:lnTo>
                  <a:lnTo>
                    <a:pt x="219657" y="75954"/>
                  </a:lnTo>
                  <a:lnTo>
                    <a:pt x="222848" y="70296"/>
                  </a:lnTo>
                  <a:lnTo>
                    <a:pt x="225886" y="65076"/>
                  </a:lnTo>
                  <a:lnTo>
                    <a:pt x="222533" y="54237"/>
                  </a:lnTo>
                  <a:lnTo>
                    <a:pt x="216114" y="49769"/>
                  </a:lnTo>
                  <a:lnTo>
                    <a:pt x="211532" y="42549"/>
                  </a:lnTo>
                  <a:lnTo>
                    <a:pt x="207589" y="36958"/>
                  </a:lnTo>
                  <a:lnTo>
                    <a:pt x="201559" y="33739"/>
                  </a:lnTo>
                  <a:lnTo>
                    <a:pt x="191615" y="20594"/>
                  </a:lnTo>
                  <a:lnTo>
                    <a:pt x="185472" y="14775"/>
                  </a:lnTo>
                  <a:lnTo>
                    <a:pt x="177213" y="11365"/>
                  </a:lnTo>
                  <a:lnTo>
                    <a:pt x="171251" y="9145"/>
                  </a:lnTo>
                  <a:lnTo>
                    <a:pt x="164250" y="8364"/>
                  </a:lnTo>
                  <a:lnTo>
                    <a:pt x="157354" y="3459"/>
                  </a:lnTo>
                  <a:lnTo>
                    <a:pt x="150429" y="4945"/>
                  </a:lnTo>
                  <a:lnTo>
                    <a:pt x="144866" y="1754"/>
                  </a:lnTo>
                  <a:lnTo>
                    <a:pt x="138780" y="5869"/>
                  </a:lnTo>
                  <a:lnTo>
                    <a:pt x="129522" y="8583"/>
                  </a:lnTo>
                  <a:lnTo>
                    <a:pt x="123787" y="3230"/>
                  </a:lnTo>
                  <a:lnTo>
                    <a:pt x="117463" y="-94"/>
                  </a:lnTo>
                  <a:lnTo>
                    <a:pt x="105271" y="14765"/>
                  </a:lnTo>
                  <a:lnTo>
                    <a:pt x="100871" y="8812"/>
                  </a:lnTo>
                  <a:lnTo>
                    <a:pt x="94565" y="12241"/>
                  </a:lnTo>
                  <a:lnTo>
                    <a:pt x="88498" y="10945"/>
                  </a:lnTo>
                  <a:lnTo>
                    <a:pt x="81211" y="12003"/>
                  </a:lnTo>
                  <a:lnTo>
                    <a:pt x="78839" y="21080"/>
                  </a:lnTo>
                  <a:lnTo>
                    <a:pt x="78239" y="29234"/>
                  </a:lnTo>
                  <a:lnTo>
                    <a:pt x="74534" y="37425"/>
                  </a:lnTo>
                  <a:lnTo>
                    <a:pt x="72772" y="47636"/>
                  </a:lnTo>
                  <a:lnTo>
                    <a:pt x="72553" y="55761"/>
                  </a:lnTo>
                  <a:lnTo>
                    <a:pt x="61656" y="56923"/>
                  </a:lnTo>
                  <a:lnTo>
                    <a:pt x="57722" y="64286"/>
                  </a:lnTo>
                  <a:lnTo>
                    <a:pt x="55513" y="69839"/>
                  </a:lnTo>
                  <a:lnTo>
                    <a:pt x="52769" y="75344"/>
                  </a:lnTo>
                  <a:lnTo>
                    <a:pt x="47893" y="79678"/>
                  </a:lnTo>
                  <a:lnTo>
                    <a:pt x="47617" y="86460"/>
                  </a:lnTo>
                  <a:lnTo>
                    <a:pt x="44263" y="96223"/>
                  </a:lnTo>
                  <a:lnTo>
                    <a:pt x="44349" y="104367"/>
                  </a:lnTo>
                  <a:lnTo>
                    <a:pt x="42768" y="110606"/>
                  </a:lnTo>
                  <a:lnTo>
                    <a:pt x="36024" y="106272"/>
                  </a:lnTo>
                  <a:lnTo>
                    <a:pt x="28567" y="115968"/>
                  </a:lnTo>
                  <a:lnTo>
                    <a:pt x="30547" y="124112"/>
                  </a:lnTo>
                  <a:lnTo>
                    <a:pt x="27738" y="130703"/>
                  </a:lnTo>
                  <a:lnTo>
                    <a:pt x="25728" y="137637"/>
                  </a:lnTo>
                  <a:lnTo>
                    <a:pt x="25061" y="145010"/>
                  </a:lnTo>
                  <a:lnTo>
                    <a:pt x="26261" y="157764"/>
                  </a:lnTo>
                  <a:lnTo>
                    <a:pt x="26395" y="169737"/>
                  </a:lnTo>
                  <a:lnTo>
                    <a:pt x="20404" y="173032"/>
                  </a:lnTo>
                  <a:lnTo>
                    <a:pt x="13526" y="173347"/>
                  </a:lnTo>
                  <a:lnTo>
                    <a:pt x="4887" y="173594"/>
                  </a:lnTo>
                  <a:lnTo>
                    <a:pt x="3392" y="179919"/>
                  </a:lnTo>
                  <a:lnTo>
                    <a:pt x="325" y="185825"/>
                  </a:lnTo>
                  <a:lnTo>
                    <a:pt x="-266" y="191978"/>
                  </a:lnTo>
                  <a:lnTo>
                    <a:pt x="6592" y="194549"/>
                  </a:lnTo>
                  <a:lnTo>
                    <a:pt x="14621" y="194940"/>
                  </a:lnTo>
                  <a:lnTo>
                    <a:pt x="20956" y="199236"/>
                  </a:lnTo>
                  <a:lnTo>
                    <a:pt x="24632" y="206522"/>
                  </a:lnTo>
                  <a:lnTo>
                    <a:pt x="28481" y="213037"/>
                  </a:lnTo>
                  <a:lnTo>
                    <a:pt x="35472" y="216447"/>
                  </a:lnTo>
                  <a:lnTo>
                    <a:pt x="39234" y="221867"/>
                  </a:lnTo>
                  <a:lnTo>
                    <a:pt x="46064" y="225296"/>
                  </a:lnTo>
                  <a:lnTo>
                    <a:pt x="49045" y="230840"/>
                  </a:lnTo>
                  <a:lnTo>
                    <a:pt x="48140" y="238498"/>
                  </a:lnTo>
                  <a:lnTo>
                    <a:pt x="49121" y="244813"/>
                  </a:lnTo>
                  <a:lnTo>
                    <a:pt x="52531" y="250623"/>
                  </a:lnTo>
                  <a:lnTo>
                    <a:pt x="57218" y="255881"/>
                  </a:lnTo>
                  <a:lnTo>
                    <a:pt x="64361" y="258615"/>
                  </a:lnTo>
                  <a:lnTo>
                    <a:pt x="70924" y="260824"/>
                  </a:lnTo>
                  <a:lnTo>
                    <a:pt x="69952" y="266920"/>
                  </a:lnTo>
                  <a:lnTo>
                    <a:pt x="70057" y="275979"/>
                  </a:lnTo>
                  <a:lnTo>
                    <a:pt x="73600" y="282713"/>
                  </a:lnTo>
                  <a:lnTo>
                    <a:pt x="95651" y="285046"/>
                  </a:lnTo>
                  <a:lnTo>
                    <a:pt x="106166" y="291657"/>
                  </a:lnTo>
                  <a:lnTo>
                    <a:pt x="121416" y="302982"/>
                  </a:lnTo>
                  <a:lnTo>
                    <a:pt x="127807" y="308411"/>
                  </a:lnTo>
                  <a:lnTo>
                    <a:pt x="135723" y="308516"/>
                  </a:lnTo>
                  <a:lnTo>
                    <a:pt x="141933" y="308468"/>
                  </a:lnTo>
                  <a:lnTo>
                    <a:pt x="148667" y="310478"/>
                  </a:lnTo>
                  <a:lnTo>
                    <a:pt x="156077" y="312174"/>
                  </a:lnTo>
                  <a:lnTo>
                    <a:pt x="162630" y="314098"/>
                  </a:lnTo>
                  <a:close/>
                </a:path>
              </a:pathLst>
            </a:custGeom>
            <a:solidFill>
              <a:srgbClr val="FFC00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77" name="Freeform: Shape 76">
              <a:extLst>
                <a:ext uri="{FF2B5EF4-FFF2-40B4-BE49-F238E27FC236}">
                  <a16:creationId xmlns:a16="http://schemas.microsoft.com/office/drawing/2014/main" id="{1CBDFA3D-938F-D40C-3018-30EF17211DAD}"/>
                </a:ext>
              </a:extLst>
            </p:cNvPr>
            <p:cNvSpPr/>
            <p:nvPr/>
          </p:nvSpPr>
          <p:spPr>
            <a:xfrm>
              <a:off x="3771328" y="1321220"/>
              <a:ext cx="210870" cy="59056"/>
            </a:xfrm>
            <a:custGeom>
              <a:avLst/>
              <a:gdLst>
                <a:gd name="connsiteX0" fmla="*/ 1039 w 73990"/>
                <a:gd name="connsiteY0" fmla="*/ 20613 h 20707"/>
                <a:gd name="connsiteX1" fmla="*/ 24375 w 73990"/>
                <a:gd name="connsiteY1" fmla="*/ 17765 h 20707"/>
                <a:gd name="connsiteX2" fmla="*/ 26995 w 73990"/>
                <a:gd name="connsiteY2" fmla="*/ 12422 h 20707"/>
                <a:gd name="connsiteX3" fmla="*/ 33195 w 73990"/>
                <a:gd name="connsiteY3" fmla="*/ 11965 h 20707"/>
                <a:gd name="connsiteX4" fmla="*/ 39177 w 73990"/>
                <a:gd name="connsiteY4" fmla="*/ 9183 h 20707"/>
                <a:gd name="connsiteX5" fmla="*/ 46140 w 73990"/>
                <a:gd name="connsiteY5" fmla="*/ 9736 h 20707"/>
                <a:gd name="connsiteX6" fmla="*/ 51598 w 73990"/>
                <a:gd name="connsiteY6" fmla="*/ 12422 h 20707"/>
                <a:gd name="connsiteX7" fmla="*/ 57598 w 73990"/>
                <a:gd name="connsiteY7" fmla="*/ 14060 h 20707"/>
                <a:gd name="connsiteX8" fmla="*/ 63313 w 73990"/>
                <a:gd name="connsiteY8" fmla="*/ 15936 h 20707"/>
                <a:gd name="connsiteX9" fmla="*/ 69257 w 73990"/>
                <a:gd name="connsiteY9" fmla="*/ 13936 h 20707"/>
                <a:gd name="connsiteX10" fmla="*/ 73724 w 73990"/>
                <a:gd name="connsiteY10" fmla="*/ 9812 h 20707"/>
                <a:gd name="connsiteX11" fmla="*/ 68276 w 73990"/>
                <a:gd name="connsiteY11" fmla="*/ 6954 h 20707"/>
                <a:gd name="connsiteX12" fmla="*/ 62713 w 73990"/>
                <a:gd name="connsiteY12" fmla="*/ 9126 h 20707"/>
                <a:gd name="connsiteX13" fmla="*/ 57227 w 73990"/>
                <a:gd name="connsiteY13" fmla="*/ 6373 h 20707"/>
                <a:gd name="connsiteX14" fmla="*/ 51322 w 73990"/>
                <a:gd name="connsiteY14" fmla="*/ 5402 h 20707"/>
                <a:gd name="connsiteX15" fmla="*/ 47683 w 73990"/>
                <a:gd name="connsiteY15" fmla="*/ 573 h 20707"/>
                <a:gd name="connsiteX16" fmla="*/ 41577 w 73990"/>
                <a:gd name="connsiteY16" fmla="*/ -94 h 20707"/>
                <a:gd name="connsiteX17" fmla="*/ 35462 w 73990"/>
                <a:gd name="connsiteY17" fmla="*/ 706 h 20707"/>
                <a:gd name="connsiteX18" fmla="*/ 29947 w 73990"/>
                <a:gd name="connsiteY18" fmla="*/ 5926 h 20707"/>
                <a:gd name="connsiteX19" fmla="*/ 9602 w 73990"/>
                <a:gd name="connsiteY19" fmla="*/ 5926 h 20707"/>
                <a:gd name="connsiteX20" fmla="*/ 4573 w 73990"/>
                <a:gd name="connsiteY20" fmla="*/ 9326 h 20707"/>
                <a:gd name="connsiteX21" fmla="*/ -266 w 73990"/>
                <a:gd name="connsiteY21" fmla="*/ 12793 h 20707"/>
                <a:gd name="connsiteX22" fmla="*/ 458 w 73990"/>
                <a:gd name="connsiteY22" fmla="*/ 18794 h 20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3990" h="20707">
                  <a:moveTo>
                    <a:pt x="1039" y="20613"/>
                  </a:moveTo>
                  <a:lnTo>
                    <a:pt x="24375" y="17765"/>
                  </a:lnTo>
                  <a:lnTo>
                    <a:pt x="26995" y="12422"/>
                  </a:lnTo>
                  <a:lnTo>
                    <a:pt x="33195" y="11965"/>
                  </a:lnTo>
                  <a:lnTo>
                    <a:pt x="39177" y="9183"/>
                  </a:lnTo>
                  <a:lnTo>
                    <a:pt x="46140" y="9736"/>
                  </a:lnTo>
                  <a:lnTo>
                    <a:pt x="51598" y="12422"/>
                  </a:lnTo>
                  <a:lnTo>
                    <a:pt x="57598" y="14060"/>
                  </a:lnTo>
                  <a:lnTo>
                    <a:pt x="63313" y="15936"/>
                  </a:lnTo>
                  <a:lnTo>
                    <a:pt x="69257" y="13936"/>
                  </a:lnTo>
                  <a:lnTo>
                    <a:pt x="73724" y="9812"/>
                  </a:lnTo>
                  <a:lnTo>
                    <a:pt x="68276" y="6954"/>
                  </a:lnTo>
                  <a:lnTo>
                    <a:pt x="62713" y="9126"/>
                  </a:lnTo>
                  <a:lnTo>
                    <a:pt x="57227" y="6373"/>
                  </a:lnTo>
                  <a:lnTo>
                    <a:pt x="51322" y="5402"/>
                  </a:lnTo>
                  <a:lnTo>
                    <a:pt x="47683" y="573"/>
                  </a:lnTo>
                  <a:lnTo>
                    <a:pt x="41577" y="-94"/>
                  </a:lnTo>
                  <a:lnTo>
                    <a:pt x="35462" y="706"/>
                  </a:lnTo>
                  <a:lnTo>
                    <a:pt x="29947" y="5926"/>
                  </a:lnTo>
                  <a:lnTo>
                    <a:pt x="9602" y="5926"/>
                  </a:lnTo>
                  <a:lnTo>
                    <a:pt x="4573" y="9326"/>
                  </a:lnTo>
                  <a:lnTo>
                    <a:pt x="-266" y="12793"/>
                  </a:lnTo>
                  <a:lnTo>
                    <a:pt x="458" y="18794"/>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78" name="Freeform: Shape 77">
              <a:extLst>
                <a:ext uri="{FF2B5EF4-FFF2-40B4-BE49-F238E27FC236}">
                  <a16:creationId xmlns:a16="http://schemas.microsoft.com/office/drawing/2014/main" id="{C24EB82A-7484-BAF6-E1A8-875BD4E75F24}"/>
                </a:ext>
              </a:extLst>
            </p:cNvPr>
            <p:cNvSpPr/>
            <p:nvPr/>
          </p:nvSpPr>
          <p:spPr>
            <a:xfrm>
              <a:off x="5581105" y="2232687"/>
              <a:ext cx="398639" cy="493859"/>
            </a:xfrm>
            <a:custGeom>
              <a:avLst/>
              <a:gdLst>
                <a:gd name="connsiteX0" fmla="*/ 55855 w 139874"/>
                <a:gd name="connsiteY0" fmla="*/ 173070 h 173164"/>
                <a:gd name="connsiteX1" fmla="*/ 58169 w 139874"/>
                <a:gd name="connsiteY1" fmla="*/ 167127 h 173164"/>
                <a:gd name="connsiteX2" fmla="*/ 63466 w 139874"/>
                <a:gd name="connsiteY2" fmla="*/ 163336 h 173164"/>
                <a:gd name="connsiteX3" fmla="*/ 69723 w 139874"/>
                <a:gd name="connsiteY3" fmla="*/ 166203 h 173164"/>
                <a:gd name="connsiteX4" fmla="*/ 75791 w 139874"/>
                <a:gd name="connsiteY4" fmla="*/ 164450 h 173164"/>
                <a:gd name="connsiteX5" fmla="*/ 75267 w 139874"/>
                <a:gd name="connsiteY5" fmla="*/ 158116 h 173164"/>
                <a:gd name="connsiteX6" fmla="*/ 72000 w 139874"/>
                <a:gd name="connsiteY6" fmla="*/ 152534 h 173164"/>
                <a:gd name="connsiteX7" fmla="*/ 71400 w 139874"/>
                <a:gd name="connsiteY7" fmla="*/ 145429 h 173164"/>
                <a:gd name="connsiteX8" fmla="*/ 66351 w 139874"/>
                <a:gd name="connsiteY8" fmla="*/ 141724 h 173164"/>
                <a:gd name="connsiteX9" fmla="*/ 68837 w 139874"/>
                <a:gd name="connsiteY9" fmla="*/ 135913 h 173164"/>
                <a:gd name="connsiteX10" fmla="*/ 67628 w 139874"/>
                <a:gd name="connsiteY10" fmla="*/ 129713 h 173164"/>
                <a:gd name="connsiteX11" fmla="*/ 73714 w 139874"/>
                <a:gd name="connsiteY11" fmla="*/ 129465 h 173164"/>
                <a:gd name="connsiteX12" fmla="*/ 80906 w 139874"/>
                <a:gd name="connsiteY12" fmla="*/ 130284 h 173164"/>
                <a:gd name="connsiteX13" fmla="*/ 89592 w 139874"/>
                <a:gd name="connsiteY13" fmla="*/ 128255 h 173164"/>
                <a:gd name="connsiteX14" fmla="*/ 90583 w 139874"/>
                <a:gd name="connsiteY14" fmla="*/ 121807 h 173164"/>
                <a:gd name="connsiteX15" fmla="*/ 88869 w 139874"/>
                <a:gd name="connsiteY15" fmla="*/ 115759 h 173164"/>
                <a:gd name="connsiteX16" fmla="*/ 95765 w 139874"/>
                <a:gd name="connsiteY16" fmla="*/ 115206 h 173164"/>
                <a:gd name="connsiteX17" fmla="*/ 99394 w 139874"/>
                <a:gd name="connsiteY17" fmla="*/ 120511 h 173164"/>
                <a:gd name="connsiteX18" fmla="*/ 102737 w 139874"/>
                <a:gd name="connsiteY18" fmla="*/ 125836 h 173164"/>
                <a:gd name="connsiteX19" fmla="*/ 108214 w 139874"/>
                <a:gd name="connsiteY19" fmla="*/ 129484 h 173164"/>
                <a:gd name="connsiteX20" fmla="*/ 114415 w 139874"/>
                <a:gd name="connsiteY20" fmla="*/ 131341 h 173164"/>
                <a:gd name="connsiteX21" fmla="*/ 120253 w 139874"/>
                <a:gd name="connsiteY21" fmla="*/ 124750 h 173164"/>
                <a:gd name="connsiteX22" fmla="*/ 125730 w 139874"/>
                <a:gd name="connsiteY22" fmla="*/ 128951 h 173164"/>
                <a:gd name="connsiteX23" fmla="*/ 132322 w 139874"/>
                <a:gd name="connsiteY23" fmla="*/ 129179 h 173164"/>
                <a:gd name="connsiteX24" fmla="*/ 133608 w 139874"/>
                <a:gd name="connsiteY24" fmla="*/ 123102 h 173164"/>
                <a:gd name="connsiteX25" fmla="*/ 136961 w 139874"/>
                <a:gd name="connsiteY25" fmla="*/ 117092 h 173164"/>
                <a:gd name="connsiteX26" fmla="*/ 138446 w 139874"/>
                <a:gd name="connsiteY26" fmla="*/ 110825 h 173164"/>
                <a:gd name="connsiteX27" fmla="*/ 139227 w 139874"/>
                <a:gd name="connsiteY27" fmla="*/ 104776 h 173164"/>
                <a:gd name="connsiteX28" fmla="*/ 139437 w 139874"/>
                <a:gd name="connsiteY28" fmla="*/ 97032 h 173164"/>
                <a:gd name="connsiteX29" fmla="*/ 138332 w 139874"/>
                <a:gd name="connsiteY29" fmla="*/ 90298 h 173164"/>
                <a:gd name="connsiteX30" fmla="*/ 139399 w 139874"/>
                <a:gd name="connsiteY30" fmla="*/ 83640 h 173164"/>
                <a:gd name="connsiteX31" fmla="*/ 139485 w 139874"/>
                <a:gd name="connsiteY31" fmla="*/ 77535 h 173164"/>
                <a:gd name="connsiteX32" fmla="*/ 133550 w 139874"/>
                <a:gd name="connsiteY32" fmla="*/ 74772 h 173164"/>
                <a:gd name="connsiteX33" fmla="*/ 129855 w 139874"/>
                <a:gd name="connsiteY33" fmla="*/ 69781 h 173164"/>
                <a:gd name="connsiteX34" fmla="*/ 124559 w 139874"/>
                <a:gd name="connsiteY34" fmla="*/ 66486 h 173164"/>
                <a:gd name="connsiteX35" fmla="*/ 125264 w 139874"/>
                <a:gd name="connsiteY35" fmla="*/ 60561 h 173164"/>
                <a:gd name="connsiteX36" fmla="*/ 126216 w 139874"/>
                <a:gd name="connsiteY36" fmla="*/ 53636 h 173164"/>
                <a:gd name="connsiteX37" fmla="*/ 129493 w 139874"/>
                <a:gd name="connsiteY37" fmla="*/ 48121 h 173164"/>
                <a:gd name="connsiteX38" fmla="*/ 136961 w 139874"/>
                <a:gd name="connsiteY38" fmla="*/ 45188 h 173164"/>
                <a:gd name="connsiteX39" fmla="*/ 139609 w 139874"/>
                <a:gd name="connsiteY39" fmla="*/ 39435 h 173164"/>
                <a:gd name="connsiteX40" fmla="*/ 137322 w 139874"/>
                <a:gd name="connsiteY40" fmla="*/ 33148 h 173164"/>
                <a:gd name="connsiteX41" fmla="*/ 135075 w 139874"/>
                <a:gd name="connsiteY41" fmla="*/ 27452 h 173164"/>
                <a:gd name="connsiteX42" fmla="*/ 129083 w 139874"/>
                <a:gd name="connsiteY42" fmla="*/ 25376 h 173164"/>
                <a:gd name="connsiteX43" fmla="*/ 122901 w 139874"/>
                <a:gd name="connsiteY43" fmla="*/ 24023 h 173164"/>
                <a:gd name="connsiteX44" fmla="*/ 117730 w 139874"/>
                <a:gd name="connsiteY44" fmla="*/ 27014 h 173164"/>
                <a:gd name="connsiteX45" fmla="*/ 111824 w 139874"/>
                <a:gd name="connsiteY45" fmla="*/ 28090 h 173164"/>
                <a:gd name="connsiteX46" fmla="*/ 108233 w 139874"/>
                <a:gd name="connsiteY46" fmla="*/ 23156 h 173164"/>
                <a:gd name="connsiteX47" fmla="*/ 105985 w 139874"/>
                <a:gd name="connsiteY47" fmla="*/ 16413 h 173164"/>
                <a:gd name="connsiteX48" fmla="*/ 107328 w 139874"/>
                <a:gd name="connsiteY48" fmla="*/ 9983 h 173164"/>
                <a:gd name="connsiteX49" fmla="*/ 109662 w 139874"/>
                <a:gd name="connsiteY49" fmla="*/ 4354 h 173164"/>
                <a:gd name="connsiteX50" fmla="*/ 104414 w 139874"/>
                <a:gd name="connsiteY50" fmla="*/ 1154 h 173164"/>
                <a:gd name="connsiteX51" fmla="*/ 98184 w 139874"/>
                <a:gd name="connsiteY51" fmla="*/ 1401 h 173164"/>
                <a:gd name="connsiteX52" fmla="*/ 91936 w 139874"/>
                <a:gd name="connsiteY52" fmla="*/ 601 h 173164"/>
                <a:gd name="connsiteX53" fmla="*/ 85288 w 139874"/>
                <a:gd name="connsiteY53" fmla="*/ 77 h 173164"/>
                <a:gd name="connsiteX54" fmla="*/ 78905 w 139874"/>
                <a:gd name="connsiteY54" fmla="*/ 77 h 173164"/>
                <a:gd name="connsiteX55" fmla="*/ 72619 w 139874"/>
                <a:gd name="connsiteY55" fmla="*/ 354 h 173164"/>
                <a:gd name="connsiteX56" fmla="*/ 66551 w 139874"/>
                <a:gd name="connsiteY56" fmla="*/ -94 h 173164"/>
                <a:gd name="connsiteX57" fmla="*/ 61617 w 139874"/>
                <a:gd name="connsiteY57" fmla="*/ 3792 h 173164"/>
                <a:gd name="connsiteX58" fmla="*/ 61389 w 139874"/>
                <a:gd name="connsiteY58" fmla="*/ 10269 h 173164"/>
                <a:gd name="connsiteX59" fmla="*/ 62284 w 139874"/>
                <a:gd name="connsiteY59" fmla="*/ 16927 h 173164"/>
                <a:gd name="connsiteX60" fmla="*/ 61208 w 139874"/>
                <a:gd name="connsiteY60" fmla="*/ 24623 h 173164"/>
                <a:gd name="connsiteX61" fmla="*/ 61237 w 139874"/>
                <a:gd name="connsiteY61" fmla="*/ 35891 h 173164"/>
                <a:gd name="connsiteX62" fmla="*/ 51750 w 139874"/>
                <a:gd name="connsiteY62" fmla="*/ 35901 h 173164"/>
                <a:gd name="connsiteX63" fmla="*/ 44987 w 139874"/>
                <a:gd name="connsiteY63" fmla="*/ 35891 h 173164"/>
                <a:gd name="connsiteX64" fmla="*/ 27966 w 139874"/>
                <a:gd name="connsiteY64" fmla="*/ 35901 h 173164"/>
                <a:gd name="connsiteX65" fmla="*/ 21546 w 139874"/>
                <a:gd name="connsiteY65" fmla="*/ 33958 h 173164"/>
                <a:gd name="connsiteX66" fmla="*/ 17688 w 139874"/>
                <a:gd name="connsiteY66" fmla="*/ 40435 h 173164"/>
                <a:gd name="connsiteX67" fmla="*/ 18298 w 139874"/>
                <a:gd name="connsiteY67" fmla="*/ 46521 h 173164"/>
                <a:gd name="connsiteX68" fmla="*/ 11278 w 139874"/>
                <a:gd name="connsiteY68" fmla="*/ 46464 h 173164"/>
                <a:gd name="connsiteX69" fmla="*/ 14098 w 139874"/>
                <a:gd name="connsiteY69" fmla="*/ 52550 h 173164"/>
                <a:gd name="connsiteX70" fmla="*/ 11050 w 139874"/>
                <a:gd name="connsiteY70" fmla="*/ 58094 h 173164"/>
                <a:gd name="connsiteX71" fmla="*/ 11764 w 139874"/>
                <a:gd name="connsiteY71" fmla="*/ 64666 h 173164"/>
                <a:gd name="connsiteX72" fmla="*/ 10783 w 139874"/>
                <a:gd name="connsiteY72" fmla="*/ 71153 h 173164"/>
                <a:gd name="connsiteX73" fmla="*/ 9164 w 139874"/>
                <a:gd name="connsiteY73" fmla="*/ 77201 h 173164"/>
                <a:gd name="connsiteX74" fmla="*/ 5858 w 139874"/>
                <a:gd name="connsiteY74" fmla="*/ 82173 h 173164"/>
                <a:gd name="connsiteX75" fmla="*/ 343 w 139874"/>
                <a:gd name="connsiteY75" fmla="*/ 84812 h 173164"/>
                <a:gd name="connsiteX76" fmla="*/ -266 w 139874"/>
                <a:gd name="connsiteY76" fmla="*/ 90832 h 173164"/>
                <a:gd name="connsiteX77" fmla="*/ 2801 w 139874"/>
                <a:gd name="connsiteY77" fmla="*/ 96937 h 173164"/>
                <a:gd name="connsiteX78" fmla="*/ 4868 w 139874"/>
                <a:gd name="connsiteY78" fmla="*/ 102690 h 173164"/>
                <a:gd name="connsiteX79" fmla="*/ 8449 w 139874"/>
                <a:gd name="connsiteY79" fmla="*/ 108062 h 173164"/>
                <a:gd name="connsiteX80" fmla="*/ 9716 w 139874"/>
                <a:gd name="connsiteY80" fmla="*/ 115225 h 173164"/>
                <a:gd name="connsiteX81" fmla="*/ 16831 w 139874"/>
                <a:gd name="connsiteY81" fmla="*/ 124722 h 173164"/>
                <a:gd name="connsiteX82" fmla="*/ 23623 w 139874"/>
                <a:gd name="connsiteY82" fmla="*/ 135818 h 173164"/>
                <a:gd name="connsiteX83" fmla="*/ 28680 w 139874"/>
                <a:gd name="connsiteY83" fmla="*/ 141371 h 173164"/>
                <a:gd name="connsiteX84" fmla="*/ 35338 w 139874"/>
                <a:gd name="connsiteY84" fmla="*/ 146924 h 173164"/>
                <a:gd name="connsiteX85" fmla="*/ 40701 w 139874"/>
                <a:gd name="connsiteY85" fmla="*/ 152458 h 173164"/>
                <a:gd name="connsiteX86" fmla="*/ 44463 w 139874"/>
                <a:gd name="connsiteY86" fmla="*/ 157268 h 173164"/>
                <a:gd name="connsiteX87" fmla="*/ 49054 w 139874"/>
                <a:gd name="connsiteY87" fmla="*/ 163584 h 173164"/>
                <a:gd name="connsiteX88" fmla="*/ 53131 w 139874"/>
                <a:gd name="connsiteY88" fmla="*/ 168556 h 173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39874" h="173164">
                  <a:moveTo>
                    <a:pt x="55855" y="173070"/>
                  </a:moveTo>
                  <a:lnTo>
                    <a:pt x="58169" y="167127"/>
                  </a:lnTo>
                  <a:lnTo>
                    <a:pt x="63466" y="163336"/>
                  </a:lnTo>
                  <a:lnTo>
                    <a:pt x="69723" y="166203"/>
                  </a:lnTo>
                  <a:lnTo>
                    <a:pt x="75791" y="164450"/>
                  </a:lnTo>
                  <a:lnTo>
                    <a:pt x="75267" y="158116"/>
                  </a:lnTo>
                  <a:lnTo>
                    <a:pt x="72000" y="152534"/>
                  </a:lnTo>
                  <a:lnTo>
                    <a:pt x="71400" y="145429"/>
                  </a:lnTo>
                  <a:lnTo>
                    <a:pt x="66351" y="141724"/>
                  </a:lnTo>
                  <a:lnTo>
                    <a:pt x="68837" y="135913"/>
                  </a:lnTo>
                  <a:lnTo>
                    <a:pt x="67628" y="129713"/>
                  </a:lnTo>
                  <a:lnTo>
                    <a:pt x="73714" y="129465"/>
                  </a:lnTo>
                  <a:lnTo>
                    <a:pt x="80906" y="130284"/>
                  </a:lnTo>
                  <a:lnTo>
                    <a:pt x="89592" y="128255"/>
                  </a:lnTo>
                  <a:lnTo>
                    <a:pt x="90583" y="121807"/>
                  </a:lnTo>
                  <a:lnTo>
                    <a:pt x="88869" y="115759"/>
                  </a:lnTo>
                  <a:lnTo>
                    <a:pt x="95765" y="115206"/>
                  </a:lnTo>
                  <a:lnTo>
                    <a:pt x="99394" y="120511"/>
                  </a:lnTo>
                  <a:lnTo>
                    <a:pt x="102737" y="125836"/>
                  </a:lnTo>
                  <a:lnTo>
                    <a:pt x="108214" y="129484"/>
                  </a:lnTo>
                  <a:lnTo>
                    <a:pt x="114415" y="131341"/>
                  </a:lnTo>
                  <a:lnTo>
                    <a:pt x="120253" y="124750"/>
                  </a:lnTo>
                  <a:lnTo>
                    <a:pt x="125730" y="128951"/>
                  </a:lnTo>
                  <a:lnTo>
                    <a:pt x="132322" y="129179"/>
                  </a:lnTo>
                  <a:lnTo>
                    <a:pt x="133608" y="123102"/>
                  </a:lnTo>
                  <a:lnTo>
                    <a:pt x="136961" y="117092"/>
                  </a:lnTo>
                  <a:lnTo>
                    <a:pt x="138446" y="110825"/>
                  </a:lnTo>
                  <a:lnTo>
                    <a:pt x="139227" y="104776"/>
                  </a:lnTo>
                  <a:lnTo>
                    <a:pt x="139437" y="97032"/>
                  </a:lnTo>
                  <a:lnTo>
                    <a:pt x="138332" y="90298"/>
                  </a:lnTo>
                  <a:lnTo>
                    <a:pt x="139399" y="83640"/>
                  </a:lnTo>
                  <a:lnTo>
                    <a:pt x="139485" y="77535"/>
                  </a:lnTo>
                  <a:lnTo>
                    <a:pt x="133550" y="74772"/>
                  </a:lnTo>
                  <a:lnTo>
                    <a:pt x="129855" y="69781"/>
                  </a:lnTo>
                  <a:lnTo>
                    <a:pt x="124559" y="66486"/>
                  </a:lnTo>
                  <a:lnTo>
                    <a:pt x="125264" y="60561"/>
                  </a:lnTo>
                  <a:lnTo>
                    <a:pt x="126216" y="53636"/>
                  </a:lnTo>
                  <a:lnTo>
                    <a:pt x="129493" y="48121"/>
                  </a:lnTo>
                  <a:lnTo>
                    <a:pt x="136961" y="45188"/>
                  </a:lnTo>
                  <a:lnTo>
                    <a:pt x="139609" y="39435"/>
                  </a:lnTo>
                  <a:lnTo>
                    <a:pt x="137322" y="33148"/>
                  </a:lnTo>
                  <a:lnTo>
                    <a:pt x="135075" y="27452"/>
                  </a:lnTo>
                  <a:lnTo>
                    <a:pt x="129083" y="25376"/>
                  </a:lnTo>
                  <a:lnTo>
                    <a:pt x="122901" y="24023"/>
                  </a:lnTo>
                  <a:lnTo>
                    <a:pt x="117730" y="27014"/>
                  </a:lnTo>
                  <a:lnTo>
                    <a:pt x="111824" y="28090"/>
                  </a:lnTo>
                  <a:lnTo>
                    <a:pt x="108233" y="23156"/>
                  </a:lnTo>
                  <a:lnTo>
                    <a:pt x="105985" y="16413"/>
                  </a:lnTo>
                  <a:lnTo>
                    <a:pt x="107328" y="9983"/>
                  </a:lnTo>
                  <a:lnTo>
                    <a:pt x="109662" y="4354"/>
                  </a:lnTo>
                  <a:lnTo>
                    <a:pt x="104414" y="1154"/>
                  </a:lnTo>
                  <a:lnTo>
                    <a:pt x="98184" y="1401"/>
                  </a:lnTo>
                  <a:lnTo>
                    <a:pt x="91936" y="601"/>
                  </a:lnTo>
                  <a:lnTo>
                    <a:pt x="85288" y="77"/>
                  </a:lnTo>
                  <a:lnTo>
                    <a:pt x="78905" y="77"/>
                  </a:lnTo>
                  <a:lnTo>
                    <a:pt x="72619" y="354"/>
                  </a:lnTo>
                  <a:lnTo>
                    <a:pt x="66551" y="-94"/>
                  </a:lnTo>
                  <a:lnTo>
                    <a:pt x="61617" y="3792"/>
                  </a:lnTo>
                  <a:lnTo>
                    <a:pt x="61389" y="10269"/>
                  </a:lnTo>
                  <a:lnTo>
                    <a:pt x="62284" y="16927"/>
                  </a:lnTo>
                  <a:lnTo>
                    <a:pt x="61208" y="24623"/>
                  </a:lnTo>
                  <a:lnTo>
                    <a:pt x="61237" y="35891"/>
                  </a:lnTo>
                  <a:lnTo>
                    <a:pt x="51750" y="35901"/>
                  </a:lnTo>
                  <a:lnTo>
                    <a:pt x="44987" y="35891"/>
                  </a:lnTo>
                  <a:lnTo>
                    <a:pt x="27966" y="35901"/>
                  </a:lnTo>
                  <a:lnTo>
                    <a:pt x="21546" y="33958"/>
                  </a:lnTo>
                  <a:lnTo>
                    <a:pt x="17688" y="40435"/>
                  </a:lnTo>
                  <a:lnTo>
                    <a:pt x="18298" y="46521"/>
                  </a:lnTo>
                  <a:lnTo>
                    <a:pt x="11278" y="46464"/>
                  </a:lnTo>
                  <a:lnTo>
                    <a:pt x="14098" y="52550"/>
                  </a:lnTo>
                  <a:lnTo>
                    <a:pt x="11050" y="58094"/>
                  </a:lnTo>
                  <a:lnTo>
                    <a:pt x="11764" y="64666"/>
                  </a:lnTo>
                  <a:lnTo>
                    <a:pt x="10783" y="71153"/>
                  </a:lnTo>
                  <a:lnTo>
                    <a:pt x="9164" y="77201"/>
                  </a:lnTo>
                  <a:lnTo>
                    <a:pt x="5858" y="82173"/>
                  </a:lnTo>
                  <a:lnTo>
                    <a:pt x="343" y="84812"/>
                  </a:lnTo>
                  <a:lnTo>
                    <a:pt x="-266" y="90832"/>
                  </a:lnTo>
                  <a:lnTo>
                    <a:pt x="2801" y="96937"/>
                  </a:lnTo>
                  <a:lnTo>
                    <a:pt x="4868" y="102690"/>
                  </a:lnTo>
                  <a:lnTo>
                    <a:pt x="8449" y="108062"/>
                  </a:lnTo>
                  <a:lnTo>
                    <a:pt x="9716" y="115225"/>
                  </a:lnTo>
                  <a:lnTo>
                    <a:pt x="16831" y="124722"/>
                  </a:lnTo>
                  <a:lnTo>
                    <a:pt x="23623" y="135818"/>
                  </a:lnTo>
                  <a:lnTo>
                    <a:pt x="28680" y="141371"/>
                  </a:lnTo>
                  <a:lnTo>
                    <a:pt x="35338" y="146924"/>
                  </a:lnTo>
                  <a:lnTo>
                    <a:pt x="40701" y="152458"/>
                  </a:lnTo>
                  <a:lnTo>
                    <a:pt x="44463" y="157268"/>
                  </a:lnTo>
                  <a:lnTo>
                    <a:pt x="49054" y="163584"/>
                  </a:lnTo>
                  <a:lnTo>
                    <a:pt x="53131" y="168556"/>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79" name="Freeform: Shape 78">
              <a:extLst>
                <a:ext uri="{FF2B5EF4-FFF2-40B4-BE49-F238E27FC236}">
                  <a16:creationId xmlns:a16="http://schemas.microsoft.com/office/drawing/2014/main" id="{592DFB17-7AA6-99DB-E496-6EDF5238BEF7}"/>
                </a:ext>
              </a:extLst>
            </p:cNvPr>
            <p:cNvSpPr/>
            <p:nvPr/>
          </p:nvSpPr>
          <p:spPr>
            <a:xfrm>
              <a:off x="4724374" y="1532645"/>
              <a:ext cx="313561" cy="506652"/>
            </a:xfrm>
            <a:custGeom>
              <a:avLst/>
              <a:gdLst>
                <a:gd name="connsiteX0" fmla="*/ 28004 w 110022"/>
                <a:gd name="connsiteY0" fmla="*/ 177557 h 177650"/>
                <a:gd name="connsiteX1" fmla="*/ 33509 w 110022"/>
                <a:gd name="connsiteY1" fmla="*/ 174661 h 177650"/>
                <a:gd name="connsiteX2" fmla="*/ 39129 w 110022"/>
                <a:gd name="connsiteY2" fmla="*/ 171118 h 177650"/>
                <a:gd name="connsiteX3" fmla="*/ 45044 w 110022"/>
                <a:gd name="connsiteY3" fmla="*/ 168403 h 177650"/>
                <a:gd name="connsiteX4" fmla="*/ 50931 w 110022"/>
                <a:gd name="connsiteY4" fmla="*/ 166337 h 177650"/>
                <a:gd name="connsiteX5" fmla="*/ 59913 w 110022"/>
                <a:gd name="connsiteY5" fmla="*/ 164327 h 177650"/>
                <a:gd name="connsiteX6" fmla="*/ 64942 w 110022"/>
                <a:gd name="connsiteY6" fmla="*/ 160536 h 177650"/>
                <a:gd name="connsiteX7" fmla="*/ 69952 w 110022"/>
                <a:gd name="connsiteY7" fmla="*/ 157135 h 177650"/>
                <a:gd name="connsiteX8" fmla="*/ 76924 w 110022"/>
                <a:gd name="connsiteY8" fmla="*/ 154602 h 177650"/>
                <a:gd name="connsiteX9" fmla="*/ 81696 w 110022"/>
                <a:gd name="connsiteY9" fmla="*/ 151039 h 177650"/>
                <a:gd name="connsiteX10" fmla="*/ 87850 w 110022"/>
                <a:gd name="connsiteY10" fmla="*/ 148620 h 177650"/>
                <a:gd name="connsiteX11" fmla="*/ 96498 w 110022"/>
                <a:gd name="connsiteY11" fmla="*/ 148953 h 177650"/>
                <a:gd name="connsiteX12" fmla="*/ 102661 w 110022"/>
                <a:gd name="connsiteY12" fmla="*/ 148553 h 177650"/>
                <a:gd name="connsiteX13" fmla="*/ 105861 w 110022"/>
                <a:gd name="connsiteY13" fmla="*/ 142581 h 177650"/>
                <a:gd name="connsiteX14" fmla="*/ 109757 w 110022"/>
                <a:gd name="connsiteY14" fmla="*/ 137876 h 177650"/>
                <a:gd name="connsiteX15" fmla="*/ 104975 w 110022"/>
                <a:gd name="connsiteY15" fmla="*/ 134314 h 177650"/>
                <a:gd name="connsiteX16" fmla="*/ 99527 w 110022"/>
                <a:gd name="connsiteY16" fmla="*/ 131094 h 177650"/>
                <a:gd name="connsiteX17" fmla="*/ 96679 w 110022"/>
                <a:gd name="connsiteY17" fmla="*/ 125522 h 177650"/>
                <a:gd name="connsiteX18" fmla="*/ 94088 w 110022"/>
                <a:gd name="connsiteY18" fmla="*/ 120083 h 177650"/>
                <a:gd name="connsiteX19" fmla="*/ 94974 w 110022"/>
                <a:gd name="connsiteY19" fmla="*/ 114130 h 177650"/>
                <a:gd name="connsiteX20" fmla="*/ 95965 w 110022"/>
                <a:gd name="connsiteY20" fmla="*/ 106777 h 177650"/>
                <a:gd name="connsiteX21" fmla="*/ 93127 w 110022"/>
                <a:gd name="connsiteY21" fmla="*/ 101462 h 177650"/>
                <a:gd name="connsiteX22" fmla="*/ 94622 w 110022"/>
                <a:gd name="connsiteY22" fmla="*/ 95289 h 177650"/>
                <a:gd name="connsiteX23" fmla="*/ 95203 w 110022"/>
                <a:gd name="connsiteY23" fmla="*/ 88593 h 177650"/>
                <a:gd name="connsiteX24" fmla="*/ 95031 w 110022"/>
                <a:gd name="connsiteY24" fmla="*/ 82259 h 177650"/>
                <a:gd name="connsiteX25" fmla="*/ 97575 w 110022"/>
                <a:gd name="connsiteY25" fmla="*/ 76363 h 177650"/>
                <a:gd name="connsiteX26" fmla="*/ 93698 w 110022"/>
                <a:gd name="connsiteY26" fmla="*/ 71687 h 177650"/>
                <a:gd name="connsiteX27" fmla="*/ 89240 w 110022"/>
                <a:gd name="connsiteY27" fmla="*/ 66114 h 177650"/>
                <a:gd name="connsiteX28" fmla="*/ 92774 w 110022"/>
                <a:gd name="connsiteY28" fmla="*/ 60990 h 177650"/>
                <a:gd name="connsiteX29" fmla="*/ 92441 w 110022"/>
                <a:gd name="connsiteY29" fmla="*/ 55018 h 177650"/>
                <a:gd name="connsiteX30" fmla="*/ 94022 w 110022"/>
                <a:gd name="connsiteY30" fmla="*/ 48026 h 177650"/>
                <a:gd name="connsiteX31" fmla="*/ 88488 w 110022"/>
                <a:gd name="connsiteY31" fmla="*/ 45740 h 177650"/>
                <a:gd name="connsiteX32" fmla="*/ 88516 w 110022"/>
                <a:gd name="connsiteY32" fmla="*/ 39368 h 177650"/>
                <a:gd name="connsiteX33" fmla="*/ 89564 w 110022"/>
                <a:gd name="connsiteY33" fmla="*/ 33272 h 177650"/>
                <a:gd name="connsiteX34" fmla="*/ 88678 w 110022"/>
                <a:gd name="connsiteY34" fmla="*/ 26928 h 177650"/>
                <a:gd name="connsiteX35" fmla="*/ 87154 w 110022"/>
                <a:gd name="connsiteY35" fmla="*/ 21071 h 177650"/>
                <a:gd name="connsiteX36" fmla="*/ 81487 w 110022"/>
                <a:gd name="connsiteY36" fmla="*/ 15965 h 177650"/>
                <a:gd name="connsiteX37" fmla="*/ 78172 w 110022"/>
                <a:gd name="connsiteY37" fmla="*/ 10174 h 177650"/>
                <a:gd name="connsiteX38" fmla="*/ 80801 w 110022"/>
                <a:gd name="connsiteY38" fmla="*/ 4383 h 177650"/>
                <a:gd name="connsiteX39" fmla="*/ 76610 w 110022"/>
                <a:gd name="connsiteY39" fmla="*/ -94 h 177650"/>
                <a:gd name="connsiteX40" fmla="*/ 70695 w 110022"/>
                <a:gd name="connsiteY40" fmla="*/ 849 h 177650"/>
                <a:gd name="connsiteX41" fmla="*/ 65475 w 110022"/>
                <a:gd name="connsiteY41" fmla="*/ 4868 h 177650"/>
                <a:gd name="connsiteX42" fmla="*/ 59512 w 110022"/>
                <a:gd name="connsiteY42" fmla="*/ 3592 h 177650"/>
                <a:gd name="connsiteX43" fmla="*/ 52398 w 110022"/>
                <a:gd name="connsiteY43" fmla="*/ 3745 h 177650"/>
                <a:gd name="connsiteX44" fmla="*/ 45768 w 110022"/>
                <a:gd name="connsiteY44" fmla="*/ 3869 h 177650"/>
                <a:gd name="connsiteX45" fmla="*/ 38148 w 110022"/>
                <a:gd name="connsiteY45" fmla="*/ 4202 h 177650"/>
                <a:gd name="connsiteX46" fmla="*/ 27128 w 110022"/>
                <a:gd name="connsiteY46" fmla="*/ 4154 h 177650"/>
                <a:gd name="connsiteX47" fmla="*/ 18117 w 110022"/>
                <a:gd name="connsiteY47" fmla="*/ 4049 h 177650"/>
                <a:gd name="connsiteX48" fmla="*/ 10402 w 110022"/>
                <a:gd name="connsiteY48" fmla="*/ 3583 h 177650"/>
                <a:gd name="connsiteX49" fmla="*/ 8640 w 110022"/>
                <a:gd name="connsiteY49" fmla="*/ 9326 h 177650"/>
                <a:gd name="connsiteX50" fmla="*/ 8192 w 110022"/>
                <a:gd name="connsiteY50" fmla="*/ 16356 h 177650"/>
                <a:gd name="connsiteX51" fmla="*/ 9411 w 110022"/>
                <a:gd name="connsiteY51" fmla="*/ 22680 h 177650"/>
                <a:gd name="connsiteX52" fmla="*/ 10878 w 110022"/>
                <a:gd name="connsiteY52" fmla="*/ 29605 h 177650"/>
                <a:gd name="connsiteX53" fmla="*/ 12240 w 110022"/>
                <a:gd name="connsiteY53" fmla="*/ 35872 h 177650"/>
                <a:gd name="connsiteX54" fmla="*/ 11316 w 110022"/>
                <a:gd name="connsiteY54" fmla="*/ 42635 h 177650"/>
                <a:gd name="connsiteX55" fmla="*/ 13650 w 110022"/>
                <a:gd name="connsiteY55" fmla="*/ 49093 h 177650"/>
                <a:gd name="connsiteX56" fmla="*/ 12212 w 110022"/>
                <a:gd name="connsiteY56" fmla="*/ 54894 h 177650"/>
                <a:gd name="connsiteX57" fmla="*/ 14259 w 110022"/>
                <a:gd name="connsiteY57" fmla="*/ 60828 h 177650"/>
                <a:gd name="connsiteX58" fmla="*/ 16479 w 110022"/>
                <a:gd name="connsiteY58" fmla="*/ 70029 h 177650"/>
                <a:gd name="connsiteX59" fmla="*/ 17964 w 110022"/>
                <a:gd name="connsiteY59" fmla="*/ 78287 h 177650"/>
                <a:gd name="connsiteX60" fmla="*/ 14793 w 110022"/>
                <a:gd name="connsiteY60" fmla="*/ 83831 h 177650"/>
                <a:gd name="connsiteX61" fmla="*/ 11869 w 110022"/>
                <a:gd name="connsiteY61" fmla="*/ 89194 h 177650"/>
                <a:gd name="connsiteX62" fmla="*/ 7478 w 110022"/>
                <a:gd name="connsiteY62" fmla="*/ 98080 h 177650"/>
                <a:gd name="connsiteX63" fmla="*/ 6306 w 110022"/>
                <a:gd name="connsiteY63" fmla="*/ 105595 h 177650"/>
                <a:gd name="connsiteX64" fmla="*/ 4753 w 110022"/>
                <a:gd name="connsiteY64" fmla="*/ 112815 h 177650"/>
                <a:gd name="connsiteX65" fmla="*/ -219 w 110022"/>
                <a:gd name="connsiteY65" fmla="*/ 119740 h 177650"/>
                <a:gd name="connsiteX66" fmla="*/ -266 w 110022"/>
                <a:gd name="connsiteY66" fmla="*/ 125874 h 177650"/>
                <a:gd name="connsiteX67" fmla="*/ 1286 w 110022"/>
                <a:gd name="connsiteY67" fmla="*/ 134428 h 177650"/>
                <a:gd name="connsiteX68" fmla="*/ 3658 w 110022"/>
                <a:gd name="connsiteY68" fmla="*/ 142981 h 177650"/>
                <a:gd name="connsiteX69" fmla="*/ 4830 w 110022"/>
                <a:gd name="connsiteY69" fmla="*/ 150639 h 177650"/>
                <a:gd name="connsiteX70" fmla="*/ 10354 w 110022"/>
                <a:gd name="connsiteY70" fmla="*/ 153192 h 177650"/>
                <a:gd name="connsiteX71" fmla="*/ 12306 w 110022"/>
                <a:gd name="connsiteY71" fmla="*/ 159536 h 177650"/>
                <a:gd name="connsiteX72" fmla="*/ 11773 w 110022"/>
                <a:gd name="connsiteY72" fmla="*/ 165708 h 177650"/>
                <a:gd name="connsiteX73" fmla="*/ 5182 w 110022"/>
                <a:gd name="connsiteY73" fmla="*/ 166917 h 177650"/>
                <a:gd name="connsiteX74" fmla="*/ 13955 w 110022"/>
                <a:gd name="connsiteY74" fmla="*/ 170308 h 177650"/>
                <a:gd name="connsiteX75" fmla="*/ 22251 w 110022"/>
                <a:gd name="connsiteY75" fmla="*/ 172490 h 177650"/>
                <a:gd name="connsiteX76" fmla="*/ 27566 w 110022"/>
                <a:gd name="connsiteY76" fmla="*/ 176366 h 17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10022" h="177650">
                  <a:moveTo>
                    <a:pt x="28004" y="177557"/>
                  </a:moveTo>
                  <a:lnTo>
                    <a:pt x="33509" y="174661"/>
                  </a:lnTo>
                  <a:lnTo>
                    <a:pt x="39129" y="171118"/>
                  </a:lnTo>
                  <a:lnTo>
                    <a:pt x="45044" y="168403"/>
                  </a:lnTo>
                  <a:lnTo>
                    <a:pt x="50931" y="166337"/>
                  </a:lnTo>
                  <a:lnTo>
                    <a:pt x="59913" y="164327"/>
                  </a:lnTo>
                  <a:lnTo>
                    <a:pt x="64942" y="160536"/>
                  </a:lnTo>
                  <a:lnTo>
                    <a:pt x="69952" y="157135"/>
                  </a:lnTo>
                  <a:lnTo>
                    <a:pt x="76924" y="154602"/>
                  </a:lnTo>
                  <a:lnTo>
                    <a:pt x="81696" y="151039"/>
                  </a:lnTo>
                  <a:lnTo>
                    <a:pt x="87850" y="148620"/>
                  </a:lnTo>
                  <a:lnTo>
                    <a:pt x="96498" y="148953"/>
                  </a:lnTo>
                  <a:lnTo>
                    <a:pt x="102661" y="148553"/>
                  </a:lnTo>
                  <a:lnTo>
                    <a:pt x="105861" y="142581"/>
                  </a:lnTo>
                  <a:lnTo>
                    <a:pt x="109757" y="137876"/>
                  </a:lnTo>
                  <a:lnTo>
                    <a:pt x="104975" y="134314"/>
                  </a:lnTo>
                  <a:lnTo>
                    <a:pt x="99527" y="131094"/>
                  </a:lnTo>
                  <a:lnTo>
                    <a:pt x="96679" y="125522"/>
                  </a:lnTo>
                  <a:lnTo>
                    <a:pt x="94088" y="120083"/>
                  </a:lnTo>
                  <a:lnTo>
                    <a:pt x="94974" y="114130"/>
                  </a:lnTo>
                  <a:lnTo>
                    <a:pt x="95965" y="106777"/>
                  </a:lnTo>
                  <a:lnTo>
                    <a:pt x="93127" y="101462"/>
                  </a:lnTo>
                  <a:lnTo>
                    <a:pt x="94622" y="95289"/>
                  </a:lnTo>
                  <a:lnTo>
                    <a:pt x="95203" y="88593"/>
                  </a:lnTo>
                  <a:lnTo>
                    <a:pt x="95031" y="82259"/>
                  </a:lnTo>
                  <a:lnTo>
                    <a:pt x="97575" y="76363"/>
                  </a:lnTo>
                  <a:lnTo>
                    <a:pt x="93698" y="71687"/>
                  </a:lnTo>
                  <a:lnTo>
                    <a:pt x="89240" y="66114"/>
                  </a:lnTo>
                  <a:lnTo>
                    <a:pt x="92774" y="60990"/>
                  </a:lnTo>
                  <a:lnTo>
                    <a:pt x="92441" y="55018"/>
                  </a:lnTo>
                  <a:lnTo>
                    <a:pt x="94022" y="48026"/>
                  </a:lnTo>
                  <a:lnTo>
                    <a:pt x="88488" y="45740"/>
                  </a:lnTo>
                  <a:lnTo>
                    <a:pt x="88516" y="39368"/>
                  </a:lnTo>
                  <a:lnTo>
                    <a:pt x="89564" y="33272"/>
                  </a:lnTo>
                  <a:lnTo>
                    <a:pt x="88678" y="26928"/>
                  </a:lnTo>
                  <a:lnTo>
                    <a:pt x="87154" y="21071"/>
                  </a:lnTo>
                  <a:lnTo>
                    <a:pt x="81487" y="15965"/>
                  </a:lnTo>
                  <a:lnTo>
                    <a:pt x="78172" y="10174"/>
                  </a:lnTo>
                  <a:lnTo>
                    <a:pt x="80801" y="4383"/>
                  </a:lnTo>
                  <a:lnTo>
                    <a:pt x="76610" y="-94"/>
                  </a:lnTo>
                  <a:lnTo>
                    <a:pt x="70695" y="849"/>
                  </a:lnTo>
                  <a:lnTo>
                    <a:pt x="65475" y="4868"/>
                  </a:lnTo>
                  <a:lnTo>
                    <a:pt x="59512" y="3592"/>
                  </a:lnTo>
                  <a:lnTo>
                    <a:pt x="52398" y="3745"/>
                  </a:lnTo>
                  <a:lnTo>
                    <a:pt x="45768" y="3869"/>
                  </a:lnTo>
                  <a:lnTo>
                    <a:pt x="38148" y="4202"/>
                  </a:lnTo>
                  <a:lnTo>
                    <a:pt x="27128" y="4154"/>
                  </a:lnTo>
                  <a:lnTo>
                    <a:pt x="18117" y="4049"/>
                  </a:lnTo>
                  <a:lnTo>
                    <a:pt x="10402" y="3583"/>
                  </a:lnTo>
                  <a:lnTo>
                    <a:pt x="8640" y="9326"/>
                  </a:lnTo>
                  <a:lnTo>
                    <a:pt x="8192" y="16356"/>
                  </a:lnTo>
                  <a:lnTo>
                    <a:pt x="9411" y="22680"/>
                  </a:lnTo>
                  <a:lnTo>
                    <a:pt x="10878" y="29605"/>
                  </a:lnTo>
                  <a:lnTo>
                    <a:pt x="12240" y="35872"/>
                  </a:lnTo>
                  <a:lnTo>
                    <a:pt x="11316" y="42635"/>
                  </a:lnTo>
                  <a:lnTo>
                    <a:pt x="13650" y="49093"/>
                  </a:lnTo>
                  <a:lnTo>
                    <a:pt x="12212" y="54894"/>
                  </a:lnTo>
                  <a:lnTo>
                    <a:pt x="14259" y="60828"/>
                  </a:lnTo>
                  <a:lnTo>
                    <a:pt x="16479" y="70029"/>
                  </a:lnTo>
                  <a:lnTo>
                    <a:pt x="17964" y="78287"/>
                  </a:lnTo>
                  <a:lnTo>
                    <a:pt x="14793" y="83831"/>
                  </a:lnTo>
                  <a:lnTo>
                    <a:pt x="11869" y="89194"/>
                  </a:lnTo>
                  <a:lnTo>
                    <a:pt x="7478" y="98080"/>
                  </a:lnTo>
                  <a:lnTo>
                    <a:pt x="6306" y="105595"/>
                  </a:lnTo>
                  <a:lnTo>
                    <a:pt x="4753" y="112815"/>
                  </a:lnTo>
                  <a:lnTo>
                    <a:pt x="-219" y="119740"/>
                  </a:lnTo>
                  <a:lnTo>
                    <a:pt x="-266" y="125874"/>
                  </a:lnTo>
                  <a:lnTo>
                    <a:pt x="1286" y="134428"/>
                  </a:lnTo>
                  <a:lnTo>
                    <a:pt x="3658" y="142981"/>
                  </a:lnTo>
                  <a:lnTo>
                    <a:pt x="4830" y="150639"/>
                  </a:lnTo>
                  <a:lnTo>
                    <a:pt x="10354" y="153192"/>
                  </a:lnTo>
                  <a:lnTo>
                    <a:pt x="12306" y="159536"/>
                  </a:lnTo>
                  <a:lnTo>
                    <a:pt x="11773" y="165708"/>
                  </a:lnTo>
                  <a:lnTo>
                    <a:pt x="5182" y="166917"/>
                  </a:lnTo>
                  <a:lnTo>
                    <a:pt x="13955" y="170308"/>
                  </a:lnTo>
                  <a:lnTo>
                    <a:pt x="22251" y="172490"/>
                  </a:lnTo>
                  <a:lnTo>
                    <a:pt x="27566" y="176366"/>
                  </a:lnTo>
                  <a:close/>
                </a:path>
              </a:pathLst>
            </a:custGeom>
            <a:solidFill>
              <a:schemeClr val="bg1">
                <a:lumMod val="85000"/>
              </a:schemeClr>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80" name="Freeform: Shape 79">
              <a:extLst>
                <a:ext uri="{FF2B5EF4-FFF2-40B4-BE49-F238E27FC236}">
                  <a16:creationId xmlns:a16="http://schemas.microsoft.com/office/drawing/2014/main" id="{BCF83C16-6200-B7FB-CF00-D80265C28C5A}"/>
                </a:ext>
              </a:extLst>
            </p:cNvPr>
            <p:cNvSpPr/>
            <p:nvPr/>
          </p:nvSpPr>
          <p:spPr>
            <a:xfrm>
              <a:off x="5775281" y="2763002"/>
              <a:ext cx="872095" cy="1079590"/>
            </a:xfrm>
            <a:custGeom>
              <a:avLst/>
              <a:gdLst>
                <a:gd name="connsiteX0" fmla="*/ 221676 w 306000"/>
                <a:gd name="connsiteY0" fmla="*/ 378448 h 378542"/>
                <a:gd name="connsiteX1" fmla="*/ 231268 w 306000"/>
                <a:gd name="connsiteY1" fmla="*/ 375400 h 378542"/>
                <a:gd name="connsiteX2" fmla="*/ 262929 w 306000"/>
                <a:gd name="connsiteY2" fmla="*/ 372381 h 378542"/>
                <a:gd name="connsiteX3" fmla="*/ 286008 w 306000"/>
                <a:gd name="connsiteY3" fmla="*/ 367295 h 378542"/>
                <a:gd name="connsiteX4" fmla="*/ 277693 w 306000"/>
                <a:gd name="connsiteY4" fmla="*/ 361075 h 378542"/>
                <a:gd name="connsiteX5" fmla="*/ 273206 w 306000"/>
                <a:gd name="connsiteY5" fmla="*/ 355179 h 378542"/>
                <a:gd name="connsiteX6" fmla="*/ 267958 w 306000"/>
                <a:gd name="connsiteY6" fmla="*/ 349826 h 378542"/>
                <a:gd name="connsiteX7" fmla="*/ 263787 w 306000"/>
                <a:gd name="connsiteY7" fmla="*/ 345206 h 378542"/>
                <a:gd name="connsiteX8" fmla="*/ 254775 w 306000"/>
                <a:gd name="connsiteY8" fmla="*/ 335443 h 378542"/>
                <a:gd name="connsiteX9" fmla="*/ 252166 w 306000"/>
                <a:gd name="connsiteY9" fmla="*/ 327394 h 378542"/>
                <a:gd name="connsiteX10" fmla="*/ 253852 w 306000"/>
                <a:gd name="connsiteY10" fmla="*/ 258291 h 378542"/>
                <a:gd name="connsiteX11" fmla="*/ 254356 w 306000"/>
                <a:gd name="connsiteY11" fmla="*/ 238564 h 378542"/>
                <a:gd name="connsiteX12" fmla="*/ 266606 w 306000"/>
                <a:gd name="connsiteY12" fmla="*/ 238564 h 378542"/>
                <a:gd name="connsiteX13" fmla="*/ 305020 w 306000"/>
                <a:gd name="connsiteY13" fmla="*/ 238564 h 378542"/>
                <a:gd name="connsiteX14" fmla="*/ 301210 w 306000"/>
                <a:gd name="connsiteY14" fmla="*/ 233011 h 378542"/>
                <a:gd name="connsiteX15" fmla="*/ 305735 w 306000"/>
                <a:gd name="connsiteY15" fmla="*/ 221905 h 378542"/>
                <a:gd name="connsiteX16" fmla="*/ 303839 w 306000"/>
                <a:gd name="connsiteY16" fmla="*/ 211332 h 378542"/>
                <a:gd name="connsiteX17" fmla="*/ 304668 w 306000"/>
                <a:gd name="connsiteY17" fmla="*/ 205255 h 378542"/>
                <a:gd name="connsiteX18" fmla="*/ 305229 w 306000"/>
                <a:gd name="connsiteY18" fmla="*/ 195416 h 378542"/>
                <a:gd name="connsiteX19" fmla="*/ 305458 w 306000"/>
                <a:gd name="connsiteY19" fmla="*/ 183053 h 378542"/>
                <a:gd name="connsiteX20" fmla="*/ 296619 w 306000"/>
                <a:gd name="connsiteY20" fmla="*/ 183072 h 378542"/>
                <a:gd name="connsiteX21" fmla="*/ 288694 w 306000"/>
                <a:gd name="connsiteY21" fmla="*/ 183015 h 378542"/>
                <a:gd name="connsiteX22" fmla="*/ 276750 w 306000"/>
                <a:gd name="connsiteY22" fmla="*/ 184786 h 378542"/>
                <a:gd name="connsiteX23" fmla="*/ 270711 w 306000"/>
                <a:gd name="connsiteY23" fmla="*/ 184138 h 378542"/>
                <a:gd name="connsiteX24" fmla="*/ 263872 w 306000"/>
                <a:gd name="connsiteY24" fmla="*/ 188558 h 378542"/>
                <a:gd name="connsiteX25" fmla="*/ 259652 w 306000"/>
                <a:gd name="connsiteY25" fmla="*/ 179328 h 378542"/>
                <a:gd name="connsiteX26" fmla="*/ 263329 w 306000"/>
                <a:gd name="connsiteY26" fmla="*/ 170022 h 378542"/>
                <a:gd name="connsiteX27" fmla="*/ 261758 w 306000"/>
                <a:gd name="connsiteY27" fmla="*/ 160840 h 378542"/>
                <a:gd name="connsiteX28" fmla="*/ 260500 w 306000"/>
                <a:gd name="connsiteY28" fmla="*/ 152801 h 378542"/>
                <a:gd name="connsiteX29" fmla="*/ 256052 w 306000"/>
                <a:gd name="connsiteY29" fmla="*/ 148325 h 378542"/>
                <a:gd name="connsiteX30" fmla="*/ 251213 w 306000"/>
                <a:gd name="connsiteY30" fmla="*/ 138637 h 378542"/>
                <a:gd name="connsiteX31" fmla="*/ 252213 w 306000"/>
                <a:gd name="connsiteY31" fmla="*/ 130265 h 378542"/>
                <a:gd name="connsiteX32" fmla="*/ 255385 w 306000"/>
                <a:gd name="connsiteY32" fmla="*/ 113758 h 378542"/>
                <a:gd name="connsiteX33" fmla="*/ 253785 w 306000"/>
                <a:gd name="connsiteY33" fmla="*/ 104690 h 378542"/>
                <a:gd name="connsiteX34" fmla="*/ 251166 w 306000"/>
                <a:gd name="connsiteY34" fmla="*/ 94232 h 378542"/>
                <a:gd name="connsiteX35" fmla="*/ 253071 w 306000"/>
                <a:gd name="connsiteY35" fmla="*/ 82411 h 378542"/>
                <a:gd name="connsiteX36" fmla="*/ 221086 w 306000"/>
                <a:gd name="connsiteY36" fmla="*/ 79878 h 378542"/>
                <a:gd name="connsiteX37" fmla="*/ 223048 w 306000"/>
                <a:gd name="connsiteY37" fmla="*/ 69696 h 378542"/>
                <a:gd name="connsiteX38" fmla="*/ 215485 w 306000"/>
                <a:gd name="connsiteY38" fmla="*/ 69696 h 378542"/>
                <a:gd name="connsiteX39" fmla="*/ 196245 w 306000"/>
                <a:gd name="connsiteY39" fmla="*/ 72020 h 378542"/>
                <a:gd name="connsiteX40" fmla="*/ 194597 w 306000"/>
                <a:gd name="connsiteY40" fmla="*/ 80783 h 378542"/>
                <a:gd name="connsiteX41" fmla="*/ 194568 w 306000"/>
                <a:gd name="connsiteY41" fmla="*/ 87584 h 378542"/>
                <a:gd name="connsiteX42" fmla="*/ 190853 w 306000"/>
                <a:gd name="connsiteY42" fmla="*/ 97032 h 378542"/>
                <a:gd name="connsiteX43" fmla="*/ 177299 w 306000"/>
                <a:gd name="connsiteY43" fmla="*/ 99775 h 378542"/>
                <a:gd name="connsiteX44" fmla="*/ 170689 w 306000"/>
                <a:gd name="connsiteY44" fmla="*/ 97461 h 378542"/>
                <a:gd name="connsiteX45" fmla="*/ 162983 w 306000"/>
                <a:gd name="connsiteY45" fmla="*/ 99090 h 378542"/>
                <a:gd name="connsiteX46" fmla="*/ 154411 w 306000"/>
                <a:gd name="connsiteY46" fmla="*/ 102014 h 378542"/>
                <a:gd name="connsiteX47" fmla="*/ 147905 w 306000"/>
                <a:gd name="connsiteY47" fmla="*/ 103405 h 378542"/>
                <a:gd name="connsiteX48" fmla="*/ 144676 w 306000"/>
                <a:gd name="connsiteY48" fmla="*/ 98366 h 378542"/>
                <a:gd name="connsiteX49" fmla="*/ 140647 w 306000"/>
                <a:gd name="connsiteY49" fmla="*/ 92956 h 378542"/>
                <a:gd name="connsiteX50" fmla="*/ 137685 w 306000"/>
                <a:gd name="connsiteY50" fmla="*/ 86898 h 378542"/>
                <a:gd name="connsiteX51" fmla="*/ 132379 w 306000"/>
                <a:gd name="connsiteY51" fmla="*/ 80030 h 378542"/>
                <a:gd name="connsiteX52" fmla="*/ 132179 w 306000"/>
                <a:gd name="connsiteY52" fmla="*/ 73477 h 378542"/>
                <a:gd name="connsiteX53" fmla="*/ 129188 w 306000"/>
                <a:gd name="connsiteY53" fmla="*/ 67219 h 378542"/>
                <a:gd name="connsiteX54" fmla="*/ 127112 w 306000"/>
                <a:gd name="connsiteY54" fmla="*/ 60933 h 378542"/>
                <a:gd name="connsiteX55" fmla="*/ 125207 w 306000"/>
                <a:gd name="connsiteY55" fmla="*/ 54913 h 378542"/>
                <a:gd name="connsiteX56" fmla="*/ 126559 w 306000"/>
                <a:gd name="connsiteY56" fmla="*/ 48931 h 378542"/>
                <a:gd name="connsiteX57" fmla="*/ 123474 w 306000"/>
                <a:gd name="connsiteY57" fmla="*/ 42825 h 378542"/>
                <a:gd name="connsiteX58" fmla="*/ 82221 w 306000"/>
                <a:gd name="connsiteY58" fmla="*/ 40530 h 378542"/>
                <a:gd name="connsiteX59" fmla="*/ 73629 w 306000"/>
                <a:gd name="connsiteY59" fmla="*/ 41606 h 378542"/>
                <a:gd name="connsiteX60" fmla="*/ 67476 w 306000"/>
                <a:gd name="connsiteY60" fmla="*/ 41254 h 378542"/>
                <a:gd name="connsiteX61" fmla="*/ 59847 w 306000"/>
                <a:gd name="connsiteY61" fmla="*/ 40158 h 378542"/>
                <a:gd name="connsiteX62" fmla="*/ 47930 w 306000"/>
                <a:gd name="connsiteY62" fmla="*/ 41101 h 378542"/>
                <a:gd name="connsiteX63" fmla="*/ 39548 w 306000"/>
                <a:gd name="connsiteY63" fmla="*/ 40425 h 378542"/>
                <a:gd name="connsiteX64" fmla="*/ 32795 w 306000"/>
                <a:gd name="connsiteY64" fmla="*/ 41826 h 378542"/>
                <a:gd name="connsiteX65" fmla="*/ 20556 w 306000"/>
                <a:gd name="connsiteY65" fmla="*/ 46359 h 378542"/>
                <a:gd name="connsiteX66" fmla="*/ 18965 w 306000"/>
                <a:gd name="connsiteY66" fmla="*/ 53360 h 378542"/>
                <a:gd name="connsiteX67" fmla="*/ 22975 w 306000"/>
                <a:gd name="connsiteY67" fmla="*/ 62618 h 378542"/>
                <a:gd name="connsiteX68" fmla="*/ 29586 w 306000"/>
                <a:gd name="connsiteY68" fmla="*/ 71953 h 378542"/>
                <a:gd name="connsiteX69" fmla="*/ 30071 w 306000"/>
                <a:gd name="connsiteY69" fmla="*/ 79373 h 378542"/>
                <a:gd name="connsiteX70" fmla="*/ 36015 w 306000"/>
                <a:gd name="connsiteY70" fmla="*/ 95346 h 378542"/>
                <a:gd name="connsiteX71" fmla="*/ 43311 w 306000"/>
                <a:gd name="connsiteY71" fmla="*/ 110863 h 378542"/>
                <a:gd name="connsiteX72" fmla="*/ 43730 w 306000"/>
                <a:gd name="connsiteY72" fmla="*/ 117930 h 378542"/>
                <a:gd name="connsiteX73" fmla="*/ 39225 w 306000"/>
                <a:gd name="connsiteY73" fmla="*/ 122235 h 378542"/>
                <a:gd name="connsiteX74" fmla="*/ 33538 w 306000"/>
                <a:gd name="connsiteY74" fmla="*/ 130379 h 378542"/>
                <a:gd name="connsiteX75" fmla="*/ 37529 w 306000"/>
                <a:gd name="connsiteY75" fmla="*/ 123940 h 378542"/>
                <a:gd name="connsiteX76" fmla="*/ 33262 w 306000"/>
                <a:gd name="connsiteY76" fmla="*/ 128474 h 378542"/>
                <a:gd name="connsiteX77" fmla="*/ 37196 w 306000"/>
                <a:gd name="connsiteY77" fmla="*/ 137161 h 378542"/>
                <a:gd name="connsiteX78" fmla="*/ 39091 w 306000"/>
                <a:gd name="connsiteY78" fmla="*/ 145115 h 378542"/>
                <a:gd name="connsiteX79" fmla="*/ 40977 w 306000"/>
                <a:gd name="connsiteY79" fmla="*/ 151734 h 378542"/>
                <a:gd name="connsiteX80" fmla="*/ 44025 w 306000"/>
                <a:gd name="connsiteY80" fmla="*/ 158716 h 378542"/>
                <a:gd name="connsiteX81" fmla="*/ 46150 w 306000"/>
                <a:gd name="connsiteY81" fmla="*/ 166060 h 378542"/>
                <a:gd name="connsiteX82" fmla="*/ 52303 w 306000"/>
                <a:gd name="connsiteY82" fmla="*/ 174471 h 378542"/>
                <a:gd name="connsiteX83" fmla="*/ 53941 w 306000"/>
                <a:gd name="connsiteY83" fmla="*/ 181852 h 378542"/>
                <a:gd name="connsiteX84" fmla="*/ 53151 w 306000"/>
                <a:gd name="connsiteY84" fmla="*/ 189987 h 378542"/>
                <a:gd name="connsiteX85" fmla="*/ 51645 w 306000"/>
                <a:gd name="connsiteY85" fmla="*/ 199178 h 378542"/>
                <a:gd name="connsiteX86" fmla="*/ 52169 w 306000"/>
                <a:gd name="connsiteY86" fmla="*/ 205246 h 378542"/>
                <a:gd name="connsiteX87" fmla="*/ 49083 w 306000"/>
                <a:gd name="connsiteY87" fmla="*/ 214780 h 378542"/>
                <a:gd name="connsiteX88" fmla="*/ 45578 w 306000"/>
                <a:gd name="connsiteY88" fmla="*/ 220514 h 378542"/>
                <a:gd name="connsiteX89" fmla="*/ 41577 w 306000"/>
                <a:gd name="connsiteY89" fmla="*/ 227306 h 378542"/>
                <a:gd name="connsiteX90" fmla="*/ 34091 w 306000"/>
                <a:gd name="connsiteY90" fmla="*/ 230678 h 378542"/>
                <a:gd name="connsiteX91" fmla="*/ 31633 w 306000"/>
                <a:gd name="connsiteY91" fmla="*/ 237860 h 378542"/>
                <a:gd name="connsiteX92" fmla="*/ 26147 w 306000"/>
                <a:gd name="connsiteY92" fmla="*/ 244108 h 378542"/>
                <a:gd name="connsiteX93" fmla="*/ 22099 w 306000"/>
                <a:gd name="connsiteY93" fmla="*/ 249309 h 378542"/>
                <a:gd name="connsiteX94" fmla="*/ 20051 w 306000"/>
                <a:gd name="connsiteY94" fmla="*/ 259815 h 378542"/>
                <a:gd name="connsiteX95" fmla="*/ 17041 w 306000"/>
                <a:gd name="connsiteY95" fmla="*/ 265501 h 378542"/>
                <a:gd name="connsiteX96" fmla="*/ 15241 w 306000"/>
                <a:gd name="connsiteY96" fmla="*/ 271635 h 378542"/>
                <a:gd name="connsiteX97" fmla="*/ 14631 w 306000"/>
                <a:gd name="connsiteY97" fmla="*/ 281141 h 378542"/>
                <a:gd name="connsiteX98" fmla="*/ 13945 w 306000"/>
                <a:gd name="connsiteY98" fmla="*/ 287294 h 378542"/>
                <a:gd name="connsiteX99" fmla="*/ 11021 w 306000"/>
                <a:gd name="connsiteY99" fmla="*/ 292981 h 378542"/>
                <a:gd name="connsiteX100" fmla="*/ 10478 w 306000"/>
                <a:gd name="connsiteY100" fmla="*/ 299134 h 378542"/>
                <a:gd name="connsiteX101" fmla="*/ 7345 w 306000"/>
                <a:gd name="connsiteY101" fmla="*/ 305135 h 378542"/>
                <a:gd name="connsiteX102" fmla="*/ 3430 w 306000"/>
                <a:gd name="connsiteY102" fmla="*/ 315955 h 378542"/>
                <a:gd name="connsiteX103" fmla="*/ 1134 w 306000"/>
                <a:gd name="connsiteY103" fmla="*/ 324509 h 378542"/>
                <a:gd name="connsiteX104" fmla="*/ 1830 w 306000"/>
                <a:gd name="connsiteY104" fmla="*/ 334443 h 378542"/>
                <a:gd name="connsiteX105" fmla="*/ 1668 w 306000"/>
                <a:gd name="connsiteY105" fmla="*/ 341625 h 378542"/>
                <a:gd name="connsiteX106" fmla="*/ -266 w 306000"/>
                <a:gd name="connsiteY106" fmla="*/ 355141 h 378542"/>
                <a:gd name="connsiteX107" fmla="*/ 7754 w 306000"/>
                <a:gd name="connsiteY107" fmla="*/ 353531 h 378542"/>
                <a:gd name="connsiteX108" fmla="*/ 16203 w 306000"/>
                <a:gd name="connsiteY108" fmla="*/ 355389 h 378542"/>
                <a:gd name="connsiteX109" fmla="*/ 29576 w 306000"/>
                <a:gd name="connsiteY109" fmla="*/ 349597 h 378542"/>
                <a:gd name="connsiteX110" fmla="*/ 36606 w 306000"/>
                <a:gd name="connsiteY110" fmla="*/ 349597 h 378542"/>
                <a:gd name="connsiteX111" fmla="*/ 42959 w 306000"/>
                <a:gd name="connsiteY111" fmla="*/ 353426 h 378542"/>
                <a:gd name="connsiteX112" fmla="*/ 52979 w 306000"/>
                <a:gd name="connsiteY112" fmla="*/ 360599 h 378542"/>
                <a:gd name="connsiteX113" fmla="*/ 60027 w 306000"/>
                <a:gd name="connsiteY113" fmla="*/ 360703 h 378542"/>
                <a:gd name="connsiteX114" fmla="*/ 163231 w 306000"/>
                <a:gd name="connsiteY114" fmla="*/ 360408 h 378542"/>
                <a:gd name="connsiteX115" fmla="*/ 167870 w 306000"/>
                <a:gd name="connsiteY115" fmla="*/ 366237 h 378542"/>
                <a:gd name="connsiteX116" fmla="*/ 173623 w 306000"/>
                <a:gd name="connsiteY116" fmla="*/ 371752 h 378542"/>
                <a:gd name="connsiteX117" fmla="*/ 193577 w 306000"/>
                <a:gd name="connsiteY117" fmla="*/ 373171 h 378542"/>
                <a:gd name="connsiteX118" fmla="*/ 204208 w 306000"/>
                <a:gd name="connsiteY118" fmla="*/ 374886 h 378542"/>
                <a:gd name="connsiteX119" fmla="*/ 218200 w 306000"/>
                <a:gd name="connsiteY119" fmla="*/ 377334 h 378542"/>
                <a:gd name="connsiteX120" fmla="*/ 14231 w 306000"/>
                <a:gd name="connsiteY120" fmla="*/ 37958 h 378542"/>
                <a:gd name="connsiteX121" fmla="*/ 22337 w 306000"/>
                <a:gd name="connsiteY121" fmla="*/ 37101 h 378542"/>
                <a:gd name="connsiteX122" fmla="*/ 22423 w 306000"/>
                <a:gd name="connsiteY122" fmla="*/ 24090 h 378542"/>
                <a:gd name="connsiteX123" fmla="*/ 24709 w 306000"/>
                <a:gd name="connsiteY123" fmla="*/ 16498 h 378542"/>
                <a:gd name="connsiteX124" fmla="*/ 29938 w 306000"/>
                <a:gd name="connsiteY124" fmla="*/ 10964 h 378542"/>
                <a:gd name="connsiteX125" fmla="*/ 36634 w 306000"/>
                <a:gd name="connsiteY125" fmla="*/ 7935 h 378542"/>
                <a:gd name="connsiteX126" fmla="*/ 31767 w 306000"/>
                <a:gd name="connsiteY126" fmla="*/ -94 h 378542"/>
                <a:gd name="connsiteX127" fmla="*/ 25385 w 306000"/>
                <a:gd name="connsiteY127" fmla="*/ 4344 h 378542"/>
                <a:gd name="connsiteX128" fmla="*/ 17308 w 306000"/>
                <a:gd name="connsiteY128" fmla="*/ 10926 h 378542"/>
                <a:gd name="connsiteX129" fmla="*/ 10793 w 306000"/>
                <a:gd name="connsiteY129" fmla="*/ 16194 h 378542"/>
                <a:gd name="connsiteX130" fmla="*/ 12517 w 306000"/>
                <a:gd name="connsiteY130" fmla="*/ 22013 h 378542"/>
                <a:gd name="connsiteX131" fmla="*/ 15031 w 306000"/>
                <a:gd name="connsiteY131" fmla="*/ 31319 h 378542"/>
                <a:gd name="connsiteX132" fmla="*/ 14231 w 306000"/>
                <a:gd name="connsiteY132" fmla="*/ 37958 h 37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306000" h="378542">
                  <a:moveTo>
                    <a:pt x="221676" y="378448"/>
                  </a:moveTo>
                  <a:lnTo>
                    <a:pt x="231268" y="375400"/>
                  </a:lnTo>
                  <a:lnTo>
                    <a:pt x="262929" y="372381"/>
                  </a:lnTo>
                  <a:lnTo>
                    <a:pt x="286008" y="367295"/>
                  </a:lnTo>
                  <a:lnTo>
                    <a:pt x="277693" y="361075"/>
                  </a:lnTo>
                  <a:lnTo>
                    <a:pt x="273206" y="355179"/>
                  </a:lnTo>
                  <a:lnTo>
                    <a:pt x="267958" y="349826"/>
                  </a:lnTo>
                  <a:lnTo>
                    <a:pt x="263787" y="345206"/>
                  </a:lnTo>
                  <a:lnTo>
                    <a:pt x="254775" y="335443"/>
                  </a:lnTo>
                  <a:lnTo>
                    <a:pt x="252166" y="327394"/>
                  </a:lnTo>
                  <a:lnTo>
                    <a:pt x="253852" y="258291"/>
                  </a:lnTo>
                  <a:lnTo>
                    <a:pt x="254356" y="238564"/>
                  </a:lnTo>
                  <a:lnTo>
                    <a:pt x="266606" y="238564"/>
                  </a:lnTo>
                  <a:lnTo>
                    <a:pt x="305020" y="238564"/>
                  </a:lnTo>
                  <a:lnTo>
                    <a:pt x="301210" y="233011"/>
                  </a:lnTo>
                  <a:lnTo>
                    <a:pt x="305735" y="221905"/>
                  </a:lnTo>
                  <a:lnTo>
                    <a:pt x="303839" y="211332"/>
                  </a:lnTo>
                  <a:lnTo>
                    <a:pt x="304668" y="205255"/>
                  </a:lnTo>
                  <a:lnTo>
                    <a:pt x="305229" y="195416"/>
                  </a:lnTo>
                  <a:lnTo>
                    <a:pt x="305458" y="183053"/>
                  </a:lnTo>
                  <a:lnTo>
                    <a:pt x="296619" y="183072"/>
                  </a:lnTo>
                  <a:lnTo>
                    <a:pt x="288694" y="183015"/>
                  </a:lnTo>
                  <a:lnTo>
                    <a:pt x="276750" y="184786"/>
                  </a:lnTo>
                  <a:lnTo>
                    <a:pt x="270711" y="184138"/>
                  </a:lnTo>
                  <a:lnTo>
                    <a:pt x="263872" y="188558"/>
                  </a:lnTo>
                  <a:lnTo>
                    <a:pt x="259652" y="179328"/>
                  </a:lnTo>
                  <a:lnTo>
                    <a:pt x="263329" y="170022"/>
                  </a:lnTo>
                  <a:lnTo>
                    <a:pt x="261758" y="160840"/>
                  </a:lnTo>
                  <a:lnTo>
                    <a:pt x="260500" y="152801"/>
                  </a:lnTo>
                  <a:lnTo>
                    <a:pt x="256052" y="148325"/>
                  </a:lnTo>
                  <a:lnTo>
                    <a:pt x="251213" y="138637"/>
                  </a:lnTo>
                  <a:lnTo>
                    <a:pt x="252213" y="130265"/>
                  </a:lnTo>
                  <a:lnTo>
                    <a:pt x="255385" y="113758"/>
                  </a:lnTo>
                  <a:lnTo>
                    <a:pt x="253785" y="104690"/>
                  </a:lnTo>
                  <a:lnTo>
                    <a:pt x="251166" y="94232"/>
                  </a:lnTo>
                  <a:lnTo>
                    <a:pt x="253071" y="82411"/>
                  </a:lnTo>
                  <a:lnTo>
                    <a:pt x="221086" y="79878"/>
                  </a:lnTo>
                  <a:lnTo>
                    <a:pt x="223048" y="69696"/>
                  </a:lnTo>
                  <a:lnTo>
                    <a:pt x="215485" y="69696"/>
                  </a:lnTo>
                  <a:lnTo>
                    <a:pt x="196245" y="72020"/>
                  </a:lnTo>
                  <a:lnTo>
                    <a:pt x="194597" y="80783"/>
                  </a:lnTo>
                  <a:lnTo>
                    <a:pt x="194568" y="87584"/>
                  </a:lnTo>
                  <a:lnTo>
                    <a:pt x="190853" y="97032"/>
                  </a:lnTo>
                  <a:lnTo>
                    <a:pt x="177299" y="99775"/>
                  </a:lnTo>
                  <a:lnTo>
                    <a:pt x="170689" y="97461"/>
                  </a:lnTo>
                  <a:lnTo>
                    <a:pt x="162983" y="99090"/>
                  </a:lnTo>
                  <a:lnTo>
                    <a:pt x="154411" y="102014"/>
                  </a:lnTo>
                  <a:lnTo>
                    <a:pt x="147905" y="103405"/>
                  </a:lnTo>
                  <a:lnTo>
                    <a:pt x="144676" y="98366"/>
                  </a:lnTo>
                  <a:lnTo>
                    <a:pt x="140647" y="92956"/>
                  </a:lnTo>
                  <a:lnTo>
                    <a:pt x="137685" y="86898"/>
                  </a:lnTo>
                  <a:lnTo>
                    <a:pt x="132379" y="80030"/>
                  </a:lnTo>
                  <a:lnTo>
                    <a:pt x="132179" y="73477"/>
                  </a:lnTo>
                  <a:lnTo>
                    <a:pt x="129188" y="67219"/>
                  </a:lnTo>
                  <a:lnTo>
                    <a:pt x="127112" y="60933"/>
                  </a:lnTo>
                  <a:lnTo>
                    <a:pt x="125207" y="54913"/>
                  </a:lnTo>
                  <a:lnTo>
                    <a:pt x="126559" y="48931"/>
                  </a:lnTo>
                  <a:lnTo>
                    <a:pt x="123474" y="42825"/>
                  </a:lnTo>
                  <a:lnTo>
                    <a:pt x="82221" y="40530"/>
                  </a:lnTo>
                  <a:lnTo>
                    <a:pt x="73629" y="41606"/>
                  </a:lnTo>
                  <a:lnTo>
                    <a:pt x="67476" y="41254"/>
                  </a:lnTo>
                  <a:lnTo>
                    <a:pt x="59847" y="40158"/>
                  </a:lnTo>
                  <a:lnTo>
                    <a:pt x="47930" y="41101"/>
                  </a:lnTo>
                  <a:lnTo>
                    <a:pt x="39548" y="40425"/>
                  </a:lnTo>
                  <a:lnTo>
                    <a:pt x="32795" y="41826"/>
                  </a:lnTo>
                  <a:lnTo>
                    <a:pt x="20556" y="46359"/>
                  </a:lnTo>
                  <a:lnTo>
                    <a:pt x="18965" y="53360"/>
                  </a:lnTo>
                  <a:lnTo>
                    <a:pt x="22975" y="62618"/>
                  </a:lnTo>
                  <a:lnTo>
                    <a:pt x="29586" y="71953"/>
                  </a:lnTo>
                  <a:lnTo>
                    <a:pt x="30071" y="79373"/>
                  </a:lnTo>
                  <a:lnTo>
                    <a:pt x="36015" y="95346"/>
                  </a:lnTo>
                  <a:lnTo>
                    <a:pt x="43311" y="110863"/>
                  </a:lnTo>
                  <a:lnTo>
                    <a:pt x="43730" y="117930"/>
                  </a:lnTo>
                  <a:lnTo>
                    <a:pt x="39225" y="122235"/>
                  </a:lnTo>
                  <a:lnTo>
                    <a:pt x="33538" y="130379"/>
                  </a:lnTo>
                  <a:lnTo>
                    <a:pt x="37529" y="123940"/>
                  </a:lnTo>
                  <a:lnTo>
                    <a:pt x="33262" y="128474"/>
                  </a:lnTo>
                  <a:lnTo>
                    <a:pt x="37196" y="137161"/>
                  </a:lnTo>
                  <a:lnTo>
                    <a:pt x="39091" y="145115"/>
                  </a:lnTo>
                  <a:lnTo>
                    <a:pt x="40977" y="151734"/>
                  </a:lnTo>
                  <a:lnTo>
                    <a:pt x="44025" y="158716"/>
                  </a:lnTo>
                  <a:lnTo>
                    <a:pt x="46150" y="166060"/>
                  </a:lnTo>
                  <a:lnTo>
                    <a:pt x="52303" y="174471"/>
                  </a:lnTo>
                  <a:lnTo>
                    <a:pt x="53941" y="181852"/>
                  </a:lnTo>
                  <a:lnTo>
                    <a:pt x="53151" y="189987"/>
                  </a:lnTo>
                  <a:lnTo>
                    <a:pt x="51645" y="199178"/>
                  </a:lnTo>
                  <a:lnTo>
                    <a:pt x="52169" y="205246"/>
                  </a:lnTo>
                  <a:lnTo>
                    <a:pt x="49083" y="214780"/>
                  </a:lnTo>
                  <a:lnTo>
                    <a:pt x="45578" y="220514"/>
                  </a:lnTo>
                  <a:lnTo>
                    <a:pt x="41577" y="227306"/>
                  </a:lnTo>
                  <a:lnTo>
                    <a:pt x="34091" y="230678"/>
                  </a:lnTo>
                  <a:lnTo>
                    <a:pt x="31633" y="237860"/>
                  </a:lnTo>
                  <a:lnTo>
                    <a:pt x="26147" y="244108"/>
                  </a:lnTo>
                  <a:lnTo>
                    <a:pt x="22099" y="249309"/>
                  </a:lnTo>
                  <a:lnTo>
                    <a:pt x="20051" y="259815"/>
                  </a:lnTo>
                  <a:lnTo>
                    <a:pt x="17041" y="265501"/>
                  </a:lnTo>
                  <a:lnTo>
                    <a:pt x="15241" y="271635"/>
                  </a:lnTo>
                  <a:lnTo>
                    <a:pt x="14631" y="281141"/>
                  </a:lnTo>
                  <a:lnTo>
                    <a:pt x="13945" y="287294"/>
                  </a:lnTo>
                  <a:lnTo>
                    <a:pt x="11021" y="292981"/>
                  </a:lnTo>
                  <a:lnTo>
                    <a:pt x="10478" y="299134"/>
                  </a:lnTo>
                  <a:lnTo>
                    <a:pt x="7345" y="305135"/>
                  </a:lnTo>
                  <a:lnTo>
                    <a:pt x="3430" y="315955"/>
                  </a:lnTo>
                  <a:lnTo>
                    <a:pt x="1134" y="324509"/>
                  </a:lnTo>
                  <a:lnTo>
                    <a:pt x="1830" y="334443"/>
                  </a:lnTo>
                  <a:lnTo>
                    <a:pt x="1668" y="341625"/>
                  </a:lnTo>
                  <a:lnTo>
                    <a:pt x="-266" y="355141"/>
                  </a:lnTo>
                  <a:lnTo>
                    <a:pt x="7754" y="353531"/>
                  </a:lnTo>
                  <a:lnTo>
                    <a:pt x="16203" y="355389"/>
                  </a:lnTo>
                  <a:lnTo>
                    <a:pt x="29576" y="349597"/>
                  </a:lnTo>
                  <a:lnTo>
                    <a:pt x="36606" y="349597"/>
                  </a:lnTo>
                  <a:lnTo>
                    <a:pt x="42959" y="353426"/>
                  </a:lnTo>
                  <a:lnTo>
                    <a:pt x="52979" y="360599"/>
                  </a:lnTo>
                  <a:lnTo>
                    <a:pt x="60027" y="360703"/>
                  </a:lnTo>
                  <a:lnTo>
                    <a:pt x="163231" y="360408"/>
                  </a:lnTo>
                  <a:lnTo>
                    <a:pt x="167870" y="366237"/>
                  </a:lnTo>
                  <a:lnTo>
                    <a:pt x="173623" y="371752"/>
                  </a:lnTo>
                  <a:lnTo>
                    <a:pt x="193577" y="373171"/>
                  </a:lnTo>
                  <a:lnTo>
                    <a:pt x="204208" y="374886"/>
                  </a:lnTo>
                  <a:lnTo>
                    <a:pt x="218200" y="377334"/>
                  </a:lnTo>
                  <a:close/>
                  <a:moveTo>
                    <a:pt x="14231" y="37958"/>
                  </a:moveTo>
                  <a:lnTo>
                    <a:pt x="22337" y="37101"/>
                  </a:lnTo>
                  <a:lnTo>
                    <a:pt x="22423" y="24090"/>
                  </a:lnTo>
                  <a:lnTo>
                    <a:pt x="24709" y="16498"/>
                  </a:lnTo>
                  <a:lnTo>
                    <a:pt x="29938" y="10964"/>
                  </a:lnTo>
                  <a:lnTo>
                    <a:pt x="36634" y="7935"/>
                  </a:lnTo>
                  <a:lnTo>
                    <a:pt x="31767" y="-94"/>
                  </a:lnTo>
                  <a:lnTo>
                    <a:pt x="25385" y="4344"/>
                  </a:lnTo>
                  <a:lnTo>
                    <a:pt x="17308" y="10926"/>
                  </a:lnTo>
                  <a:lnTo>
                    <a:pt x="10793" y="16194"/>
                  </a:lnTo>
                  <a:lnTo>
                    <a:pt x="12517" y="22013"/>
                  </a:lnTo>
                  <a:lnTo>
                    <a:pt x="15031" y="31319"/>
                  </a:lnTo>
                  <a:lnTo>
                    <a:pt x="14231" y="37958"/>
                  </a:lnTo>
                  <a:close/>
                </a:path>
              </a:pathLst>
            </a:custGeom>
            <a:solidFill>
              <a:srgbClr val="E0E0E0"/>
            </a:solidFill>
            <a:ln w="3969" cap="flat">
              <a:solidFill>
                <a:srgbClr val="FFFFF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fr-CI"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grpSp>
    </p:spTree>
    <p:extLst>
      <p:ext uri="{BB962C8B-B14F-4D97-AF65-F5344CB8AC3E}">
        <p14:creationId xmlns:p14="http://schemas.microsoft.com/office/powerpoint/2010/main" val="42180943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03326" y="6353352"/>
            <a:ext cx="1735455" cy="14795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tab pos="273685" algn="l"/>
              </a:tabLst>
              <a:defRPr/>
            </a:pPr>
            <a:r>
              <a:rPr kumimoji="0" sz="800" b="0" i="0" u="none" strike="noStrike" kern="0" cap="none" spc="-50" normalizeH="0" baseline="0" noProof="0">
                <a:ln>
                  <a:noFill/>
                </a:ln>
                <a:solidFill>
                  <a:srgbClr val="7E7E7E"/>
                </a:solidFill>
                <a:effectLst/>
                <a:uLnTx/>
                <a:uFillTx/>
                <a:latin typeface="Arial"/>
                <a:cs typeface="Arial"/>
              </a:rPr>
              <a:t>2</a:t>
            </a:r>
            <a:r>
              <a:rPr kumimoji="0" sz="800" b="0" i="0" u="none" strike="noStrike" kern="0" cap="none" spc="0" normalizeH="0" baseline="0" noProof="0">
                <a:ln>
                  <a:noFill/>
                </a:ln>
                <a:solidFill>
                  <a:srgbClr val="7E7E7E"/>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Board</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Meeting,</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10" normalizeH="0" baseline="0" noProof="0">
                <a:ln>
                  <a:noFill/>
                </a:ln>
                <a:solidFill>
                  <a:srgbClr val="888888"/>
                </a:solidFill>
                <a:effectLst/>
                <a:uLnTx/>
                <a:uFillTx/>
                <a:latin typeface="Arial"/>
                <a:cs typeface="Arial"/>
              </a:rPr>
              <a:t>24-</a:t>
            </a:r>
            <a:r>
              <a:rPr kumimoji="0" sz="800" b="0" i="0" u="none" strike="noStrike" kern="0" cap="none" spc="0" normalizeH="0" baseline="0" noProof="0">
                <a:ln>
                  <a:noFill/>
                </a:ln>
                <a:solidFill>
                  <a:srgbClr val="888888"/>
                </a:solidFill>
                <a:effectLst/>
                <a:uLnTx/>
                <a:uFillTx/>
                <a:latin typeface="Arial"/>
                <a:cs typeface="Arial"/>
              </a:rPr>
              <a:t>25 July</a:t>
            </a:r>
            <a:r>
              <a:rPr kumimoji="0" sz="800" b="0" i="0" u="none" strike="noStrike" kern="0" cap="none" spc="-35" normalizeH="0" baseline="0" noProof="0">
                <a:ln>
                  <a:noFill/>
                </a:ln>
                <a:solidFill>
                  <a:srgbClr val="888888"/>
                </a:solidFill>
                <a:effectLst/>
                <a:uLnTx/>
                <a:uFillTx/>
                <a:latin typeface="Arial"/>
                <a:cs typeface="Arial"/>
              </a:rPr>
              <a:t> </a:t>
            </a:r>
            <a:r>
              <a:rPr kumimoji="0" sz="800" b="0" i="0" u="none" strike="noStrike" kern="0" cap="none" spc="-20" normalizeH="0" baseline="0" noProof="0">
                <a:ln>
                  <a:noFill/>
                </a:ln>
                <a:solidFill>
                  <a:srgbClr val="888888"/>
                </a:solidFill>
                <a:effectLst/>
                <a:uLnTx/>
                <a:uFillTx/>
                <a:latin typeface="Arial"/>
                <a:cs typeface="Arial"/>
              </a:rPr>
              <a:t>2025</a:t>
            </a:r>
            <a:endParaRPr kumimoji="0" sz="800" b="0" i="0" u="none" strike="noStrike" kern="0" cap="none" spc="0" normalizeH="0" baseline="0" noProof="0">
              <a:ln>
                <a:noFill/>
              </a:ln>
              <a:solidFill>
                <a:sysClr val="windowText" lastClr="000000"/>
              </a:solidFill>
              <a:effectLst/>
              <a:uLnTx/>
              <a:uFillTx/>
              <a:latin typeface="Arial"/>
              <a:cs typeface="Arial"/>
            </a:endParaRPr>
          </a:p>
        </p:txBody>
      </p:sp>
      <p:sp>
        <p:nvSpPr>
          <p:cNvPr id="3" name="object 3"/>
          <p:cNvSpPr txBox="1"/>
          <p:nvPr/>
        </p:nvSpPr>
        <p:spPr>
          <a:xfrm>
            <a:off x="1706626" y="5844763"/>
            <a:ext cx="57150" cy="114300"/>
          </a:xfrm>
          <a:prstGeom prst="rect">
            <a:avLst/>
          </a:prstGeom>
        </p:spPr>
        <p:txBody>
          <a:bodyPr vert="horz" wrap="square" lIns="0" tIns="0" rIns="0" bIns="0" rtlCol="0">
            <a:spAutoFit/>
          </a:bodyPr>
          <a:lstStyle/>
          <a:p>
            <a:pPr marL="0" marR="0" lvl="0" indent="0" defTabSz="914400" eaLnBrk="1" fontAlgn="auto" latinLnBrk="0" hangingPunct="1">
              <a:lnSpc>
                <a:spcPts val="890"/>
              </a:lnSpc>
              <a:spcBef>
                <a:spcPts val="0"/>
              </a:spcBef>
              <a:spcAft>
                <a:spcPts val="0"/>
              </a:spcAft>
              <a:buClrTx/>
              <a:buSzTx/>
              <a:buFontTx/>
              <a:buNone/>
              <a:tabLst/>
              <a:defRPr/>
            </a:pPr>
            <a:r>
              <a:rPr kumimoji="0" sz="800" b="0" i="0" u="none" strike="noStrike" kern="0" cap="none" spc="-50" normalizeH="0" baseline="0" noProof="0">
                <a:ln>
                  <a:noFill/>
                </a:ln>
                <a:solidFill>
                  <a:srgbClr val="7E7E7E"/>
                </a:solidFill>
                <a:effectLst/>
                <a:uLnTx/>
                <a:uFillTx/>
                <a:latin typeface="Arial"/>
                <a:cs typeface="Arial"/>
              </a:rPr>
              <a:t>2</a:t>
            </a:r>
            <a:endParaRPr kumimoji="0" sz="800" b="0" i="0" u="none" strike="noStrike" kern="0" cap="none" spc="0" normalizeH="0" baseline="0" noProof="0">
              <a:ln>
                <a:noFill/>
              </a:ln>
              <a:solidFill>
                <a:sysClr val="windowText" lastClr="000000"/>
              </a:solidFill>
              <a:effectLst/>
              <a:uLnTx/>
              <a:uFillTx/>
              <a:latin typeface="Arial"/>
              <a:cs typeface="Arial"/>
            </a:endParaRPr>
          </a:p>
        </p:txBody>
      </p:sp>
      <p:sp>
        <p:nvSpPr>
          <p:cNvPr id="4" name="object 4"/>
          <p:cNvSpPr txBox="1"/>
          <p:nvPr/>
        </p:nvSpPr>
        <p:spPr>
          <a:xfrm>
            <a:off x="4401439" y="4566920"/>
            <a:ext cx="1861820" cy="88011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0" normalizeH="0" baseline="0" noProof="0">
                <a:ln>
                  <a:noFill/>
                </a:ln>
                <a:solidFill>
                  <a:srgbClr val="3D9B6D"/>
                </a:solidFill>
                <a:effectLst/>
                <a:uLnTx/>
                <a:uFillTx/>
                <a:latin typeface="Arial"/>
                <a:cs typeface="Arial"/>
              </a:rPr>
              <a:t>4.</a:t>
            </a:r>
            <a:r>
              <a:rPr kumimoji="0" sz="1400" b="1" i="0" u="none" strike="noStrike" kern="0" cap="none" spc="-45" normalizeH="0" baseline="0" noProof="0">
                <a:ln>
                  <a:noFill/>
                </a:ln>
                <a:solidFill>
                  <a:srgbClr val="3D9B6D"/>
                </a:solidFill>
                <a:effectLst/>
                <a:uLnTx/>
                <a:uFillTx/>
                <a:latin typeface="Arial"/>
                <a:cs typeface="Arial"/>
              </a:rPr>
              <a:t> </a:t>
            </a:r>
            <a:r>
              <a:rPr kumimoji="0" sz="1400" b="1" i="0" u="none" strike="noStrike" kern="0" cap="none" spc="0" normalizeH="0" baseline="0" noProof="0">
                <a:ln>
                  <a:noFill/>
                </a:ln>
                <a:solidFill>
                  <a:srgbClr val="3D9B6D"/>
                </a:solidFill>
                <a:effectLst/>
                <a:uLnTx/>
                <a:uFillTx/>
                <a:latin typeface="Arial"/>
                <a:cs typeface="Arial"/>
              </a:rPr>
              <a:t>Provide</a:t>
            </a:r>
            <a:r>
              <a:rPr kumimoji="0" sz="1400" b="1" i="0" u="none" strike="noStrike" kern="0" cap="none" spc="-35" normalizeH="0" baseline="0" noProof="0">
                <a:ln>
                  <a:noFill/>
                </a:ln>
                <a:solidFill>
                  <a:srgbClr val="3D9B6D"/>
                </a:solidFill>
                <a:effectLst/>
                <a:uLnTx/>
                <a:uFillTx/>
                <a:latin typeface="Arial"/>
                <a:cs typeface="Arial"/>
              </a:rPr>
              <a:t> </a:t>
            </a:r>
            <a:r>
              <a:rPr kumimoji="0" sz="1400" b="1" i="0" u="none" strike="noStrike" kern="0" cap="none" spc="-10" normalizeH="0" baseline="0" noProof="0">
                <a:ln>
                  <a:noFill/>
                </a:ln>
                <a:solidFill>
                  <a:srgbClr val="3D9B6D"/>
                </a:solidFill>
                <a:effectLst/>
                <a:uLnTx/>
                <a:uFillTx/>
                <a:latin typeface="Arial"/>
                <a:cs typeface="Arial"/>
              </a:rPr>
              <a:t>responsive </a:t>
            </a:r>
            <a:r>
              <a:rPr kumimoji="0" sz="1400" b="1" i="0" u="none" strike="noStrike" kern="0" cap="none" spc="0" normalizeH="0" baseline="0" noProof="0">
                <a:ln>
                  <a:noFill/>
                </a:ln>
                <a:solidFill>
                  <a:srgbClr val="3D9B6D"/>
                </a:solidFill>
                <a:effectLst/>
                <a:uLnTx/>
                <a:uFillTx/>
                <a:latin typeface="Arial"/>
                <a:cs typeface="Arial"/>
              </a:rPr>
              <a:t>support</a:t>
            </a:r>
            <a:r>
              <a:rPr kumimoji="0" sz="1400" b="1" i="0" u="none" strike="noStrike" kern="0" cap="none" spc="-25" normalizeH="0" baseline="0" noProof="0">
                <a:ln>
                  <a:noFill/>
                </a:ln>
                <a:solidFill>
                  <a:srgbClr val="3D9B6D"/>
                </a:solidFill>
                <a:effectLst/>
                <a:uLnTx/>
                <a:uFillTx/>
                <a:latin typeface="Arial"/>
                <a:cs typeface="Arial"/>
              </a:rPr>
              <a:t> </a:t>
            </a:r>
            <a:r>
              <a:rPr kumimoji="0" sz="1400" b="1" i="0" u="none" strike="noStrike" kern="0" cap="none" spc="0" normalizeH="0" baseline="0" noProof="0">
                <a:ln>
                  <a:noFill/>
                </a:ln>
                <a:solidFill>
                  <a:srgbClr val="3D9B6D"/>
                </a:solidFill>
                <a:effectLst/>
                <a:uLnTx/>
                <a:uFillTx/>
                <a:latin typeface="Arial"/>
                <a:cs typeface="Arial"/>
              </a:rPr>
              <a:t>for</a:t>
            </a:r>
            <a:r>
              <a:rPr kumimoji="0" sz="1400" b="1" i="0" u="none" strike="noStrike" kern="0" cap="none" spc="-15" normalizeH="0" baseline="0" noProof="0">
                <a:ln>
                  <a:noFill/>
                </a:ln>
                <a:solidFill>
                  <a:srgbClr val="3D9B6D"/>
                </a:solidFill>
                <a:effectLst/>
                <a:uLnTx/>
                <a:uFillTx/>
                <a:latin typeface="Arial"/>
                <a:cs typeface="Arial"/>
              </a:rPr>
              <a:t> </a:t>
            </a:r>
            <a:r>
              <a:rPr kumimoji="0" sz="1400" b="1" i="0" u="none" strike="noStrike" kern="0" cap="none" spc="-10" normalizeH="0" baseline="0" noProof="0">
                <a:ln>
                  <a:noFill/>
                </a:ln>
                <a:solidFill>
                  <a:srgbClr val="3D9B6D"/>
                </a:solidFill>
                <a:effectLst/>
                <a:uLnTx/>
                <a:uFillTx/>
                <a:latin typeface="Arial"/>
                <a:cs typeface="Arial"/>
              </a:rPr>
              <a:t>fragility, </a:t>
            </a:r>
            <a:r>
              <a:rPr kumimoji="0" sz="1400" b="1" i="0" u="none" strike="noStrike" kern="0" cap="none" spc="0" normalizeH="0" baseline="0" noProof="0">
                <a:ln>
                  <a:noFill/>
                </a:ln>
                <a:solidFill>
                  <a:srgbClr val="3D9B6D"/>
                </a:solidFill>
                <a:effectLst/>
                <a:uLnTx/>
                <a:uFillTx/>
                <a:latin typeface="Arial"/>
                <a:cs typeface="Arial"/>
              </a:rPr>
              <a:t>emergencies</a:t>
            </a:r>
            <a:r>
              <a:rPr kumimoji="0" sz="1400" b="1" i="0" u="none" strike="noStrike" kern="0" cap="none" spc="-95" normalizeH="0" baseline="0" noProof="0">
                <a:ln>
                  <a:noFill/>
                </a:ln>
                <a:solidFill>
                  <a:srgbClr val="3D9B6D"/>
                </a:solidFill>
                <a:effectLst/>
                <a:uLnTx/>
                <a:uFillTx/>
                <a:latin typeface="Arial"/>
                <a:cs typeface="Arial"/>
              </a:rPr>
              <a:t> </a:t>
            </a:r>
            <a:r>
              <a:rPr kumimoji="0" sz="1400" b="1" i="0" u="none" strike="noStrike" kern="0" cap="none" spc="-25" normalizeH="0" baseline="0" noProof="0">
                <a:ln>
                  <a:noFill/>
                </a:ln>
                <a:solidFill>
                  <a:srgbClr val="3D9B6D"/>
                </a:solidFill>
                <a:effectLst/>
                <a:uLnTx/>
                <a:uFillTx/>
                <a:latin typeface="Arial"/>
                <a:cs typeface="Arial"/>
              </a:rPr>
              <a:t>and </a:t>
            </a:r>
            <a:r>
              <a:rPr kumimoji="0" sz="1400" b="1" i="0" u="none" strike="noStrike" kern="0" cap="none" spc="-10" normalizeH="0" baseline="0" noProof="0">
                <a:ln>
                  <a:noFill/>
                </a:ln>
                <a:solidFill>
                  <a:srgbClr val="3D9B6D"/>
                </a:solidFill>
                <a:effectLst/>
                <a:uLnTx/>
                <a:uFillTx/>
                <a:latin typeface="Arial"/>
                <a:cs typeface="Arial"/>
              </a:rPr>
              <a:t>outbreaks</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5" name="object 5"/>
          <p:cNvSpPr txBox="1"/>
          <p:nvPr/>
        </p:nvSpPr>
        <p:spPr>
          <a:xfrm>
            <a:off x="4401439" y="3700398"/>
            <a:ext cx="1161415" cy="666115"/>
          </a:xfrm>
          <a:prstGeom prst="rect">
            <a:avLst/>
          </a:prstGeom>
        </p:spPr>
        <p:txBody>
          <a:bodyPr vert="horz" wrap="square" lIns="0" tIns="12700" rIns="0" bIns="0" rtlCol="0">
            <a:spAutoFit/>
          </a:bodyPr>
          <a:lstStyle/>
          <a:p>
            <a:pPr marL="12700" marR="5080" lvl="0" indent="0" algn="just"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0" normalizeH="0" baseline="0" noProof="0">
                <a:ln>
                  <a:noFill/>
                </a:ln>
                <a:solidFill>
                  <a:srgbClr val="3D9B6D"/>
                </a:solidFill>
                <a:effectLst/>
                <a:uLnTx/>
                <a:uFillTx/>
                <a:latin typeface="Arial"/>
                <a:cs typeface="Arial"/>
              </a:rPr>
              <a:t>3.</a:t>
            </a:r>
            <a:r>
              <a:rPr kumimoji="0" sz="1400" b="1" i="0" u="none" strike="noStrike" kern="0" cap="none" spc="-15" normalizeH="0" baseline="0" noProof="0">
                <a:ln>
                  <a:noFill/>
                </a:ln>
                <a:solidFill>
                  <a:srgbClr val="3D9B6D"/>
                </a:solidFill>
                <a:effectLst/>
                <a:uLnTx/>
                <a:uFillTx/>
                <a:latin typeface="Arial"/>
                <a:cs typeface="Arial"/>
              </a:rPr>
              <a:t> </a:t>
            </a:r>
            <a:r>
              <a:rPr kumimoji="0" sz="1400" b="1" i="0" u="none" strike="noStrike" kern="0" cap="none" spc="-10" normalizeH="0" baseline="0" noProof="0">
                <a:ln>
                  <a:noFill/>
                </a:ln>
                <a:solidFill>
                  <a:srgbClr val="3D9B6D"/>
                </a:solidFill>
                <a:effectLst/>
                <a:uLnTx/>
                <a:uFillTx/>
                <a:latin typeface="Arial"/>
                <a:cs typeface="Arial"/>
              </a:rPr>
              <a:t>Strengthen humanitarian partnerships</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6" name="object 6"/>
          <p:cNvSpPr/>
          <p:nvPr/>
        </p:nvSpPr>
        <p:spPr>
          <a:xfrm>
            <a:off x="3395726" y="2004695"/>
            <a:ext cx="272415" cy="3763010"/>
          </a:xfrm>
          <a:custGeom>
            <a:avLst/>
            <a:gdLst/>
            <a:ahLst/>
            <a:cxnLst/>
            <a:rect l="l" t="t" r="r" b="b"/>
            <a:pathLst>
              <a:path w="272414" h="3763010">
                <a:moveTo>
                  <a:pt x="0" y="0"/>
                </a:moveTo>
                <a:lnTo>
                  <a:pt x="0" y="3762997"/>
                </a:lnTo>
                <a:lnTo>
                  <a:pt x="271907" y="1881504"/>
                </a:lnTo>
                <a:lnTo>
                  <a:pt x="0" y="0"/>
                </a:lnTo>
                <a:close/>
              </a:path>
            </a:pathLst>
          </a:custGeom>
          <a:solidFill>
            <a:srgbClr val="BDDE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object 7"/>
          <p:cNvSpPr txBox="1"/>
          <p:nvPr/>
        </p:nvSpPr>
        <p:spPr>
          <a:xfrm>
            <a:off x="1457071" y="1221994"/>
            <a:ext cx="7167245" cy="29972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tab pos="2477770" algn="l"/>
                <a:tab pos="6036945" algn="l"/>
              </a:tabLst>
              <a:defRPr/>
            </a:pPr>
            <a:r>
              <a:rPr kumimoji="0" sz="1800" b="1" i="1" u="none" strike="noStrike" kern="0" cap="none" spc="-10" normalizeH="0" baseline="0" noProof="0">
                <a:ln>
                  <a:noFill/>
                </a:ln>
                <a:solidFill>
                  <a:srgbClr val="7E7E7E"/>
                </a:solidFill>
                <a:effectLst/>
                <a:uLnTx/>
                <a:uFillTx/>
                <a:latin typeface="Arial"/>
                <a:cs typeface="Arial"/>
              </a:rPr>
              <a:t>Levers</a:t>
            </a:r>
            <a:r>
              <a:rPr kumimoji="0" sz="1800" b="1" i="1" u="none" strike="noStrike" kern="0" cap="none" spc="0" normalizeH="0" baseline="0" noProof="0">
                <a:ln>
                  <a:noFill/>
                </a:ln>
                <a:solidFill>
                  <a:srgbClr val="7E7E7E"/>
                </a:solidFill>
                <a:effectLst/>
                <a:uLnTx/>
                <a:uFillTx/>
                <a:latin typeface="Arial"/>
                <a:cs typeface="Arial"/>
              </a:rPr>
              <a:t>	</a:t>
            </a:r>
            <a:r>
              <a:rPr kumimoji="0" sz="1800" b="1" i="1" u="none" strike="noStrike" kern="0" cap="none" spc="0" normalizeH="0" baseline="0" noProof="0">
                <a:ln>
                  <a:noFill/>
                </a:ln>
                <a:solidFill>
                  <a:srgbClr val="3D9B6D"/>
                </a:solidFill>
                <a:effectLst/>
                <a:uLnTx/>
                <a:uFillTx/>
                <a:latin typeface="Arial"/>
                <a:cs typeface="Arial"/>
              </a:rPr>
              <a:t>Priority</a:t>
            </a:r>
            <a:r>
              <a:rPr kumimoji="0" sz="1800" b="1" i="1" u="none" strike="noStrike" kern="0" cap="none" spc="-45" normalizeH="0" baseline="0" noProof="0">
                <a:ln>
                  <a:noFill/>
                </a:ln>
                <a:solidFill>
                  <a:srgbClr val="3D9B6D"/>
                </a:solidFill>
                <a:effectLst/>
                <a:uLnTx/>
                <a:uFillTx/>
                <a:latin typeface="Arial"/>
                <a:cs typeface="Arial"/>
              </a:rPr>
              <a:t> </a:t>
            </a:r>
            <a:r>
              <a:rPr kumimoji="0" sz="1800" b="1" i="1" u="none" strike="noStrike" kern="0" cap="none" spc="-10" normalizeH="0" baseline="0" noProof="0">
                <a:ln>
                  <a:noFill/>
                </a:ln>
                <a:solidFill>
                  <a:srgbClr val="3D9B6D"/>
                </a:solidFill>
                <a:effectLst/>
                <a:uLnTx/>
                <a:uFillTx/>
                <a:latin typeface="Arial"/>
                <a:cs typeface="Arial"/>
              </a:rPr>
              <a:t>interventions</a:t>
            </a:r>
            <a:r>
              <a:rPr kumimoji="0" sz="1800" b="1" i="1" u="none" strike="noStrike" kern="0" cap="none" spc="0" normalizeH="0" baseline="0" noProof="0">
                <a:ln>
                  <a:noFill/>
                </a:ln>
                <a:solidFill>
                  <a:srgbClr val="3D9B6D"/>
                </a:solidFill>
                <a:effectLst/>
                <a:uLnTx/>
                <a:uFillTx/>
                <a:latin typeface="Arial"/>
                <a:cs typeface="Arial"/>
              </a:rPr>
              <a:t>	</a:t>
            </a:r>
            <a:r>
              <a:rPr kumimoji="0" sz="1800" b="1" i="1" u="none" strike="noStrike" kern="0" cap="none" spc="-10" normalizeH="0" baseline="0" noProof="0">
                <a:ln>
                  <a:noFill/>
                </a:ln>
                <a:solidFill>
                  <a:srgbClr val="005CB8"/>
                </a:solidFill>
                <a:effectLst/>
                <a:uLnTx/>
                <a:uFillTx/>
                <a:latin typeface="Arial"/>
                <a:cs typeface="Arial"/>
              </a:rPr>
              <a:t>Outcomes</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sp>
        <p:nvSpPr>
          <p:cNvPr id="8" name="object 8"/>
          <p:cNvSpPr/>
          <p:nvPr/>
        </p:nvSpPr>
        <p:spPr>
          <a:xfrm>
            <a:off x="3713479" y="1564132"/>
            <a:ext cx="2742565" cy="0"/>
          </a:xfrm>
          <a:custGeom>
            <a:avLst/>
            <a:gdLst/>
            <a:ahLst/>
            <a:cxnLst/>
            <a:rect l="l" t="t" r="r" b="b"/>
            <a:pathLst>
              <a:path w="2742565">
                <a:moveTo>
                  <a:pt x="0" y="0"/>
                </a:moveTo>
                <a:lnTo>
                  <a:pt x="2742184" y="0"/>
                </a:lnTo>
              </a:path>
            </a:pathLst>
          </a:custGeom>
          <a:ln w="19050">
            <a:solidFill>
              <a:srgbClr val="3D9B6D"/>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 name="object 9"/>
          <p:cNvSpPr/>
          <p:nvPr/>
        </p:nvSpPr>
        <p:spPr>
          <a:xfrm>
            <a:off x="7010400" y="1564132"/>
            <a:ext cx="2082800" cy="0"/>
          </a:xfrm>
          <a:custGeom>
            <a:avLst/>
            <a:gdLst/>
            <a:ahLst/>
            <a:cxnLst/>
            <a:rect l="l" t="t" r="r" b="b"/>
            <a:pathLst>
              <a:path w="2082800">
                <a:moveTo>
                  <a:pt x="0" y="0"/>
                </a:moveTo>
                <a:lnTo>
                  <a:pt x="2082800" y="0"/>
                </a:lnTo>
              </a:path>
            </a:pathLst>
          </a:custGeom>
          <a:ln w="19050">
            <a:solidFill>
              <a:srgbClr val="005C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0" name="object 10"/>
          <p:cNvSpPr/>
          <p:nvPr/>
        </p:nvSpPr>
        <p:spPr>
          <a:xfrm>
            <a:off x="9804400" y="1564132"/>
            <a:ext cx="1761489" cy="0"/>
          </a:xfrm>
          <a:custGeom>
            <a:avLst/>
            <a:gdLst/>
            <a:ahLst/>
            <a:cxnLst/>
            <a:rect l="l" t="t" r="r" b="b"/>
            <a:pathLst>
              <a:path w="1761490">
                <a:moveTo>
                  <a:pt x="0" y="0"/>
                </a:moveTo>
                <a:lnTo>
                  <a:pt x="1761490" y="0"/>
                </a:lnTo>
              </a:path>
            </a:pathLst>
          </a:custGeom>
          <a:ln w="19050">
            <a:solidFill>
              <a:srgbClr val="00A0D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1" name="object 11"/>
          <p:cNvSpPr txBox="1"/>
          <p:nvPr/>
        </p:nvSpPr>
        <p:spPr>
          <a:xfrm>
            <a:off x="7003542" y="2123694"/>
            <a:ext cx="2099310" cy="452755"/>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400" b="1" i="0" u="none" strike="noStrike" kern="0" cap="none" spc="0" normalizeH="0" baseline="0" noProof="0">
                <a:ln>
                  <a:noFill/>
                </a:ln>
                <a:solidFill>
                  <a:srgbClr val="005CB8"/>
                </a:solidFill>
                <a:effectLst/>
                <a:uLnTx/>
                <a:uFillTx/>
                <a:latin typeface="Arial"/>
                <a:cs typeface="Arial"/>
              </a:rPr>
              <a:t>Immunisation</a:t>
            </a:r>
            <a:r>
              <a:rPr kumimoji="0" sz="1400" b="1" i="0" u="none" strike="noStrike" kern="0" cap="none" spc="-75" normalizeH="0" baseline="0" noProof="0">
                <a:ln>
                  <a:noFill/>
                </a:ln>
                <a:solidFill>
                  <a:srgbClr val="005CB8"/>
                </a:solidFill>
                <a:effectLst/>
                <a:uLnTx/>
                <a:uFillTx/>
                <a:latin typeface="Arial"/>
                <a:cs typeface="Arial"/>
              </a:rPr>
              <a:t> </a:t>
            </a:r>
            <a:r>
              <a:rPr kumimoji="0" sz="1400" b="1" i="0" u="none" strike="noStrike" kern="0" cap="none" spc="-10" normalizeH="0" baseline="0" noProof="0">
                <a:ln>
                  <a:noFill/>
                </a:ln>
                <a:solidFill>
                  <a:srgbClr val="005CB8"/>
                </a:solidFill>
                <a:effectLst/>
                <a:uLnTx/>
                <a:uFillTx/>
                <a:latin typeface="Arial"/>
                <a:cs typeface="Arial"/>
              </a:rPr>
              <a:t>coverage</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5CB8"/>
                </a:solidFill>
                <a:effectLst/>
                <a:uLnTx/>
                <a:uFillTx/>
                <a:latin typeface="Arial"/>
                <a:cs typeface="Arial"/>
              </a:rPr>
              <a:t>is</a:t>
            </a:r>
            <a:r>
              <a:rPr kumimoji="0" sz="1400" b="0" i="0" u="none" strike="noStrike" kern="0" cap="none" spc="-20" normalizeH="0" baseline="0" noProof="0">
                <a:ln>
                  <a:noFill/>
                </a:ln>
                <a:solidFill>
                  <a:srgbClr val="005CB8"/>
                </a:solidFill>
                <a:effectLst/>
                <a:uLnTx/>
                <a:uFillTx/>
                <a:latin typeface="Arial"/>
                <a:cs typeface="Arial"/>
              </a:rPr>
              <a:t> </a:t>
            </a:r>
            <a:r>
              <a:rPr kumimoji="0" sz="1400" b="0" i="0" u="none" strike="noStrike" kern="0" cap="none" spc="0" normalizeH="0" baseline="0" noProof="0">
                <a:ln>
                  <a:noFill/>
                </a:ln>
                <a:solidFill>
                  <a:srgbClr val="005CB8"/>
                </a:solidFill>
                <a:effectLst/>
                <a:uLnTx/>
                <a:uFillTx/>
                <a:latin typeface="Arial"/>
                <a:cs typeface="Arial"/>
              </a:rPr>
              <a:t>maintained</a:t>
            </a:r>
            <a:r>
              <a:rPr kumimoji="0" sz="1400" b="0" i="0" u="none" strike="noStrike" kern="0" cap="none" spc="-50" normalizeH="0" baseline="0" noProof="0">
                <a:ln>
                  <a:noFill/>
                </a:ln>
                <a:solidFill>
                  <a:srgbClr val="005CB8"/>
                </a:solidFill>
                <a:effectLst/>
                <a:uLnTx/>
                <a:uFillTx/>
                <a:latin typeface="Arial"/>
                <a:cs typeface="Arial"/>
              </a:rPr>
              <a:t> </a:t>
            </a:r>
            <a:r>
              <a:rPr kumimoji="0" sz="1400" b="0" i="0" u="none" strike="noStrike" kern="0" cap="none" spc="0" normalizeH="0" baseline="0" noProof="0">
                <a:ln>
                  <a:noFill/>
                </a:ln>
                <a:solidFill>
                  <a:srgbClr val="005CB8"/>
                </a:solidFill>
                <a:effectLst/>
                <a:uLnTx/>
                <a:uFillTx/>
                <a:latin typeface="Arial"/>
                <a:cs typeface="Arial"/>
              </a:rPr>
              <a:t>or</a:t>
            </a:r>
            <a:r>
              <a:rPr kumimoji="0" sz="1400" b="0" i="0" u="none" strike="noStrike" kern="0" cap="none" spc="-30" normalizeH="0" baseline="0" noProof="0">
                <a:ln>
                  <a:noFill/>
                </a:ln>
                <a:solidFill>
                  <a:srgbClr val="005CB8"/>
                </a:solidFill>
                <a:effectLst/>
                <a:uLnTx/>
                <a:uFillTx/>
                <a:latin typeface="Arial"/>
                <a:cs typeface="Arial"/>
              </a:rPr>
              <a:t> </a:t>
            </a:r>
            <a:r>
              <a:rPr kumimoji="0" sz="1400" b="0" i="0" u="none" strike="noStrike" kern="0" cap="none" spc="-10" normalizeH="0" baseline="0" noProof="0">
                <a:ln>
                  <a:noFill/>
                </a:ln>
                <a:solidFill>
                  <a:srgbClr val="005CB8"/>
                </a:solidFill>
                <a:effectLst/>
                <a:uLnTx/>
                <a:uFillTx/>
                <a:latin typeface="Arial"/>
                <a:cs typeface="Arial"/>
              </a:rPr>
              <a:t>increased</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2" name="object 12"/>
          <p:cNvSpPr/>
          <p:nvPr/>
        </p:nvSpPr>
        <p:spPr>
          <a:xfrm>
            <a:off x="6601714" y="1937511"/>
            <a:ext cx="271780" cy="3763645"/>
          </a:xfrm>
          <a:custGeom>
            <a:avLst/>
            <a:gdLst/>
            <a:ahLst/>
            <a:cxnLst/>
            <a:rect l="l" t="t" r="r" b="b"/>
            <a:pathLst>
              <a:path w="271779" h="3763645">
                <a:moveTo>
                  <a:pt x="0" y="0"/>
                </a:moveTo>
                <a:lnTo>
                  <a:pt x="0" y="3763073"/>
                </a:lnTo>
                <a:lnTo>
                  <a:pt x="271779" y="1881505"/>
                </a:lnTo>
                <a:lnTo>
                  <a:pt x="0" y="0"/>
                </a:lnTo>
                <a:close/>
              </a:path>
            </a:pathLst>
          </a:custGeom>
          <a:solidFill>
            <a:srgbClr val="BDDE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3" name="object 13"/>
          <p:cNvSpPr/>
          <p:nvPr/>
        </p:nvSpPr>
        <p:spPr>
          <a:xfrm>
            <a:off x="9364598" y="1947036"/>
            <a:ext cx="272415" cy="3763645"/>
          </a:xfrm>
          <a:custGeom>
            <a:avLst/>
            <a:gdLst/>
            <a:ahLst/>
            <a:cxnLst/>
            <a:rect l="l" t="t" r="r" b="b"/>
            <a:pathLst>
              <a:path w="272415" h="3763645">
                <a:moveTo>
                  <a:pt x="0" y="0"/>
                </a:moveTo>
                <a:lnTo>
                  <a:pt x="0" y="3763035"/>
                </a:lnTo>
                <a:lnTo>
                  <a:pt x="271906" y="1881505"/>
                </a:lnTo>
                <a:lnTo>
                  <a:pt x="0" y="0"/>
                </a:lnTo>
                <a:close/>
              </a:path>
            </a:pathLst>
          </a:custGeom>
          <a:solidFill>
            <a:srgbClr val="BDDE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4" name="object 14"/>
          <p:cNvSpPr txBox="1"/>
          <p:nvPr/>
        </p:nvSpPr>
        <p:spPr>
          <a:xfrm>
            <a:off x="4401439" y="2833877"/>
            <a:ext cx="1720850" cy="666115"/>
          </a:xfrm>
          <a:prstGeom prst="rect">
            <a:avLst/>
          </a:prstGeom>
        </p:spPr>
        <p:txBody>
          <a:bodyPr vert="horz" wrap="square" lIns="0" tIns="13335" rIns="0" bIns="0" rtlCol="0">
            <a:spAutoFit/>
          </a:bodyPr>
          <a:lstStyle/>
          <a:p>
            <a:pPr marL="12700" marR="5080" lvl="0" indent="0" defTabSz="914400" eaLnBrk="1" fontAlgn="auto" latinLnBrk="0" hangingPunct="1">
              <a:lnSpc>
                <a:spcPct val="100000"/>
              </a:lnSpc>
              <a:spcBef>
                <a:spcPts val="105"/>
              </a:spcBef>
              <a:spcAft>
                <a:spcPts val="0"/>
              </a:spcAft>
              <a:buClrTx/>
              <a:buSzTx/>
              <a:buFontTx/>
              <a:buNone/>
              <a:tabLst/>
              <a:defRPr/>
            </a:pPr>
            <a:r>
              <a:rPr kumimoji="0" sz="1400" b="1" i="0" u="none" strike="noStrike" kern="0" cap="none" spc="0" normalizeH="0" baseline="0" noProof="0">
                <a:ln>
                  <a:noFill/>
                </a:ln>
                <a:solidFill>
                  <a:srgbClr val="3D9B6D"/>
                </a:solidFill>
                <a:effectLst/>
                <a:uLnTx/>
                <a:uFillTx/>
                <a:latin typeface="Arial"/>
                <a:cs typeface="Arial"/>
              </a:rPr>
              <a:t>2.</a:t>
            </a:r>
            <a:r>
              <a:rPr kumimoji="0" sz="1400" b="1" i="0" u="none" strike="noStrike" kern="0" cap="none" spc="-15" normalizeH="0" baseline="0" noProof="0">
                <a:ln>
                  <a:noFill/>
                </a:ln>
                <a:solidFill>
                  <a:srgbClr val="3D9B6D"/>
                </a:solidFill>
                <a:effectLst/>
                <a:uLnTx/>
                <a:uFillTx/>
                <a:latin typeface="Arial"/>
                <a:cs typeface="Arial"/>
              </a:rPr>
              <a:t> </a:t>
            </a:r>
            <a:r>
              <a:rPr kumimoji="0" sz="1400" b="1" i="0" u="none" strike="noStrike" kern="0" cap="none" spc="-10" normalizeH="0" baseline="0" noProof="0">
                <a:ln>
                  <a:noFill/>
                </a:ln>
                <a:solidFill>
                  <a:srgbClr val="3D9B6D"/>
                </a:solidFill>
                <a:effectLst/>
                <a:uLnTx/>
                <a:uFillTx/>
                <a:latin typeface="Arial"/>
                <a:cs typeface="Arial"/>
              </a:rPr>
              <a:t>Provide differentiated</a:t>
            </a:r>
            <a:r>
              <a:rPr kumimoji="0" sz="1400" b="1" i="0" u="none" strike="noStrike" kern="0" cap="none" spc="30" normalizeH="0" baseline="0" noProof="0">
                <a:ln>
                  <a:noFill/>
                </a:ln>
                <a:solidFill>
                  <a:srgbClr val="3D9B6D"/>
                </a:solidFill>
                <a:effectLst/>
                <a:uLnTx/>
                <a:uFillTx/>
                <a:latin typeface="Arial"/>
                <a:cs typeface="Arial"/>
              </a:rPr>
              <a:t> </a:t>
            </a:r>
            <a:r>
              <a:rPr kumimoji="0" sz="1400" b="1" i="0" u="none" strike="noStrike" kern="0" cap="none" spc="-10" normalizeH="0" baseline="0" noProof="0">
                <a:ln>
                  <a:noFill/>
                </a:ln>
                <a:solidFill>
                  <a:srgbClr val="3D9B6D"/>
                </a:solidFill>
                <a:effectLst/>
                <a:uLnTx/>
                <a:uFillTx/>
                <a:latin typeface="Arial"/>
                <a:cs typeface="Arial"/>
              </a:rPr>
              <a:t>health </a:t>
            </a:r>
            <a:r>
              <a:rPr kumimoji="0" sz="1400" b="1" i="0" u="none" strike="noStrike" kern="0" cap="none" spc="0" normalizeH="0" baseline="0" noProof="0">
                <a:ln>
                  <a:noFill/>
                </a:ln>
                <a:solidFill>
                  <a:srgbClr val="3D9B6D"/>
                </a:solidFill>
                <a:effectLst/>
                <a:uLnTx/>
                <a:uFillTx/>
                <a:latin typeface="Arial"/>
                <a:cs typeface="Arial"/>
              </a:rPr>
              <a:t>system</a:t>
            </a:r>
            <a:r>
              <a:rPr kumimoji="0" sz="1400" b="1" i="0" u="none" strike="noStrike" kern="0" cap="none" spc="-55" normalizeH="0" baseline="0" noProof="0">
                <a:ln>
                  <a:noFill/>
                </a:ln>
                <a:solidFill>
                  <a:srgbClr val="3D9B6D"/>
                </a:solidFill>
                <a:effectLst/>
                <a:uLnTx/>
                <a:uFillTx/>
                <a:latin typeface="Arial"/>
                <a:cs typeface="Arial"/>
              </a:rPr>
              <a:t> </a:t>
            </a:r>
            <a:r>
              <a:rPr kumimoji="0" sz="1400" b="1" i="0" u="none" strike="noStrike" kern="0" cap="none" spc="-10" normalizeH="0" baseline="0" noProof="0">
                <a:ln>
                  <a:noFill/>
                </a:ln>
                <a:solidFill>
                  <a:srgbClr val="3D9B6D"/>
                </a:solidFill>
                <a:effectLst/>
                <a:uLnTx/>
                <a:uFillTx/>
                <a:latin typeface="Arial"/>
                <a:cs typeface="Arial"/>
              </a:rPr>
              <a:t>support</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5" name="object 15"/>
          <p:cNvSpPr txBox="1"/>
          <p:nvPr/>
        </p:nvSpPr>
        <p:spPr>
          <a:xfrm>
            <a:off x="4401439" y="1966976"/>
            <a:ext cx="1800860" cy="452755"/>
          </a:xfrm>
          <a:prstGeom prst="rect">
            <a:avLst/>
          </a:prstGeom>
        </p:spPr>
        <p:txBody>
          <a:bodyPr vert="horz" wrap="square" lIns="0" tIns="13335" rIns="0" bIns="0" rtlCol="0">
            <a:spAutoFit/>
          </a:bodyPr>
          <a:lstStyle/>
          <a:p>
            <a:pPr marL="12700" marR="5080" lvl="0" indent="0" defTabSz="914400" eaLnBrk="1" fontAlgn="auto" latinLnBrk="0" hangingPunct="1">
              <a:lnSpc>
                <a:spcPct val="100000"/>
              </a:lnSpc>
              <a:spcBef>
                <a:spcPts val="105"/>
              </a:spcBef>
              <a:spcAft>
                <a:spcPts val="0"/>
              </a:spcAft>
              <a:buClrTx/>
              <a:buSzTx/>
              <a:buFontTx/>
              <a:buNone/>
              <a:tabLst/>
              <a:defRPr/>
            </a:pPr>
            <a:r>
              <a:rPr kumimoji="0" sz="1400" b="1" i="0" u="none" strike="noStrike" kern="0" cap="none" spc="0" normalizeH="0" baseline="0" noProof="0">
                <a:ln>
                  <a:noFill/>
                </a:ln>
                <a:solidFill>
                  <a:srgbClr val="3D9B6D"/>
                </a:solidFill>
                <a:effectLst/>
                <a:uLnTx/>
                <a:uFillTx/>
                <a:latin typeface="Arial"/>
                <a:cs typeface="Arial"/>
              </a:rPr>
              <a:t>1.</a:t>
            </a:r>
            <a:r>
              <a:rPr kumimoji="0" sz="1400" b="1" i="0" u="none" strike="noStrike" kern="0" cap="none" spc="-30" normalizeH="0" baseline="0" noProof="0">
                <a:ln>
                  <a:noFill/>
                </a:ln>
                <a:solidFill>
                  <a:srgbClr val="3D9B6D"/>
                </a:solidFill>
                <a:effectLst/>
                <a:uLnTx/>
                <a:uFillTx/>
                <a:latin typeface="Arial"/>
                <a:cs typeface="Arial"/>
              </a:rPr>
              <a:t> </a:t>
            </a:r>
            <a:r>
              <a:rPr kumimoji="0" sz="1400" b="1" i="0" u="none" strike="noStrike" kern="0" cap="none" spc="0" normalizeH="0" baseline="0" noProof="0">
                <a:ln>
                  <a:noFill/>
                </a:ln>
                <a:solidFill>
                  <a:srgbClr val="3D9B6D"/>
                </a:solidFill>
                <a:effectLst/>
                <a:uLnTx/>
                <a:uFillTx/>
                <a:latin typeface="Arial"/>
                <a:cs typeface="Arial"/>
              </a:rPr>
              <a:t>Focus</a:t>
            </a:r>
            <a:r>
              <a:rPr kumimoji="0" sz="1400" b="1" i="0" u="none" strike="noStrike" kern="0" cap="none" spc="-35" normalizeH="0" baseline="0" noProof="0">
                <a:ln>
                  <a:noFill/>
                </a:ln>
                <a:solidFill>
                  <a:srgbClr val="3D9B6D"/>
                </a:solidFill>
                <a:effectLst/>
                <a:uLnTx/>
                <a:uFillTx/>
                <a:latin typeface="Arial"/>
                <a:cs typeface="Arial"/>
              </a:rPr>
              <a:t> </a:t>
            </a:r>
            <a:r>
              <a:rPr kumimoji="0" sz="1400" b="1" i="0" u="none" strike="noStrike" kern="0" cap="none" spc="0" normalizeH="0" baseline="0" noProof="0">
                <a:ln>
                  <a:noFill/>
                </a:ln>
                <a:solidFill>
                  <a:srgbClr val="3D9B6D"/>
                </a:solidFill>
                <a:effectLst/>
                <a:uLnTx/>
                <a:uFillTx/>
                <a:latin typeface="Arial"/>
                <a:cs typeface="Arial"/>
              </a:rPr>
              <a:t>on</a:t>
            </a:r>
            <a:r>
              <a:rPr kumimoji="0" sz="1400" b="1" i="0" u="none" strike="noStrike" kern="0" cap="none" spc="-20" normalizeH="0" baseline="0" noProof="0">
                <a:ln>
                  <a:noFill/>
                </a:ln>
                <a:solidFill>
                  <a:srgbClr val="3D9B6D"/>
                </a:solidFill>
                <a:effectLst/>
                <a:uLnTx/>
                <a:uFillTx/>
                <a:latin typeface="Arial"/>
                <a:cs typeface="Arial"/>
              </a:rPr>
              <a:t> </a:t>
            </a:r>
            <a:r>
              <a:rPr kumimoji="0" sz="1400" b="1" i="0" u="none" strike="noStrike" kern="0" cap="none" spc="-10" normalizeH="0" baseline="0" noProof="0">
                <a:ln>
                  <a:noFill/>
                </a:ln>
                <a:solidFill>
                  <a:srgbClr val="3D9B6D"/>
                </a:solidFill>
                <a:effectLst/>
                <a:uLnTx/>
                <a:uFillTx/>
                <a:latin typeface="Arial"/>
                <a:cs typeface="Arial"/>
              </a:rPr>
              <a:t>context- appropriate</a:t>
            </a:r>
            <a:r>
              <a:rPr kumimoji="0" sz="1400" b="1" i="0" u="none" strike="noStrike" kern="0" cap="none" spc="0" normalizeH="0" baseline="0" noProof="0">
                <a:ln>
                  <a:noFill/>
                </a:ln>
                <a:solidFill>
                  <a:srgbClr val="3D9B6D"/>
                </a:solidFill>
                <a:effectLst/>
                <a:uLnTx/>
                <a:uFillTx/>
                <a:latin typeface="Arial"/>
                <a:cs typeface="Arial"/>
              </a:rPr>
              <a:t> </a:t>
            </a:r>
            <a:r>
              <a:rPr kumimoji="0" sz="1400" b="1" i="0" u="none" strike="noStrike" kern="0" cap="none" spc="-10" normalizeH="0" baseline="0" noProof="0">
                <a:ln>
                  <a:noFill/>
                </a:ln>
                <a:solidFill>
                  <a:srgbClr val="3D9B6D"/>
                </a:solidFill>
                <a:effectLst/>
                <a:uLnTx/>
                <a:uFillTx/>
                <a:latin typeface="Arial"/>
                <a:cs typeface="Arial"/>
              </a:rPr>
              <a:t>vaccines</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6" name="object 16"/>
          <p:cNvSpPr txBox="1"/>
          <p:nvPr/>
        </p:nvSpPr>
        <p:spPr>
          <a:xfrm>
            <a:off x="7003542" y="2870962"/>
            <a:ext cx="1969135" cy="666115"/>
          </a:xfrm>
          <a:prstGeom prst="rect">
            <a:avLst/>
          </a:prstGeom>
        </p:spPr>
        <p:txBody>
          <a:bodyPr vert="horz" wrap="square" lIns="0" tIns="13335" rIns="0" bIns="0" rtlCol="0">
            <a:spAutoFit/>
          </a:bodyPr>
          <a:lstStyle/>
          <a:p>
            <a:pPr marL="12700" marR="5080" lvl="0" indent="0" defTabSz="914400" eaLnBrk="1" fontAlgn="auto" latinLnBrk="0" hangingPunct="1">
              <a:lnSpc>
                <a:spcPct val="100000"/>
              </a:lnSpc>
              <a:spcBef>
                <a:spcPts val="105"/>
              </a:spcBef>
              <a:spcAft>
                <a:spcPts val="0"/>
              </a:spcAft>
              <a:buClrTx/>
              <a:buSzTx/>
              <a:buFontTx/>
              <a:buNone/>
              <a:tabLst/>
              <a:defRPr/>
            </a:pPr>
            <a:r>
              <a:rPr kumimoji="0" sz="1400" b="1" i="0" u="none" strike="noStrike" kern="0" cap="none" spc="0" normalizeH="0" baseline="0" noProof="0">
                <a:ln>
                  <a:noFill/>
                </a:ln>
                <a:solidFill>
                  <a:srgbClr val="005CB8"/>
                </a:solidFill>
                <a:effectLst/>
                <a:uLnTx/>
                <a:uFillTx/>
                <a:latin typeface="Arial"/>
                <a:cs typeface="Arial"/>
              </a:rPr>
              <a:t>Missed</a:t>
            </a:r>
            <a:r>
              <a:rPr kumimoji="0" sz="1400" b="1" i="0" u="none" strike="noStrike" kern="0" cap="none" spc="-55" normalizeH="0" baseline="0" noProof="0">
                <a:ln>
                  <a:noFill/>
                </a:ln>
                <a:solidFill>
                  <a:srgbClr val="005CB8"/>
                </a:solidFill>
                <a:effectLst/>
                <a:uLnTx/>
                <a:uFillTx/>
                <a:latin typeface="Arial"/>
                <a:cs typeface="Arial"/>
              </a:rPr>
              <a:t> </a:t>
            </a:r>
            <a:r>
              <a:rPr kumimoji="0" sz="1400" b="1" i="0" u="none" strike="noStrike" kern="0" cap="none" spc="-10" normalizeH="0" baseline="0" noProof="0">
                <a:ln>
                  <a:noFill/>
                </a:ln>
                <a:solidFill>
                  <a:srgbClr val="005CB8"/>
                </a:solidFill>
                <a:effectLst/>
                <a:uLnTx/>
                <a:uFillTx/>
                <a:latin typeface="Arial"/>
                <a:cs typeface="Arial"/>
              </a:rPr>
              <a:t>communities </a:t>
            </a:r>
            <a:r>
              <a:rPr kumimoji="0" sz="1400" b="1" i="0" u="none" strike="noStrike" kern="0" cap="none" spc="0" normalizeH="0" baseline="0" noProof="0">
                <a:ln>
                  <a:noFill/>
                </a:ln>
                <a:solidFill>
                  <a:srgbClr val="005CB8"/>
                </a:solidFill>
                <a:effectLst/>
                <a:uLnTx/>
                <a:uFillTx/>
                <a:latin typeface="Arial"/>
                <a:cs typeface="Arial"/>
              </a:rPr>
              <a:t>and</a:t>
            </a:r>
            <a:r>
              <a:rPr kumimoji="0" sz="1400" b="1" i="0" u="none" strike="noStrike" kern="0" cap="none" spc="-5" normalizeH="0" baseline="0" noProof="0">
                <a:ln>
                  <a:noFill/>
                </a:ln>
                <a:solidFill>
                  <a:srgbClr val="005CB8"/>
                </a:solidFill>
                <a:effectLst/>
                <a:uLnTx/>
                <a:uFillTx/>
                <a:latin typeface="Arial"/>
                <a:cs typeface="Arial"/>
              </a:rPr>
              <a:t> </a:t>
            </a:r>
            <a:r>
              <a:rPr kumimoji="0" sz="1400" b="1" i="0" u="none" strike="noStrike" kern="0" cap="none" spc="-10" normalizeH="0" baseline="0" noProof="0">
                <a:ln>
                  <a:noFill/>
                </a:ln>
                <a:solidFill>
                  <a:srgbClr val="005CB8"/>
                </a:solidFill>
                <a:effectLst/>
                <a:uLnTx/>
                <a:uFillTx/>
                <a:latin typeface="Arial"/>
                <a:cs typeface="Arial"/>
              </a:rPr>
              <a:t>zero-</a:t>
            </a:r>
            <a:r>
              <a:rPr kumimoji="0" sz="1400" b="1" i="0" u="none" strike="noStrike" kern="0" cap="none" spc="0" normalizeH="0" baseline="0" noProof="0">
                <a:ln>
                  <a:noFill/>
                </a:ln>
                <a:solidFill>
                  <a:srgbClr val="005CB8"/>
                </a:solidFill>
                <a:effectLst/>
                <a:uLnTx/>
                <a:uFillTx/>
                <a:latin typeface="Arial"/>
                <a:cs typeface="Arial"/>
              </a:rPr>
              <a:t>dose</a:t>
            </a:r>
            <a:r>
              <a:rPr kumimoji="0" sz="1400" b="1" i="0" u="none" strike="noStrike" kern="0" cap="none" spc="-45" normalizeH="0" baseline="0" noProof="0">
                <a:ln>
                  <a:noFill/>
                </a:ln>
                <a:solidFill>
                  <a:srgbClr val="005CB8"/>
                </a:solidFill>
                <a:effectLst/>
                <a:uLnTx/>
                <a:uFillTx/>
                <a:latin typeface="Arial"/>
                <a:cs typeface="Arial"/>
              </a:rPr>
              <a:t> </a:t>
            </a:r>
            <a:r>
              <a:rPr kumimoji="0" sz="1400" b="1" i="0" u="none" strike="noStrike" kern="0" cap="none" spc="-10" normalizeH="0" baseline="0" noProof="0">
                <a:ln>
                  <a:noFill/>
                </a:ln>
                <a:solidFill>
                  <a:srgbClr val="005CB8"/>
                </a:solidFill>
                <a:effectLst/>
                <a:uLnTx/>
                <a:uFillTx/>
                <a:latin typeface="Arial"/>
                <a:cs typeface="Arial"/>
              </a:rPr>
              <a:t>children </a:t>
            </a:r>
            <a:r>
              <a:rPr kumimoji="0" sz="1400" b="0" i="0" u="none" strike="noStrike" kern="0" cap="none" spc="-10" normalizeH="0" baseline="0" noProof="0">
                <a:ln>
                  <a:noFill/>
                </a:ln>
                <a:solidFill>
                  <a:srgbClr val="005CB8"/>
                </a:solidFill>
                <a:effectLst/>
                <a:uLnTx/>
                <a:uFillTx/>
                <a:latin typeface="Arial"/>
                <a:cs typeface="Arial"/>
              </a:rPr>
              <a:t>reached</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7" name="object 17"/>
          <p:cNvSpPr txBox="1"/>
          <p:nvPr/>
        </p:nvSpPr>
        <p:spPr>
          <a:xfrm>
            <a:off x="7003542" y="3833876"/>
            <a:ext cx="2197100" cy="666115"/>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400" b="0" i="0" u="none" strike="noStrike" kern="0" cap="none" spc="0" normalizeH="0" baseline="0" noProof="0">
                <a:ln>
                  <a:noFill/>
                </a:ln>
                <a:solidFill>
                  <a:srgbClr val="005CB8"/>
                </a:solidFill>
                <a:effectLst/>
                <a:uLnTx/>
                <a:uFillTx/>
                <a:latin typeface="Arial"/>
                <a:cs typeface="Arial"/>
              </a:rPr>
              <a:t>Immunisation</a:t>
            </a:r>
            <a:r>
              <a:rPr kumimoji="0" sz="1400" b="0" i="0" u="none" strike="noStrike" kern="0" cap="none" spc="-65" normalizeH="0" baseline="0" noProof="0">
                <a:ln>
                  <a:noFill/>
                </a:ln>
                <a:solidFill>
                  <a:srgbClr val="005CB8"/>
                </a:solidFill>
                <a:effectLst/>
                <a:uLnTx/>
                <a:uFillTx/>
                <a:latin typeface="Arial"/>
                <a:cs typeface="Arial"/>
              </a:rPr>
              <a:t> </a:t>
            </a:r>
            <a:r>
              <a:rPr kumimoji="0" sz="1400" b="0" i="0" u="none" strike="noStrike" kern="0" cap="none" spc="0" normalizeH="0" baseline="0" noProof="0">
                <a:ln>
                  <a:noFill/>
                </a:ln>
                <a:solidFill>
                  <a:srgbClr val="005CB8"/>
                </a:solidFill>
                <a:effectLst/>
                <a:uLnTx/>
                <a:uFillTx/>
                <a:latin typeface="Arial"/>
                <a:cs typeface="Arial"/>
              </a:rPr>
              <a:t>is</a:t>
            </a:r>
            <a:r>
              <a:rPr kumimoji="0" sz="1400" b="0" i="0" u="none" strike="noStrike" kern="0" cap="none" spc="-20" normalizeH="0" baseline="0" noProof="0">
                <a:ln>
                  <a:noFill/>
                </a:ln>
                <a:solidFill>
                  <a:srgbClr val="005CB8"/>
                </a:solidFill>
                <a:effectLst/>
                <a:uLnTx/>
                <a:uFillTx/>
                <a:latin typeface="Arial"/>
                <a:cs typeface="Arial"/>
              </a:rPr>
              <a:t> </a:t>
            </a:r>
            <a:r>
              <a:rPr kumimoji="0" sz="1400" b="1" i="0" u="none" strike="noStrike" kern="0" cap="none" spc="-10" normalizeH="0" baseline="0" noProof="0">
                <a:ln>
                  <a:noFill/>
                </a:ln>
                <a:solidFill>
                  <a:srgbClr val="005CB8"/>
                </a:solidFill>
                <a:effectLst/>
                <a:uLnTx/>
                <a:uFillTx/>
                <a:latin typeface="Arial"/>
                <a:cs typeface="Arial"/>
              </a:rPr>
              <a:t>embedded </a:t>
            </a:r>
            <a:r>
              <a:rPr kumimoji="0" sz="1400" b="1" i="0" u="none" strike="noStrike" kern="0" cap="none" spc="0" normalizeH="0" baseline="0" noProof="0">
                <a:ln>
                  <a:noFill/>
                </a:ln>
                <a:solidFill>
                  <a:srgbClr val="005CB8"/>
                </a:solidFill>
                <a:effectLst/>
                <a:uLnTx/>
                <a:uFillTx/>
                <a:latin typeface="Arial"/>
                <a:cs typeface="Arial"/>
              </a:rPr>
              <a:t>in</a:t>
            </a:r>
            <a:r>
              <a:rPr kumimoji="0" sz="1400" b="1" i="0" u="none" strike="noStrike" kern="0" cap="none" spc="-35" normalizeH="0" baseline="0" noProof="0">
                <a:ln>
                  <a:noFill/>
                </a:ln>
                <a:solidFill>
                  <a:srgbClr val="005CB8"/>
                </a:solidFill>
                <a:effectLst/>
                <a:uLnTx/>
                <a:uFillTx/>
                <a:latin typeface="Arial"/>
                <a:cs typeface="Arial"/>
              </a:rPr>
              <a:t> </a:t>
            </a:r>
            <a:r>
              <a:rPr kumimoji="0" sz="1400" b="1" i="0" u="none" strike="noStrike" kern="0" cap="none" spc="-10" normalizeH="0" baseline="0" noProof="0">
                <a:ln>
                  <a:noFill/>
                </a:ln>
                <a:solidFill>
                  <a:srgbClr val="005CB8"/>
                </a:solidFill>
                <a:effectLst/>
                <a:uLnTx/>
                <a:uFillTx/>
                <a:latin typeface="Arial"/>
                <a:cs typeface="Arial"/>
              </a:rPr>
              <a:t>humanitarian programming</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8" name="object 18"/>
          <p:cNvSpPr txBox="1"/>
          <p:nvPr/>
        </p:nvSpPr>
        <p:spPr>
          <a:xfrm>
            <a:off x="7003542" y="4861686"/>
            <a:ext cx="1804035" cy="666115"/>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10" normalizeH="0" baseline="0" noProof="0">
                <a:ln>
                  <a:noFill/>
                </a:ln>
                <a:solidFill>
                  <a:srgbClr val="005CB8"/>
                </a:solidFill>
                <a:effectLst/>
                <a:uLnTx/>
                <a:uFillTx/>
                <a:latin typeface="Arial"/>
                <a:cs typeface="Arial"/>
              </a:rPr>
              <a:t>Continuity</a:t>
            </a:r>
            <a:r>
              <a:rPr kumimoji="0" sz="1400" b="1" i="0" u="none" strike="noStrike" kern="0" cap="none" spc="0" normalizeH="0" baseline="0" noProof="0">
                <a:ln>
                  <a:noFill/>
                </a:ln>
                <a:solidFill>
                  <a:srgbClr val="005CB8"/>
                </a:solidFill>
                <a:effectLst/>
                <a:uLnTx/>
                <a:uFillTx/>
                <a:latin typeface="Arial"/>
                <a:cs typeface="Arial"/>
              </a:rPr>
              <a:t> </a:t>
            </a:r>
            <a:r>
              <a:rPr kumimoji="0" sz="1400" b="1" i="0" u="none" strike="noStrike" kern="0" cap="none" spc="-25" normalizeH="0" baseline="0" noProof="0">
                <a:ln>
                  <a:noFill/>
                </a:ln>
                <a:solidFill>
                  <a:srgbClr val="005CB8"/>
                </a:solidFill>
                <a:effectLst/>
                <a:uLnTx/>
                <a:uFillTx/>
                <a:latin typeface="Arial"/>
                <a:cs typeface="Arial"/>
              </a:rPr>
              <a:t>of </a:t>
            </a:r>
            <a:r>
              <a:rPr kumimoji="0" sz="1400" b="1" i="0" u="none" strike="noStrike" kern="0" cap="none" spc="0" normalizeH="0" baseline="0" noProof="0">
                <a:ln>
                  <a:noFill/>
                </a:ln>
                <a:solidFill>
                  <a:srgbClr val="005CB8"/>
                </a:solidFill>
                <a:effectLst/>
                <a:uLnTx/>
                <a:uFillTx/>
                <a:latin typeface="Arial"/>
                <a:cs typeface="Arial"/>
              </a:rPr>
              <a:t>immunisation</a:t>
            </a:r>
            <a:r>
              <a:rPr kumimoji="0" sz="1400" b="1" i="0" u="none" strike="noStrike" kern="0" cap="none" spc="-75" normalizeH="0" baseline="0" noProof="0">
                <a:ln>
                  <a:noFill/>
                </a:ln>
                <a:solidFill>
                  <a:srgbClr val="005CB8"/>
                </a:solidFill>
                <a:effectLst/>
                <a:uLnTx/>
                <a:uFillTx/>
                <a:latin typeface="Arial"/>
                <a:cs typeface="Arial"/>
              </a:rPr>
              <a:t> </a:t>
            </a:r>
            <a:r>
              <a:rPr kumimoji="0" sz="1400" b="0" i="0" u="none" strike="noStrike" kern="0" cap="none" spc="-10" normalizeH="0" baseline="0" noProof="0">
                <a:ln>
                  <a:noFill/>
                </a:ln>
                <a:solidFill>
                  <a:srgbClr val="005CB8"/>
                </a:solidFill>
                <a:effectLst/>
                <a:uLnTx/>
                <a:uFillTx/>
                <a:latin typeface="Arial"/>
                <a:cs typeface="Arial"/>
              </a:rPr>
              <a:t>despite shocks</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grpSp>
        <p:nvGrpSpPr>
          <p:cNvPr id="19" name="object 19"/>
          <p:cNvGrpSpPr/>
          <p:nvPr/>
        </p:nvGrpSpPr>
        <p:grpSpPr>
          <a:xfrm>
            <a:off x="9798050" y="3263646"/>
            <a:ext cx="1774189" cy="899160"/>
            <a:chOff x="9798050" y="3263646"/>
            <a:chExt cx="1774189" cy="899160"/>
          </a:xfrm>
        </p:grpSpPr>
        <p:sp>
          <p:nvSpPr>
            <p:cNvPr id="20" name="object 20"/>
            <p:cNvSpPr/>
            <p:nvPr/>
          </p:nvSpPr>
          <p:spPr>
            <a:xfrm>
              <a:off x="9804400" y="3269996"/>
              <a:ext cx="1761489" cy="886460"/>
            </a:xfrm>
            <a:custGeom>
              <a:avLst/>
              <a:gdLst/>
              <a:ahLst/>
              <a:cxnLst/>
              <a:rect l="l" t="t" r="r" b="b"/>
              <a:pathLst>
                <a:path w="1761490" h="886460">
                  <a:moveTo>
                    <a:pt x="1613916" y="0"/>
                  </a:moveTo>
                  <a:lnTo>
                    <a:pt x="147700" y="0"/>
                  </a:lnTo>
                  <a:lnTo>
                    <a:pt x="101031" y="7521"/>
                  </a:lnTo>
                  <a:lnTo>
                    <a:pt x="60487" y="28472"/>
                  </a:lnTo>
                  <a:lnTo>
                    <a:pt x="28508" y="60432"/>
                  </a:lnTo>
                  <a:lnTo>
                    <a:pt x="7533" y="100982"/>
                  </a:lnTo>
                  <a:lnTo>
                    <a:pt x="0" y="147700"/>
                  </a:lnTo>
                  <a:lnTo>
                    <a:pt x="0" y="738377"/>
                  </a:lnTo>
                  <a:lnTo>
                    <a:pt x="7533" y="785047"/>
                  </a:lnTo>
                  <a:lnTo>
                    <a:pt x="28508" y="825591"/>
                  </a:lnTo>
                  <a:lnTo>
                    <a:pt x="60487" y="857570"/>
                  </a:lnTo>
                  <a:lnTo>
                    <a:pt x="101031" y="878545"/>
                  </a:lnTo>
                  <a:lnTo>
                    <a:pt x="147700" y="886078"/>
                  </a:lnTo>
                  <a:lnTo>
                    <a:pt x="1613916" y="886078"/>
                  </a:lnTo>
                  <a:lnTo>
                    <a:pt x="1660572" y="878545"/>
                  </a:lnTo>
                  <a:lnTo>
                    <a:pt x="1701084" y="857570"/>
                  </a:lnTo>
                  <a:lnTo>
                    <a:pt x="1733025" y="825591"/>
                  </a:lnTo>
                  <a:lnTo>
                    <a:pt x="1753969" y="785047"/>
                  </a:lnTo>
                  <a:lnTo>
                    <a:pt x="1761490" y="738377"/>
                  </a:lnTo>
                  <a:lnTo>
                    <a:pt x="1761490" y="147700"/>
                  </a:lnTo>
                  <a:lnTo>
                    <a:pt x="1753969" y="100982"/>
                  </a:lnTo>
                  <a:lnTo>
                    <a:pt x="1733025" y="60432"/>
                  </a:lnTo>
                  <a:lnTo>
                    <a:pt x="1701084" y="28472"/>
                  </a:lnTo>
                  <a:lnTo>
                    <a:pt x="1660572" y="7521"/>
                  </a:lnTo>
                  <a:lnTo>
                    <a:pt x="1613916" y="0"/>
                  </a:lnTo>
                  <a:close/>
                </a:path>
              </a:pathLst>
            </a:custGeom>
            <a:solidFill>
              <a:srgbClr val="FDEBF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1" name="object 21"/>
            <p:cNvSpPr/>
            <p:nvPr/>
          </p:nvSpPr>
          <p:spPr>
            <a:xfrm>
              <a:off x="9804400" y="3269996"/>
              <a:ext cx="1761489" cy="886460"/>
            </a:xfrm>
            <a:custGeom>
              <a:avLst/>
              <a:gdLst/>
              <a:ahLst/>
              <a:cxnLst/>
              <a:rect l="l" t="t" r="r" b="b"/>
              <a:pathLst>
                <a:path w="1761490" h="886460">
                  <a:moveTo>
                    <a:pt x="0" y="147700"/>
                  </a:moveTo>
                  <a:lnTo>
                    <a:pt x="7533" y="100982"/>
                  </a:lnTo>
                  <a:lnTo>
                    <a:pt x="28508" y="60432"/>
                  </a:lnTo>
                  <a:lnTo>
                    <a:pt x="60487" y="28472"/>
                  </a:lnTo>
                  <a:lnTo>
                    <a:pt x="101031" y="7521"/>
                  </a:lnTo>
                  <a:lnTo>
                    <a:pt x="147700" y="0"/>
                  </a:lnTo>
                  <a:lnTo>
                    <a:pt x="1613916" y="0"/>
                  </a:lnTo>
                  <a:lnTo>
                    <a:pt x="1660572" y="7521"/>
                  </a:lnTo>
                  <a:lnTo>
                    <a:pt x="1701084" y="28472"/>
                  </a:lnTo>
                  <a:lnTo>
                    <a:pt x="1733025" y="60432"/>
                  </a:lnTo>
                  <a:lnTo>
                    <a:pt x="1753969" y="100982"/>
                  </a:lnTo>
                  <a:lnTo>
                    <a:pt x="1761490" y="147700"/>
                  </a:lnTo>
                  <a:lnTo>
                    <a:pt x="1761490" y="738377"/>
                  </a:lnTo>
                  <a:lnTo>
                    <a:pt x="1753969" y="785047"/>
                  </a:lnTo>
                  <a:lnTo>
                    <a:pt x="1733025" y="825591"/>
                  </a:lnTo>
                  <a:lnTo>
                    <a:pt x="1701084" y="857570"/>
                  </a:lnTo>
                  <a:lnTo>
                    <a:pt x="1660572" y="878545"/>
                  </a:lnTo>
                  <a:lnTo>
                    <a:pt x="1613916" y="886078"/>
                  </a:lnTo>
                  <a:lnTo>
                    <a:pt x="147700" y="886078"/>
                  </a:lnTo>
                  <a:lnTo>
                    <a:pt x="101031" y="878545"/>
                  </a:lnTo>
                  <a:lnTo>
                    <a:pt x="60487" y="857570"/>
                  </a:lnTo>
                  <a:lnTo>
                    <a:pt x="28508" y="825591"/>
                  </a:lnTo>
                  <a:lnTo>
                    <a:pt x="7533" y="785047"/>
                  </a:lnTo>
                  <a:lnTo>
                    <a:pt x="0" y="738377"/>
                  </a:lnTo>
                  <a:lnTo>
                    <a:pt x="0" y="147700"/>
                  </a:lnTo>
                  <a:close/>
                </a:path>
              </a:pathLst>
            </a:custGeom>
            <a:ln w="12700">
              <a:solidFill>
                <a:srgbClr val="EC0C6D"/>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2" name="object 22"/>
          <p:cNvSpPr txBox="1"/>
          <p:nvPr/>
        </p:nvSpPr>
        <p:spPr>
          <a:xfrm>
            <a:off x="9924668" y="3268217"/>
            <a:ext cx="1522730" cy="879475"/>
          </a:xfrm>
          <a:prstGeom prst="rect">
            <a:avLst/>
          </a:prstGeom>
        </p:spPr>
        <p:txBody>
          <a:bodyPr vert="horz" wrap="square" lIns="0" tIns="13335" rIns="0" bIns="0" rtlCol="0">
            <a:spAutoFit/>
          </a:bodyPr>
          <a:lstStyle/>
          <a:p>
            <a:pPr marL="12700" marR="5080" lvl="0" indent="0" algn="ctr" defTabSz="914400" eaLnBrk="1" fontAlgn="auto" latinLnBrk="0" hangingPunct="1">
              <a:lnSpc>
                <a:spcPct val="100000"/>
              </a:lnSpc>
              <a:spcBef>
                <a:spcPts val="105"/>
              </a:spcBef>
              <a:spcAft>
                <a:spcPts val="0"/>
              </a:spcAft>
              <a:buClrTx/>
              <a:buSzTx/>
              <a:buFontTx/>
              <a:buNone/>
              <a:tabLst/>
              <a:defRPr/>
            </a:pPr>
            <a:r>
              <a:rPr kumimoji="0" sz="1400" b="1" i="0" u="none" strike="noStrike" kern="0" cap="none" spc="0" normalizeH="0" baseline="0" noProof="0">
                <a:ln>
                  <a:noFill/>
                </a:ln>
                <a:solidFill>
                  <a:srgbClr val="EC0C6D"/>
                </a:solidFill>
                <a:effectLst/>
                <a:uLnTx/>
                <a:uFillTx/>
                <a:latin typeface="Arial"/>
                <a:cs typeface="Arial"/>
              </a:rPr>
              <a:t>SG2:</a:t>
            </a:r>
            <a:r>
              <a:rPr kumimoji="0" sz="1400" b="1" i="0" u="none" strike="noStrike" kern="0" cap="none" spc="-20" normalizeH="0" baseline="0" noProof="0">
                <a:ln>
                  <a:noFill/>
                </a:ln>
                <a:solidFill>
                  <a:srgbClr val="EC0C6D"/>
                </a:solidFill>
                <a:effectLst/>
                <a:uLnTx/>
                <a:uFillTx/>
                <a:latin typeface="Arial"/>
                <a:cs typeface="Arial"/>
              </a:rPr>
              <a:t> </a:t>
            </a:r>
            <a:r>
              <a:rPr kumimoji="0" sz="1400" b="1" i="0" u="none" strike="noStrike" kern="0" cap="none" spc="-10" normalizeH="0" baseline="0" noProof="0">
                <a:ln>
                  <a:noFill/>
                </a:ln>
                <a:solidFill>
                  <a:srgbClr val="EC0C6D"/>
                </a:solidFill>
                <a:effectLst/>
                <a:uLnTx/>
                <a:uFillTx/>
                <a:latin typeface="Arial"/>
                <a:cs typeface="Arial"/>
              </a:rPr>
              <a:t>Strengthen </a:t>
            </a:r>
            <a:r>
              <a:rPr kumimoji="0" sz="1400" b="1" i="0" u="none" strike="noStrike" kern="0" cap="none" spc="0" normalizeH="0" baseline="0" noProof="0">
                <a:ln>
                  <a:noFill/>
                </a:ln>
                <a:solidFill>
                  <a:srgbClr val="EC0C6D"/>
                </a:solidFill>
                <a:effectLst/>
                <a:uLnTx/>
                <a:uFillTx/>
                <a:latin typeface="Arial"/>
                <a:cs typeface="Arial"/>
              </a:rPr>
              <a:t>health</a:t>
            </a:r>
            <a:r>
              <a:rPr kumimoji="0" sz="1400" b="1" i="0" u="none" strike="noStrike" kern="0" cap="none" spc="-75" normalizeH="0" baseline="0" noProof="0">
                <a:ln>
                  <a:noFill/>
                </a:ln>
                <a:solidFill>
                  <a:srgbClr val="EC0C6D"/>
                </a:solidFill>
                <a:effectLst/>
                <a:uLnTx/>
                <a:uFillTx/>
                <a:latin typeface="Arial"/>
                <a:cs typeface="Arial"/>
              </a:rPr>
              <a:t> </a:t>
            </a:r>
            <a:r>
              <a:rPr kumimoji="0" sz="1400" b="1" i="0" u="none" strike="noStrike" kern="0" cap="none" spc="0" normalizeH="0" baseline="0" noProof="0">
                <a:ln>
                  <a:noFill/>
                </a:ln>
                <a:solidFill>
                  <a:srgbClr val="EC0C6D"/>
                </a:solidFill>
                <a:effectLst/>
                <a:uLnTx/>
                <a:uFillTx/>
                <a:latin typeface="Arial"/>
                <a:cs typeface="Arial"/>
              </a:rPr>
              <a:t>systems</a:t>
            </a:r>
            <a:r>
              <a:rPr kumimoji="0" sz="1400" b="1" i="0" u="none" strike="noStrike" kern="0" cap="none" spc="-30" normalizeH="0" baseline="0" noProof="0">
                <a:ln>
                  <a:noFill/>
                </a:ln>
                <a:solidFill>
                  <a:srgbClr val="EC0C6D"/>
                </a:solidFill>
                <a:effectLst/>
                <a:uLnTx/>
                <a:uFillTx/>
                <a:latin typeface="Arial"/>
                <a:cs typeface="Arial"/>
              </a:rPr>
              <a:t> </a:t>
            </a:r>
            <a:r>
              <a:rPr kumimoji="0" sz="1400" b="1" i="0" u="none" strike="noStrike" kern="0" cap="none" spc="-25" normalizeH="0" baseline="0" noProof="0">
                <a:ln>
                  <a:noFill/>
                </a:ln>
                <a:solidFill>
                  <a:srgbClr val="EC0C6D"/>
                </a:solidFill>
                <a:effectLst/>
                <a:uLnTx/>
                <a:uFillTx/>
                <a:latin typeface="Arial"/>
                <a:cs typeface="Arial"/>
              </a:rPr>
              <a:t>to </a:t>
            </a:r>
            <a:r>
              <a:rPr kumimoji="0" sz="1400" b="1" i="0" u="none" strike="noStrike" kern="0" cap="none" spc="0" normalizeH="0" baseline="0" noProof="0">
                <a:ln>
                  <a:noFill/>
                </a:ln>
                <a:solidFill>
                  <a:srgbClr val="EC0C6D"/>
                </a:solidFill>
                <a:effectLst/>
                <a:uLnTx/>
                <a:uFillTx/>
                <a:latin typeface="Arial"/>
                <a:cs typeface="Arial"/>
              </a:rPr>
              <a:t>increase</a:t>
            </a:r>
            <a:r>
              <a:rPr kumimoji="0" sz="1400" b="1" i="0" u="none" strike="noStrike" kern="0" cap="none" spc="-75" normalizeH="0" baseline="0" noProof="0">
                <a:ln>
                  <a:noFill/>
                </a:ln>
                <a:solidFill>
                  <a:srgbClr val="EC0C6D"/>
                </a:solidFill>
                <a:effectLst/>
                <a:uLnTx/>
                <a:uFillTx/>
                <a:latin typeface="Arial"/>
                <a:cs typeface="Arial"/>
              </a:rPr>
              <a:t> </a:t>
            </a:r>
            <a:r>
              <a:rPr kumimoji="0" sz="1400" b="1" i="0" u="none" strike="noStrike" kern="0" cap="none" spc="0" normalizeH="0" baseline="0" noProof="0">
                <a:ln>
                  <a:noFill/>
                </a:ln>
                <a:solidFill>
                  <a:srgbClr val="EC0C6D"/>
                </a:solidFill>
                <a:effectLst/>
                <a:uLnTx/>
                <a:uFillTx/>
                <a:latin typeface="Arial"/>
                <a:cs typeface="Arial"/>
              </a:rPr>
              <a:t>equity</a:t>
            </a:r>
            <a:r>
              <a:rPr kumimoji="0" sz="1400" b="1" i="0" u="none" strike="noStrike" kern="0" cap="none" spc="-55" normalizeH="0" baseline="0" noProof="0">
                <a:ln>
                  <a:noFill/>
                </a:ln>
                <a:solidFill>
                  <a:srgbClr val="EC0C6D"/>
                </a:solidFill>
                <a:effectLst/>
                <a:uLnTx/>
                <a:uFillTx/>
                <a:latin typeface="Arial"/>
                <a:cs typeface="Arial"/>
              </a:rPr>
              <a:t> </a:t>
            </a:r>
            <a:r>
              <a:rPr kumimoji="0" sz="1400" b="1" i="0" u="none" strike="noStrike" kern="0" cap="none" spc="-25" normalizeH="0" baseline="0" noProof="0">
                <a:ln>
                  <a:noFill/>
                </a:ln>
                <a:solidFill>
                  <a:srgbClr val="EC0C6D"/>
                </a:solidFill>
                <a:effectLst/>
                <a:uLnTx/>
                <a:uFillTx/>
                <a:latin typeface="Arial"/>
                <a:cs typeface="Arial"/>
              </a:rPr>
              <a:t>in </a:t>
            </a:r>
            <a:r>
              <a:rPr kumimoji="0" sz="1400" b="1" i="0" u="none" strike="noStrike" kern="0" cap="none" spc="-10" normalizeH="0" baseline="0" noProof="0">
                <a:ln>
                  <a:noFill/>
                </a:ln>
                <a:solidFill>
                  <a:srgbClr val="EC0C6D"/>
                </a:solidFill>
                <a:effectLst/>
                <a:uLnTx/>
                <a:uFillTx/>
                <a:latin typeface="Arial"/>
                <a:cs typeface="Arial"/>
              </a:rPr>
              <a:t>immunisation</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grpSp>
        <p:nvGrpSpPr>
          <p:cNvPr id="23" name="object 23"/>
          <p:cNvGrpSpPr/>
          <p:nvPr/>
        </p:nvGrpSpPr>
        <p:grpSpPr>
          <a:xfrm>
            <a:off x="9798050" y="2198751"/>
            <a:ext cx="1774189" cy="899160"/>
            <a:chOff x="9798050" y="2198751"/>
            <a:chExt cx="1774189" cy="899160"/>
          </a:xfrm>
        </p:grpSpPr>
        <p:sp>
          <p:nvSpPr>
            <p:cNvPr id="24" name="object 24"/>
            <p:cNvSpPr/>
            <p:nvPr/>
          </p:nvSpPr>
          <p:spPr>
            <a:xfrm>
              <a:off x="9804400" y="2205101"/>
              <a:ext cx="1761489" cy="886460"/>
            </a:xfrm>
            <a:custGeom>
              <a:avLst/>
              <a:gdLst/>
              <a:ahLst/>
              <a:cxnLst/>
              <a:rect l="l" t="t" r="r" b="b"/>
              <a:pathLst>
                <a:path w="1761490" h="886460">
                  <a:moveTo>
                    <a:pt x="1613916" y="0"/>
                  </a:moveTo>
                  <a:lnTo>
                    <a:pt x="147700" y="0"/>
                  </a:lnTo>
                  <a:lnTo>
                    <a:pt x="101031" y="7533"/>
                  </a:lnTo>
                  <a:lnTo>
                    <a:pt x="60487" y="28508"/>
                  </a:lnTo>
                  <a:lnTo>
                    <a:pt x="28508" y="60487"/>
                  </a:lnTo>
                  <a:lnTo>
                    <a:pt x="7533" y="101031"/>
                  </a:lnTo>
                  <a:lnTo>
                    <a:pt x="0" y="147700"/>
                  </a:lnTo>
                  <a:lnTo>
                    <a:pt x="0" y="738377"/>
                  </a:lnTo>
                  <a:lnTo>
                    <a:pt x="7533" y="785047"/>
                  </a:lnTo>
                  <a:lnTo>
                    <a:pt x="28508" y="825591"/>
                  </a:lnTo>
                  <a:lnTo>
                    <a:pt x="60487" y="857570"/>
                  </a:lnTo>
                  <a:lnTo>
                    <a:pt x="101031" y="878545"/>
                  </a:lnTo>
                  <a:lnTo>
                    <a:pt x="147700" y="886078"/>
                  </a:lnTo>
                  <a:lnTo>
                    <a:pt x="1613916" y="886078"/>
                  </a:lnTo>
                  <a:lnTo>
                    <a:pt x="1660572" y="878545"/>
                  </a:lnTo>
                  <a:lnTo>
                    <a:pt x="1701084" y="857570"/>
                  </a:lnTo>
                  <a:lnTo>
                    <a:pt x="1733025" y="825591"/>
                  </a:lnTo>
                  <a:lnTo>
                    <a:pt x="1753969" y="785047"/>
                  </a:lnTo>
                  <a:lnTo>
                    <a:pt x="1761490" y="738377"/>
                  </a:lnTo>
                  <a:lnTo>
                    <a:pt x="1761490" y="147700"/>
                  </a:lnTo>
                  <a:lnTo>
                    <a:pt x="1753969" y="101031"/>
                  </a:lnTo>
                  <a:lnTo>
                    <a:pt x="1733025" y="60487"/>
                  </a:lnTo>
                  <a:lnTo>
                    <a:pt x="1701084" y="28508"/>
                  </a:lnTo>
                  <a:lnTo>
                    <a:pt x="1660572" y="7533"/>
                  </a:lnTo>
                  <a:lnTo>
                    <a:pt x="1613916" y="0"/>
                  </a:lnTo>
                  <a:close/>
                </a:path>
              </a:pathLst>
            </a:custGeom>
            <a:solidFill>
              <a:srgbClr val="F1CEE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 name="object 25"/>
            <p:cNvSpPr/>
            <p:nvPr/>
          </p:nvSpPr>
          <p:spPr>
            <a:xfrm>
              <a:off x="9804400" y="2205101"/>
              <a:ext cx="1761489" cy="886460"/>
            </a:xfrm>
            <a:custGeom>
              <a:avLst/>
              <a:gdLst/>
              <a:ahLst/>
              <a:cxnLst/>
              <a:rect l="l" t="t" r="r" b="b"/>
              <a:pathLst>
                <a:path w="1761490" h="886460">
                  <a:moveTo>
                    <a:pt x="0" y="147700"/>
                  </a:moveTo>
                  <a:lnTo>
                    <a:pt x="7533" y="101031"/>
                  </a:lnTo>
                  <a:lnTo>
                    <a:pt x="28508" y="60487"/>
                  </a:lnTo>
                  <a:lnTo>
                    <a:pt x="60487" y="28508"/>
                  </a:lnTo>
                  <a:lnTo>
                    <a:pt x="101031" y="7533"/>
                  </a:lnTo>
                  <a:lnTo>
                    <a:pt x="147700" y="0"/>
                  </a:lnTo>
                  <a:lnTo>
                    <a:pt x="1613916" y="0"/>
                  </a:lnTo>
                  <a:lnTo>
                    <a:pt x="1660572" y="7533"/>
                  </a:lnTo>
                  <a:lnTo>
                    <a:pt x="1701084" y="28508"/>
                  </a:lnTo>
                  <a:lnTo>
                    <a:pt x="1733025" y="60487"/>
                  </a:lnTo>
                  <a:lnTo>
                    <a:pt x="1753969" y="101031"/>
                  </a:lnTo>
                  <a:lnTo>
                    <a:pt x="1761490" y="147700"/>
                  </a:lnTo>
                  <a:lnTo>
                    <a:pt x="1761490" y="738377"/>
                  </a:lnTo>
                  <a:lnTo>
                    <a:pt x="1753969" y="785047"/>
                  </a:lnTo>
                  <a:lnTo>
                    <a:pt x="1733025" y="825591"/>
                  </a:lnTo>
                  <a:lnTo>
                    <a:pt x="1701084" y="857570"/>
                  </a:lnTo>
                  <a:lnTo>
                    <a:pt x="1660572" y="878545"/>
                  </a:lnTo>
                  <a:lnTo>
                    <a:pt x="1613916" y="886078"/>
                  </a:lnTo>
                  <a:lnTo>
                    <a:pt x="147700" y="886078"/>
                  </a:lnTo>
                  <a:lnTo>
                    <a:pt x="101031" y="878545"/>
                  </a:lnTo>
                  <a:lnTo>
                    <a:pt x="60487" y="857570"/>
                  </a:lnTo>
                  <a:lnTo>
                    <a:pt x="28508" y="825591"/>
                  </a:lnTo>
                  <a:lnTo>
                    <a:pt x="7533" y="785047"/>
                  </a:lnTo>
                  <a:lnTo>
                    <a:pt x="0" y="738377"/>
                  </a:lnTo>
                  <a:lnTo>
                    <a:pt x="0" y="147700"/>
                  </a:lnTo>
                  <a:close/>
                </a:path>
              </a:pathLst>
            </a:custGeom>
            <a:ln w="12700">
              <a:solidFill>
                <a:srgbClr val="9F2B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6" name="object 26"/>
          <p:cNvSpPr txBox="1"/>
          <p:nvPr/>
        </p:nvSpPr>
        <p:spPr>
          <a:xfrm>
            <a:off x="9856089" y="2416556"/>
            <a:ext cx="1661795" cy="452755"/>
          </a:xfrm>
          <a:prstGeom prst="rect">
            <a:avLst/>
          </a:prstGeom>
        </p:spPr>
        <p:txBody>
          <a:bodyPr vert="horz" wrap="square" lIns="0" tIns="13335" rIns="0" bIns="0" rtlCol="0">
            <a:spAutoFit/>
          </a:bodyPr>
          <a:lstStyle/>
          <a:p>
            <a:pPr marL="74930" marR="5080" lvl="0" indent="-62865" defTabSz="914400" eaLnBrk="1" fontAlgn="auto" latinLnBrk="0" hangingPunct="1">
              <a:lnSpc>
                <a:spcPct val="100000"/>
              </a:lnSpc>
              <a:spcBef>
                <a:spcPts val="105"/>
              </a:spcBef>
              <a:spcAft>
                <a:spcPts val="0"/>
              </a:spcAft>
              <a:buClrTx/>
              <a:buSzTx/>
              <a:buFontTx/>
              <a:buNone/>
              <a:tabLst/>
              <a:defRPr/>
            </a:pPr>
            <a:r>
              <a:rPr kumimoji="0" sz="1400" b="1" i="0" u="none" strike="noStrike" kern="0" cap="none" spc="0" normalizeH="0" baseline="0" noProof="0">
                <a:ln>
                  <a:noFill/>
                </a:ln>
                <a:solidFill>
                  <a:srgbClr val="9F2B92"/>
                </a:solidFill>
                <a:effectLst/>
                <a:uLnTx/>
                <a:uFillTx/>
                <a:latin typeface="Arial"/>
                <a:cs typeface="Arial"/>
              </a:rPr>
              <a:t>SG1:</a:t>
            </a:r>
            <a:r>
              <a:rPr kumimoji="0" sz="1400" b="1" i="0" u="none" strike="noStrike" kern="0" cap="none" spc="-50" normalizeH="0" baseline="0" noProof="0">
                <a:ln>
                  <a:noFill/>
                </a:ln>
                <a:solidFill>
                  <a:srgbClr val="9F2B92"/>
                </a:solidFill>
                <a:effectLst/>
                <a:uLnTx/>
                <a:uFillTx/>
                <a:latin typeface="Arial"/>
                <a:cs typeface="Arial"/>
              </a:rPr>
              <a:t> </a:t>
            </a:r>
            <a:r>
              <a:rPr kumimoji="0" sz="1400" b="1" i="0" u="none" strike="noStrike" kern="0" cap="none" spc="0" normalizeH="0" baseline="0" noProof="0">
                <a:ln>
                  <a:noFill/>
                </a:ln>
                <a:solidFill>
                  <a:srgbClr val="9F2B92"/>
                </a:solidFill>
                <a:effectLst/>
                <a:uLnTx/>
                <a:uFillTx/>
                <a:latin typeface="Arial"/>
                <a:cs typeface="Arial"/>
              </a:rPr>
              <a:t>Introduce</a:t>
            </a:r>
            <a:r>
              <a:rPr kumimoji="0" sz="1400" b="1" i="0" u="none" strike="noStrike" kern="0" cap="none" spc="-50" normalizeH="0" baseline="0" noProof="0">
                <a:ln>
                  <a:noFill/>
                </a:ln>
                <a:solidFill>
                  <a:srgbClr val="9F2B92"/>
                </a:solidFill>
                <a:effectLst/>
                <a:uLnTx/>
                <a:uFillTx/>
                <a:latin typeface="Arial"/>
                <a:cs typeface="Arial"/>
              </a:rPr>
              <a:t> </a:t>
            </a:r>
            <a:r>
              <a:rPr kumimoji="0" sz="1400" b="1" i="0" u="none" strike="noStrike" kern="0" cap="none" spc="-25" normalizeH="0" baseline="0" noProof="0">
                <a:ln>
                  <a:noFill/>
                </a:ln>
                <a:solidFill>
                  <a:srgbClr val="9F2B92"/>
                </a:solidFill>
                <a:effectLst/>
                <a:uLnTx/>
                <a:uFillTx/>
                <a:latin typeface="Arial"/>
                <a:cs typeface="Arial"/>
              </a:rPr>
              <a:t>and </a:t>
            </a:r>
            <a:r>
              <a:rPr kumimoji="0" sz="1400" b="1" i="0" u="none" strike="noStrike" kern="0" cap="none" spc="0" normalizeH="0" baseline="0" noProof="0">
                <a:ln>
                  <a:noFill/>
                </a:ln>
                <a:solidFill>
                  <a:srgbClr val="9F2B92"/>
                </a:solidFill>
                <a:effectLst/>
                <a:uLnTx/>
                <a:uFillTx/>
                <a:latin typeface="Arial"/>
                <a:cs typeface="Arial"/>
              </a:rPr>
              <a:t>scale</a:t>
            </a:r>
            <a:r>
              <a:rPr kumimoji="0" sz="1400" b="1" i="0" u="none" strike="noStrike" kern="0" cap="none" spc="-45" normalizeH="0" baseline="0" noProof="0">
                <a:ln>
                  <a:noFill/>
                </a:ln>
                <a:solidFill>
                  <a:srgbClr val="9F2B92"/>
                </a:solidFill>
                <a:effectLst/>
                <a:uLnTx/>
                <a:uFillTx/>
                <a:latin typeface="Arial"/>
                <a:cs typeface="Arial"/>
              </a:rPr>
              <a:t> </a:t>
            </a:r>
            <a:r>
              <a:rPr kumimoji="0" sz="1400" b="1" i="0" u="none" strike="noStrike" kern="0" cap="none" spc="0" normalizeH="0" baseline="0" noProof="0">
                <a:ln>
                  <a:noFill/>
                </a:ln>
                <a:solidFill>
                  <a:srgbClr val="9F2B92"/>
                </a:solidFill>
                <a:effectLst/>
                <a:uLnTx/>
                <a:uFillTx/>
                <a:latin typeface="Arial"/>
                <a:cs typeface="Arial"/>
              </a:rPr>
              <a:t>up</a:t>
            </a:r>
            <a:r>
              <a:rPr kumimoji="0" sz="1400" b="1" i="0" u="none" strike="noStrike" kern="0" cap="none" spc="-25" normalizeH="0" baseline="0" noProof="0">
                <a:ln>
                  <a:noFill/>
                </a:ln>
                <a:solidFill>
                  <a:srgbClr val="9F2B92"/>
                </a:solidFill>
                <a:effectLst/>
                <a:uLnTx/>
                <a:uFillTx/>
                <a:latin typeface="Arial"/>
                <a:cs typeface="Arial"/>
              </a:rPr>
              <a:t> </a:t>
            </a:r>
            <a:r>
              <a:rPr kumimoji="0" sz="1400" b="1" i="0" u="none" strike="noStrike" kern="0" cap="none" spc="-10" normalizeH="0" baseline="0" noProof="0">
                <a:ln>
                  <a:noFill/>
                </a:ln>
                <a:solidFill>
                  <a:srgbClr val="9F2B92"/>
                </a:solidFill>
                <a:effectLst/>
                <a:uLnTx/>
                <a:uFillTx/>
                <a:latin typeface="Arial"/>
                <a:cs typeface="Arial"/>
              </a:rPr>
              <a:t>vaccines</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grpSp>
        <p:nvGrpSpPr>
          <p:cNvPr id="27" name="object 27"/>
          <p:cNvGrpSpPr/>
          <p:nvPr/>
        </p:nvGrpSpPr>
        <p:grpSpPr>
          <a:xfrm>
            <a:off x="9798050" y="4328414"/>
            <a:ext cx="1774189" cy="899160"/>
            <a:chOff x="9798050" y="4328414"/>
            <a:chExt cx="1774189" cy="899160"/>
          </a:xfrm>
        </p:grpSpPr>
        <p:sp>
          <p:nvSpPr>
            <p:cNvPr id="28" name="object 28"/>
            <p:cNvSpPr/>
            <p:nvPr/>
          </p:nvSpPr>
          <p:spPr>
            <a:xfrm>
              <a:off x="9804400" y="4334764"/>
              <a:ext cx="1761489" cy="886460"/>
            </a:xfrm>
            <a:custGeom>
              <a:avLst/>
              <a:gdLst/>
              <a:ahLst/>
              <a:cxnLst/>
              <a:rect l="l" t="t" r="r" b="b"/>
              <a:pathLst>
                <a:path w="1761490" h="886460">
                  <a:moveTo>
                    <a:pt x="1613916" y="0"/>
                  </a:moveTo>
                  <a:lnTo>
                    <a:pt x="147700" y="0"/>
                  </a:lnTo>
                  <a:lnTo>
                    <a:pt x="101031" y="7533"/>
                  </a:lnTo>
                  <a:lnTo>
                    <a:pt x="60487" y="28508"/>
                  </a:lnTo>
                  <a:lnTo>
                    <a:pt x="28508" y="60487"/>
                  </a:lnTo>
                  <a:lnTo>
                    <a:pt x="7533" y="101031"/>
                  </a:lnTo>
                  <a:lnTo>
                    <a:pt x="0" y="147700"/>
                  </a:lnTo>
                  <a:lnTo>
                    <a:pt x="0" y="738378"/>
                  </a:lnTo>
                  <a:lnTo>
                    <a:pt x="7533" y="785096"/>
                  </a:lnTo>
                  <a:lnTo>
                    <a:pt x="28508" y="825646"/>
                  </a:lnTo>
                  <a:lnTo>
                    <a:pt x="60487" y="857606"/>
                  </a:lnTo>
                  <a:lnTo>
                    <a:pt x="101031" y="878557"/>
                  </a:lnTo>
                  <a:lnTo>
                    <a:pt x="147700" y="886079"/>
                  </a:lnTo>
                  <a:lnTo>
                    <a:pt x="1613916" y="886079"/>
                  </a:lnTo>
                  <a:lnTo>
                    <a:pt x="1660572" y="878557"/>
                  </a:lnTo>
                  <a:lnTo>
                    <a:pt x="1701084" y="857606"/>
                  </a:lnTo>
                  <a:lnTo>
                    <a:pt x="1733025" y="825646"/>
                  </a:lnTo>
                  <a:lnTo>
                    <a:pt x="1753969" y="785096"/>
                  </a:lnTo>
                  <a:lnTo>
                    <a:pt x="1761490" y="738378"/>
                  </a:lnTo>
                  <a:lnTo>
                    <a:pt x="1761490" y="147700"/>
                  </a:lnTo>
                  <a:lnTo>
                    <a:pt x="1753969" y="101031"/>
                  </a:lnTo>
                  <a:lnTo>
                    <a:pt x="1733025" y="60487"/>
                  </a:lnTo>
                  <a:lnTo>
                    <a:pt x="1701084" y="28508"/>
                  </a:lnTo>
                  <a:lnTo>
                    <a:pt x="1660572" y="7533"/>
                  </a:lnTo>
                  <a:lnTo>
                    <a:pt x="1613916" y="0"/>
                  </a:lnTo>
                  <a:close/>
                </a:path>
              </a:pathLst>
            </a:custGeom>
            <a:solidFill>
              <a:srgbClr val="F8FFEB"/>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9" name="object 29"/>
            <p:cNvSpPr/>
            <p:nvPr/>
          </p:nvSpPr>
          <p:spPr>
            <a:xfrm>
              <a:off x="9804400" y="4334764"/>
              <a:ext cx="1761489" cy="886460"/>
            </a:xfrm>
            <a:custGeom>
              <a:avLst/>
              <a:gdLst/>
              <a:ahLst/>
              <a:cxnLst/>
              <a:rect l="l" t="t" r="r" b="b"/>
              <a:pathLst>
                <a:path w="1761490" h="886460">
                  <a:moveTo>
                    <a:pt x="0" y="147700"/>
                  </a:moveTo>
                  <a:lnTo>
                    <a:pt x="7533" y="101031"/>
                  </a:lnTo>
                  <a:lnTo>
                    <a:pt x="28508" y="60487"/>
                  </a:lnTo>
                  <a:lnTo>
                    <a:pt x="60487" y="28508"/>
                  </a:lnTo>
                  <a:lnTo>
                    <a:pt x="101031" y="7533"/>
                  </a:lnTo>
                  <a:lnTo>
                    <a:pt x="147700" y="0"/>
                  </a:lnTo>
                  <a:lnTo>
                    <a:pt x="1613916" y="0"/>
                  </a:lnTo>
                  <a:lnTo>
                    <a:pt x="1660572" y="7533"/>
                  </a:lnTo>
                  <a:lnTo>
                    <a:pt x="1701084" y="28508"/>
                  </a:lnTo>
                  <a:lnTo>
                    <a:pt x="1733025" y="60487"/>
                  </a:lnTo>
                  <a:lnTo>
                    <a:pt x="1753969" y="101031"/>
                  </a:lnTo>
                  <a:lnTo>
                    <a:pt x="1761490" y="147700"/>
                  </a:lnTo>
                  <a:lnTo>
                    <a:pt x="1761490" y="738378"/>
                  </a:lnTo>
                  <a:lnTo>
                    <a:pt x="1753969" y="785096"/>
                  </a:lnTo>
                  <a:lnTo>
                    <a:pt x="1733025" y="825646"/>
                  </a:lnTo>
                  <a:lnTo>
                    <a:pt x="1701084" y="857606"/>
                  </a:lnTo>
                  <a:lnTo>
                    <a:pt x="1660572" y="878557"/>
                  </a:lnTo>
                  <a:lnTo>
                    <a:pt x="1613916" y="886079"/>
                  </a:lnTo>
                  <a:lnTo>
                    <a:pt x="147700" y="886079"/>
                  </a:lnTo>
                  <a:lnTo>
                    <a:pt x="101031" y="878557"/>
                  </a:lnTo>
                  <a:lnTo>
                    <a:pt x="60487" y="857606"/>
                  </a:lnTo>
                  <a:lnTo>
                    <a:pt x="28508" y="825646"/>
                  </a:lnTo>
                  <a:lnTo>
                    <a:pt x="7533" y="785096"/>
                  </a:lnTo>
                  <a:lnTo>
                    <a:pt x="0" y="738378"/>
                  </a:lnTo>
                  <a:lnTo>
                    <a:pt x="0" y="147700"/>
                  </a:lnTo>
                  <a:close/>
                </a:path>
              </a:pathLst>
            </a:custGeom>
            <a:ln w="12700">
              <a:solidFill>
                <a:srgbClr val="A6CE3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30" name="object 30"/>
          <p:cNvSpPr txBox="1"/>
          <p:nvPr/>
        </p:nvSpPr>
        <p:spPr>
          <a:xfrm>
            <a:off x="9993248" y="4333113"/>
            <a:ext cx="1388110" cy="880110"/>
          </a:xfrm>
          <a:prstGeom prst="rect">
            <a:avLst/>
          </a:prstGeom>
        </p:spPr>
        <p:txBody>
          <a:bodyPr vert="horz" wrap="square" lIns="0" tIns="12700" rIns="0" bIns="0" rtlCol="0">
            <a:spAutoFit/>
          </a:bodyPr>
          <a:lstStyle/>
          <a:p>
            <a:pPr marL="12700" marR="5080" lvl="0" indent="-3175" algn="ctr"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0" normalizeH="0" baseline="0" noProof="0">
                <a:ln>
                  <a:noFill/>
                </a:ln>
                <a:solidFill>
                  <a:srgbClr val="A6CE39"/>
                </a:solidFill>
                <a:effectLst/>
                <a:uLnTx/>
                <a:uFillTx/>
                <a:latin typeface="Arial"/>
                <a:cs typeface="Arial"/>
              </a:rPr>
              <a:t>SG3:</a:t>
            </a:r>
            <a:r>
              <a:rPr kumimoji="0" sz="1400" b="1" i="0" u="none" strike="noStrike" kern="0" cap="none" spc="-15" normalizeH="0" baseline="0" noProof="0">
                <a:ln>
                  <a:noFill/>
                </a:ln>
                <a:solidFill>
                  <a:srgbClr val="A6CE39"/>
                </a:solidFill>
                <a:effectLst/>
                <a:uLnTx/>
                <a:uFillTx/>
                <a:latin typeface="Arial"/>
                <a:cs typeface="Arial"/>
              </a:rPr>
              <a:t> </a:t>
            </a:r>
            <a:r>
              <a:rPr kumimoji="0" sz="1400" b="1" i="0" u="none" strike="noStrike" kern="0" cap="none" spc="-10" normalizeH="0" baseline="0" noProof="0">
                <a:ln>
                  <a:noFill/>
                </a:ln>
                <a:solidFill>
                  <a:srgbClr val="A6CE39"/>
                </a:solidFill>
                <a:effectLst/>
                <a:uLnTx/>
                <a:uFillTx/>
                <a:latin typeface="Arial"/>
                <a:cs typeface="Arial"/>
              </a:rPr>
              <a:t>Improve </a:t>
            </a:r>
            <a:r>
              <a:rPr kumimoji="0" sz="1400" b="1" i="0" u="none" strike="noStrike" kern="0" cap="none" spc="0" normalizeH="0" baseline="0" noProof="0">
                <a:ln>
                  <a:noFill/>
                </a:ln>
                <a:solidFill>
                  <a:srgbClr val="A6CE39"/>
                </a:solidFill>
                <a:effectLst/>
                <a:uLnTx/>
                <a:uFillTx/>
                <a:latin typeface="Arial"/>
                <a:cs typeface="Arial"/>
              </a:rPr>
              <a:t>programmatic</a:t>
            </a:r>
            <a:r>
              <a:rPr kumimoji="0" sz="1400" b="1" i="0" u="none" strike="noStrike" kern="0" cap="none" spc="-70" normalizeH="0" baseline="0" noProof="0">
                <a:ln>
                  <a:noFill/>
                </a:ln>
                <a:solidFill>
                  <a:srgbClr val="A6CE39"/>
                </a:solidFill>
                <a:effectLst/>
                <a:uLnTx/>
                <a:uFillTx/>
                <a:latin typeface="Arial"/>
                <a:cs typeface="Arial"/>
              </a:rPr>
              <a:t> </a:t>
            </a:r>
            <a:r>
              <a:rPr kumimoji="0" sz="1400" b="1" i="0" u="none" strike="noStrike" kern="0" cap="none" spc="-50" normalizeH="0" baseline="0" noProof="0">
                <a:ln>
                  <a:noFill/>
                </a:ln>
                <a:solidFill>
                  <a:srgbClr val="A6CE39"/>
                </a:solidFill>
                <a:effectLst/>
                <a:uLnTx/>
                <a:uFillTx/>
                <a:latin typeface="Arial"/>
                <a:cs typeface="Arial"/>
              </a:rPr>
              <a:t>&amp; </a:t>
            </a:r>
            <a:r>
              <a:rPr kumimoji="0" sz="1400" b="1" i="0" u="none" strike="noStrike" kern="0" cap="none" spc="-10" normalizeH="0" baseline="0" noProof="0">
                <a:ln>
                  <a:noFill/>
                </a:ln>
                <a:solidFill>
                  <a:srgbClr val="A6CE39"/>
                </a:solidFill>
                <a:effectLst/>
                <a:uLnTx/>
                <a:uFillTx/>
                <a:latin typeface="Arial"/>
                <a:cs typeface="Arial"/>
              </a:rPr>
              <a:t>financial sustainability</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grpSp>
        <p:nvGrpSpPr>
          <p:cNvPr id="31" name="object 31"/>
          <p:cNvGrpSpPr/>
          <p:nvPr/>
        </p:nvGrpSpPr>
        <p:grpSpPr>
          <a:xfrm>
            <a:off x="3759207" y="2810177"/>
            <a:ext cx="487045" cy="403225"/>
            <a:chOff x="3759207" y="2810177"/>
            <a:chExt cx="487045" cy="403225"/>
          </a:xfrm>
        </p:grpSpPr>
        <p:sp>
          <p:nvSpPr>
            <p:cNvPr id="32" name="object 32"/>
            <p:cNvSpPr/>
            <p:nvPr/>
          </p:nvSpPr>
          <p:spPr>
            <a:xfrm>
              <a:off x="3759207" y="2874478"/>
              <a:ext cx="487045" cy="338455"/>
            </a:xfrm>
            <a:custGeom>
              <a:avLst/>
              <a:gdLst/>
              <a:ahLst/>
              <a:cxnLst/>
              <a:rect l="l" t="t" r="r" b="b"/>
              <a:pathLst>
                <a:path w="487045" h="338455">
                  <a:moveTo>
                    <a:pt x="243220" y="0"/>
                  </a:moveTo>
                  <a:lnTo>
                    <a:pt x="172034" y="71225"/>
                  </a:lnTo>
                  <a:lnTo>
                    <a:pt x="172034" y="89032"/>
                  </a:lnTo>
                  <a:lnTo>
                    <a:pt x="0" y="89032"/>
                  </a:lnTo>
                  <a:lnTo>
                    <a:pt x="0" y="112774"/>
                  </a:lnTo>
                  <a:lnTo>
                    <a:pt x="11864" y="112774"/>
                  </a:lnTo>
                  <a:lnTo>
                    <a:pt x="11864" y="338322"/>
                  </a:lnTo>
                  <a:lnTo>
                    <a:pt x="474576" y="338322"/>
                  </a:lnTo>
                  <a:lnTo>
                    <a:pt x="474576" y="314580"/>
                  </a:lnTo>
                  <a:lnTo>
                    <a:pt x="219491" y="314580"/>
                  </a:lnTo>
                  <a:lnTo>
                    <a:pt x="219491" y="290838"/>
                  </a:lnTo>
                  <a:lnTo>
                    <a:pt x="35593" y="290838"/>
                  </a:lnTo>
                  <a:lnTo>
                    <a:pt x="35593" y="255225"/>
                  </a:lnTo>
                  <a:lnTo>
                    <a:pt x="219491" y="255225"/>
                  </a:lnTo>
                  <a:lnTo>
                    <a:pt x="219491" y="231483"/>
                  </a:lnTo>
                  <a:lnTo>
                    <a:pt x="35593" y="231483"/>
                  </a:lnTo>
                  <a:lnTo>
                    <a:pt x="35593" y="195870"/>
                  </a:lnTo>
                  <a:lnTo>
                    <a:pt x="474576" y="195870"/>
                  </a:lnTo>
                  <a:lnTo>
                    <a:pt x="474576" y="172128"/>
                  </a:lnTo>
                  <a:lnTo>
                    <a:pt x="35593" y="172128"/>
                  </a:lnTo>
                  <a:lnTo>
                    <a:pt x="35593" y="136515"/>
                  </a:lnTo>
                  <a:lnTo>
                    <a:pt x="232127" y="136515"/>
                  </a:lnTo>
                  <a:lnTo>
                    <a:pt x="232127" y="131292"/>
                  </a:lnTo>
                  <a:lnTo>
                    <a:pt x="212788" y="131292"/>
                  </a:lnTo>
                  <a:lnTo>
                    <a:pt x="201695" y="112061"/>
                  </a:lnTo>
                  <a:lnTo>
                    <a:pt x="221093" y="100903"/>
                  </a:lnTo>
                  <a:lnTo>
                    <a:pt x="201695" y="89744"/>
                  </a:lnTo>
                  <a:lnTo>
                    <a:pt x="212788" y="70513"/>
                  </a:lnTo>
                  <a:lnTo>
                    <a:pt x="232127" y="70513"/>
                  </a:lnTo>
                  <a:lnTo>
                    <a:pt x="232127" y="59354"/>
                  </a:lnTo>
                  <a:lnTo>
                    <a:pt x="302542" y="59354"/>
                  </a:lnTo>
                  <a:lnTo>
                    <a:pt x="243220" y="0"/>
                  </a:lnTo>
                  <a:close/>
                </a:path>
                <a:path w="487045" h="338455">
                  <a:moveTo>
                    <a:pt x="474576" y="195870"/>
                  </a:moveTo>
                  <a:lnTo>
                    <a:pt x="450848" y="195870"/>
                  </a:lnTo>
                  <a:lnTo>
                    <a:pt x="450848" y="231483"/>
                  </a:lnTo>
                  <a:lnTo>
                    <a:pt x="266949" y="231483"/>
                  </a:lnTo>
                  <a:lnTo>
                    <a:pt x="266949" y="314580"/>
                  </a:lnTo>
                  <a:lnTo>
                    <a:pt x="474576" y="314580"/>
                  </a:lnTo>
                  <a:lnTo>
                    <a:pt x="474576" y="290838"/>
                  </a:lnTo>
                  <a:lnTo>
                    <a:pt x="296610" y="290838"/>
                  </a:lnTo>
                  <a:lnTo>
                    <a:pt x="296610" y="255225"/>
                  </a:lnTo>
                  <a:lnTo>
                    <a:pt x="474576" y="255225"/>
                  </a:lnTo>
                  <a:lnTo>
                    <a:pt x="474576" y="195870"/>
                  </a:lnTo>
                  <a:close/>
                </a:path>
                <a:path w="487045" h="338455">
                  <a:moveTo>
                    <a:pt x="94915" y="255225"/>
                  </a:moveTo>
                  <a:lnTo>
                    <a:pt x="71186" y="255225"/>
                  </a:lnTo>
                  <a:lnTo>
                    <a:pt x="71186" y="290838"/>
                  </a:lnTo>
                  <a:lnTo>
                    <a:pt x="94915" y="290838"/>
                  </a:lnTo>
                  <a:lnTo>
                    <a:pt x="94915" y="255225"/>
                  </a:lnTo>
                  <a:close/>
                </a:path>
                <a:path w="487045" h="338455">
                  <a:moveTo>
                    <a:pt x="154237" y="255225"/>
                  </a:moveTo>
                  <a:lnTo>
                    <a:pt x="130508" y="255225"/>
                  </a:lnTo>
                  <a:lnTo>
                    <a:pt x="130508" y="290838"/>
                  </a:lnTo>
                  <a:lnTo>
                    <a:pt x="154237" y="290838"/>
                  </a:lnTo>
                  <a:lnTo>
                    <a:pt x="154237" y="255225"/>
                  </a:lnTo>
                  <a:close/>
                </a:path>
                <a:path w="487045" h="338455">
                  <a:moveTo>
                    <a:pt x="219491" y="255225"/>
                  </a:moveTo>
                  <a:lnTo>
                    <a:pt x="189830" y="255225"/>
                  </a:lnTo>
                  <a:lnTo>
                    <a:pt x="189830" y="290838"/>
                  </a:lnTo>
                  <a:lnTo>
                    <a:pt x="219491" y="290838"/>
                  </a:lnTo>
                  <a:lnTo>
                    <a:pt x="219491" y="255225"/>
                  </a:lnTo>
                  <a:close/>
                </a:path>
                <a:path w="487045" h="338455">
                  <a:moveTo>
                    <a:pt x="355932" y="255225"/>
                  </a:moveTo>
                  <a:lnTo>
                    <a:pt x="332203" y="255225"/>
                  </a:lnTo>
                  <a:lnTo>
                    <a:pt x="332203" y="290838"/>
                  </a:lnTo>
                  <a:lnTo>
                    <a:pt x="355932" y="290838"/>
                  </a:lnTo>
                  <a:lnTo>
                    <a:pt x="355932" y="255225"/>
                  </a:lnTo>
                  <a:close/>
                </a:path>
                <a:path w="487045" h="338455">
                  <a:moveTo>
                    <a:pt x="415254" y="255225"/>
                  </a:moveTo>
                  <a:lnTo>
                    <a:pt x="391525" y="255225"/>
                  </a:lnTo>
                  <a:lnTo>
                    <a:pt x="391525" y="290838"/>
                  </a:lnTo>
                  <a:lnTo>
                    <a:pt x="415254" y="290838"/>
                  </a:lnTo>
                  <a:lnTo>
                    <a:pt x="415254" y="255225"/>
                  </a:lnTo>
                  <a:close/>
                </a:path>
                <a:path w="487045" h="338455">
                  <a:moveTo>
                    <a:pt x="474576" y="255225"/>
                  </a:moveTo>
                  <a:lnTo>
                    <a:pt x="450848" y="255225"/>
                  </a:lnTo>
                  <a:lnTo>
                    <a:pt x="450848" y="290838"/>
                  </a:lnTo>
                  <a:lnTo>
                    <a:pt x="474576" y="290838"/>
                  </a:lnTo>
                  <a:lnTo>
                    <a:pt x="474576" y="255225"/>
                  </a:lnTo>
                  <a:close/>
                </a:path>
                <a:path w="487045" h="338455">
                  <a:moveTo>
                    <a:pt x="94915" y="195870"/>
                  </a:moveTo>
                  <a:lnTo>
                    <a:pt x="71186" y="195870"/>
                  </a:lnTo>
                  <a:lnTo>
                    <a:pt x="71186" y="231483"/>
                  </a:lnTo>
                  <a:lnTo>
                    <a:pt x="94915" y="231483"/>
                  </a:lnTo>
                  <a:lnTo>
                    <a:pt x="94915" y="195870"/>
                  </a:lnTo>
                  <a:close/>
                </a:path>
                <a:path w="487045" h="338455">
                  <a:moveTo>
                    <a:pt x="154237" y="195870"/>
                  </a:moveTo>
                  <a:lnTo>
                    <a:pt x="130508" y="195870"/>
                  </a:lnTo>
                  <a:lnTo>
                    <a:pt x="130508" y="231483"/>
                  </a:lnTo>
                  <a:lnTo>
                    <a:pt x="154237" y="231483"/>
                  </a:lnTo>
                  <a:lnTo>
                    <a:pt x="154237" y="195870"/>
                  </a:lnTo>
                  <a:close/>
                </a:path>
                <a:path w="487045" h="338455">
                  <a:moveTo>
                    <a:pt x="296610" y="195870"/>
                  </a:moveTo>
                  <a:lnTo>
                    <a:pt x="189830" y="195870"/>
                  </a:lnTo>
                  <a:lnTo>
                    <a:pt x="189830" y="231483"/>
                  </a:lnTo>
                  <a:lnTo>
                    <a:pt x="296610" y="231483"/>
                  </a:lnTo>
                  <a:lnTo>
                    <a:pt x="296610" y="195870"/>
                  </a:lnTo>
                  <a:close/>
                </a:path>
                <a:path w="487045" h="338455">
                  <a:moveTo>
                    <a:pt x="355932" y="195870"/>
                  </a:moveTo>
                  <a:lnTo>
                    <a:pt x="332203" y="195870"/>
                  </a:lnTo>
                  <a:lnTo>
                    <a:pt x="332203" y="231483"/>
                  </a:lnTo>
                  <a:lnTo>
                    <a:pt x="355932" y="231483"/>
                  </a:lnTo>
                  <a:lnTo>
                    <a:pt x="355932" y="195870"/>
                  </a:lnTo>
                  <a:close/>
                </a:path>
                <a:path w="487045" h="338455">
                  <a:moveTo>
                    <a:pt x="415254" y="195870"/>
                  </a:moveTo>
                  <a:lnTo>
                    <a:pt x="391525" y="195870"/>
                  </a:lnTo>
                  <a:lnTo>
                    <a:pt x="391525" y="231483"/>
                  </a:lnTo>
                  <a:lnTo>
                    <a:pt x="415254" y="231483"/>
                  </a:lnTo>
                  <a:lnTo>
                    <a:pt x="415254" y="195870"/>
                  </a:lnTo>
                  <a:close/>
                </a:path>
                <a:path w="487045" h="338455">
                  <a:moveTo>
                    <a:pt x="94915" y="136515"/>
                  </a:moveTo>
                  <a:lnTo>
                    <a:pt x="71186" y="136515"/>
                  </a:lnTo>
                  <a:lnTo>
                    <a:pt x="71186" y="172128"/>
                  </a:lnTo>
                  <a:lnTo>
                    <a:pt x="94915" y="172128"/>
                  </a:lnTo>
                  <a:lnTo>
                    <a:pt x="94915" y="136515"/>
                  </a:lnTo>
                  <a:close/>
                </a:path>
                <a:path w="487045" h="338455">
                  <a:moveTo>
                    <a:pt x="154237" y="136515"/>
                  </a:moveTo>
                  <a:lnTo>
                    <a:pt x="130508" y="136515"/>
                  </a:lnTo>
                  <a:lnTo>
                    <a:pt x="130508" y="172128"/>
                  </a:lnTo>
                  <a:lnTo>
                    <a:pt x="154237" y="172128"/>
                  </a:lnTo>
                  <a:lnTo>
                    <a:pt x="154237" y="136515"/>
                  </a:lnTo>
                  <a:close/>
                </a:path>
                <a:path w="487045" h="338455">
                  <a:moveTo>
                    <a:pt x="232127" y="136515"/>
                  </a:moveTo>
                  <a:lnTo>
                    <a:pt x="189830" y="136515"/>
                  </a:lnTo>
                  <a:lnTo>
                    <a:pt x="189830" y="172128"/>
                  </a:lnTo>
                  <a:lnTo>
                    <a:pt x="296610" y="172128"/>
                  </a:lnTo>
                  <a:lnTo>
                    <a:pt x="296610" y="142451"/>
                  </a:lnTo>
                  <a:lnTo>
                    <a:pt x="232127" y="142451"/>
                  </a:lnTo>
                  <a:lnTo>
                    <a:pt x="232127" y="136515"/>
                  </a:lnTo>
                  <a:close/>
                </a:path>
                <a:path w="487045" h="338455">
                  <a:moveTo>
                    <a:pt x="355932" y="136515"/>
                  </a:moveTo>
                  <a:lnTo>
                    <a:pt x="332203" y="136515"/>
                  </a:lnTo>
                  <a:lnTo>
                    <a:pt x="332203" y="172128"/>
                  </a:lnTo>
                  <a:lnTo>
                    <a:pt x="355932" y="172128"/>
                  </a:lnTo>
                  <a:lnTo>
                    <a:pt x="355932" y="136515"/>
                  </a:lnTo>
                  <a:close/>
                </a:path>
                <a:path w="487045" h="338455">
                  <a:moveTo>
                    <a:pt x="415254" y="136515"/>
                  </a:moveTo>
                  <a:lnTo>
                    <a:pt x="391525" y="136515"/>
                  </a:lnTo>
                  <a:lnTo>
                    <a:pt x="391525" y="172128"/>
                  </a:lnTo>
                  <a:lnTo>
                    <a:pt x="415254" y="172128"/>
                  </a:lnTo>
                  <a:lnTo>
                    <a:pt x="415254" y="136515"/>
                  </a:lnTo>
                  <a:close/>
                </a:path>
                <a:path w="487045" h="338455">
                  <a:moveTo>
                    <a:pt x="474576" y="136515"/>
                  </a:moveTo>
                  <a:lnTo>
                    <a:pt x="450848" y="136515"/>
                  </a:lnTo>
                  <a:lnTo>
                    <a:pt x="450848" y="172128"/>
                  </a:lnTo>
                  <a:lnTo>
                    <a:pt x="474576" y="172128"/>
                  </a:lnTo>
                  <a:lnTo>
                    <a:pt x="474576" y="136515"/>
                  </a:lnTo>
                  <a:close/>
                </a:path>
                <a:path w="487045" h="338455">
                  <a:moveTo>
                    <a:pt x="254313" y="120074"/>
                  </a:moveTo>
                  <a:lnTo>
                    <a:pt x="254313" y="142451"/>
                  </a:lnTo>
                  <a:lnTo>
                    <a:pt x="296610" y="142451"/>
                  </a:lnTo>
                  <a:lnTo>
                    <a:pt x="296610" y="136515"/>
                  </a:lnTo>
                  <a:lnTo>
                    <a:pt x="474576" y="136515"/>
                  </a:lnTo>
                  <a:lnTo>
                    <a:pt x="474576" y="131292"/>
                  </a:lnTo>
                  <a:lnTo>
                    <a:pt x="273652" y="131292"/>
                  </a:lnTo>
                  <a:lnTo>
                    <a:pt x="254313" y="120074"/>
                  </a:lnTo>
                  <a:close/>
                </a:path>
                <a:path w="487045" h="338455">
                  <a:moveTo>
                    <a:pt x="232127" y="120074"/>
                  </a:moveTo>
                  <a:lnTo>
                    <a:pt x="212788" y="131292"/>
                  </a:lnTo>
                  <a:lnTo>
                    <a:pt x="232127" y="131292"/>
                  </a:lnTo>
                  <a:lnTo>
                    <a:pt x="232127" y="120074"/>
                  </a:lnTo>
                  <a:close/>
                </a:path>
                <a:path w="487045" h="338455">
                  <a:moveTo>
                    <a:pt x="313695" y="70513"/>
                  </a:moveTo>
                  <a:lnTo>
                    <a:pt x="273652" y="70513"/>
                  </a:lnTo>
                  <a:lnTo>
                    <a:pt x="284746" y="89744"/>
                  </a:lnTo>
                  <a:lnTo>
                    <a:pt x="265347" y="100903"/>
                  </a:lnTo>
                  <a:lnTo>
                    <a:pt x="284746" y="112061"/>
                  </a:lnTo>
                  <a:lnTo>
                    <a:pt x="273652" y="131292"/>
                  </a:lnTo>
                  <a:lnTo>
                    <a:pt x="474576" y="131292"/>
                  </a:lnTo>
                  <a:lnTo>
                    <a:pt x="474576" y="112774"/>
                  </a:lnTo>
                  <a:lnTo>
                    <a:pt x="486441" y="112774"/>
                  </a:lnTo>
                  <a:lnTo>
                    <a:pt x="486441" y="89032"/>
                  </a:lnTo>
                  <a:lnTo>
                    <a:pt x="314407" y="89032"/>
                  </a:lnTo>
                  <a:lnTo>
                    <a:pt x="314407" y="71225"/>
                  </a:lnTo>
                  <a:lnTo>
                    <a:pt x="313695" y="70513"/>
                  </a:lnTo>
                  <a:close/>
                </a:path>
                <a:path w="487045" h="338455">
                  <a:moveTo>
                    <a:pt x="232127" y="70513"/>
                  </a:moveTo>
                  <a:lnTo>
                    <a:pt x="212788" y="70513"/>
                  </a:lnTo>
                  <a:lnTo>
                    <a:pt x="232127" y="81731"/>
                  </a:lnTo>
                  <a:lnTo>
                    <a:pt x="232127" y="70513"/>
                  </a:lnTo>
                  <a:close/>
                </a:path>
                <a:path w="487045" h="338455">
                  <a:moveTo>
                    <a:pt x="302542" y="59354"/>
                  </a:moveTo>
                  <a:lnTo>
                    <a:pt x="254313" y="59354"/>
                  </a:lnTo>
                  <a:lnTo>
                    <a:pt x="254313" y="81731"/>
                  </a:lnTo>
                  <a:lnTo>
                    <a:pt x="273652" y="70513"/>
                  </a:lnTo>
                  <a:lnTo>
                    <a:pt x="313695" y="70513"/>
                  </a:lnTo>
                  <a:lnTo>
                    <a:pt x="302542" y="59354"/>
                  </a:lnTo>
                  <a:close/>
                </a:path>
              </a:pathLst>
            </a:custGeom>
            <a:solidFill>
              <a:srgbClr val="3D9B6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33" name="object 33"/>
            <p:cNvPicPr/>
            <p:nvPr/>
          </p:nvPicPr>
          <p:blipFill>
            <a:blip r:embed="rId2" cstate="print"/>
            <a:stretch>
              <a:fillRect/>
            </a:stretch>
          </p:blipFill>
          <p:spPr>
            <a:xfrm>
              <a:off x="3899148" y="2810177"/>
              <a:ext cx="206559" cy="120153"/>
            </a:xfrm>
            <a:prstGeom prst="rect">
              <a:avLst/>
            </a:prstGeom>
          </p:spPr>
        </p:pic>
      </p:grpSp>
      <p:pic>
        <p:nvPicPr>
          <p:cNvPr id="34" name="object 34"/>
          <p:cNvPicPr/>
          <p:nvPr/>
        </p:nvPicPr>
        <p:blipFill>
          <a:blip r:embed="rId3" cstate="print"/>
          <a:stretch>
            <a:fillRect/>
          </a:stretch>
        </p:blipFill>
        <p:spPr>
          <a:xfrm>
            <a:off x="3824461" y="4610484"/>
            <a:ext cx="382627" cy="424292"/>
          </a:xfrm>
          <a:prstGeom prst="rect">
            <a:avLst/>
          </a:prstGeom>
        </p:spPr>
      </p:pic>
      <p:sp>
        <p:nvSpPr>
          <p:cNvPr id="35" name="object 35"/>
          <p:cNvSpPr/>
          <p:nvPr/>
        </p:nvSpPr>
        <p:spPr>
          <a:xfrm>
            <a:off x="3763953" y="1994998"/>
            <a:ext cx="476250" cy="474980"/>
          </a:xfrm>
          <a:custGeom>
            <a:avLst/>
            <a:gdLst/>
            <a:ahLst/>
            <a:cxnLst/>
            <a:rect l="l" t="t" r="r" b="b"/>
            <a:pathLst>
              <a:path w="476250" h="474980">
                <a:moveTo>
                  <a:pt x="309439" y="35612"/>
                </a:moveTo>
                <a:lnTo>
                  <a:pt x="302848" y="36948"/>
                </a:lnTo>
                <a:lnTo>
                  <a:pt x="297203" y="40954"/>
                </a:lnTo>
                <a:lnTo>
                  <a:pt x="293199" y="46936"/>
                </a:lnTo>
                <a:lnTo>
                  <a:pt x="291864" y="53641"/>
                </a:lnTo>
                <a:lnTo>
                  <a:pt x="293199" y="60235"/>
                </a:lnTo>
                <a:lnTo>
                  <a:pt x="297203" y="65883"/>
                </a:lnTo>
                <a:lnTo>
                  <a:pt x="308475" y="77161"/>
                </a:lnTo>
                <a:lnTo>
                  <a:pt x="151864" y="233857"/>
                </a:lnTo>
                <a:lnTo>
                  <a:pt x="143893" y="243493"/>
                </a:lnTo>
                <a:lnTo>
                  <a:pt x="137923" y="254409"/>
                </a:lnTo>
                <a:lnTo>
                  <a:pt x="134179" y="266326"/>
                </a:lnTo>
                <a:lnTo>
                  <a:pt x="132881" y="278967"/>
                </a:lnTo>
                <a:lnTo>
                  <a:pt x="132881" y="285496"/>
                </a:lnTo>
                <a:lnTo>
                  <a:pt x="134067" y="292025"/>
                </a:lnTo>
                <a:lnTo>
                  <a:pt x="135847" y="298554"/>
                </a:lnTo>
                <a:lnTo>
                  <a:pt x="105000" y="329418"/>
                </a:lnTo>
                <a:lnTo>
                  <a:pt x="99892" y="336337"/>
                </a:lnTo>
                <a:lnTo>
                  <a:pt x="97065" y="344257"/>
                </a:lnTo>
                <a:lnTo>
                  <a:pt x="96574" y="352622"/>
                </a:lnTo>
                <a:lnTo>
                  <a:pt x="98474" y="360876"/>
                </a:lnTo>
                <a:lnTo>
                  <a:pt x="0" y="459405"/>
                </a:lnTo>
                <a:lnTo>
                  <a:pt x="0" y="466528"/>
                </a:lnTo>
                <a:lnTo>
                  <a:pt x="7118" y="473651"/>
                </a:lnTo>
                <a:lnTo>
                  <a:pt x="10084" y="474838"/>
                </a:lnTo>
                <a:lnTo>
                  <a:pt x="16016" y="474838"/>
                </a:lnTo>
                <a:lnTo>
                  <a:pt x="18983" y="473651"/>
                </a:lnTo>
                <a:lnTo>
                  <a:pt x="115084" y="377496"/>
                </a:lnTo>
                <a:lnTo>
                  <a:pt x="135640" y="377496"/>
                </a:lnTo>
                <a:lnTo>
                  <a:pt x="139610" y="376077"/>
                </a:lnTo>
                <a:lnTo>
                  <a:pt x="146525" y="370967"/>
                </a:lnTo>
                <a:lnTo>
                  <a:pt x="177373" y="340102"/>
                </a:lnTo>
                <a:lnTo>
                  <a:pt x="215496" y="340102"/>
                </a:lnTo>
                <a:lnTo>
                  <a:pt x="221049" y="338470"/>
                </a:lnTo>
                <a:lnTo>
                  <a:pt x="232069" y="332553"/>
                </a:lnTo>
                <a:lnTo>
                  <a:pt x="242034" y="324077"/>
                </a:lnTo>
                <a:lnTo>
                  <a:pt x="299576" y="266502"/>
                </a:lnTo>
                <a:lnTo>
                  <a:pt x="249746" y="266502"/>
                </a:lnTo>
                <a:lnTo>
                  <a:pt x="209407" y="226141"/>
                </a:lnTo>
                <a:lnTo>
                  <a:pt x="333390" y="102090"/>
                </a:lnTo>
                <a:lnTo>
                  <a:pt x="415254" y="102090"/>
                </a:lnTo>
                <a:lnTo>
                  <a:pt x="430678" y="86657"/>
                </a:lnTo>
                <a:lnTo>
                  <a:pt x="475280" y="86657"/>
                </a:lnTo>
                <a:lnTo>
                  <a:pt x="474428" y="82466"/>
                </a:lnTo>
                <a:lnTo>
                  <a:pt x="470424" y="76567"/>
                </a:lnTo>
                <a:lnTo>
                  <a:pt x="357712" y="76567"/>
                </a:lnTo>
                <a:lnTo>
                  <a:pt x="322119" y="40954"/>
                </a:lnTo>
                <a:lnTo>
                  <a:pt x="316140" y="36948"/>
                </a:lnTo>
                <a:lnTo>
                  <a:pt x="309439" y="35612"/>
                </a:lnTo>
                <a:close/>
              </a:path>
              <a:path w="476250" h="474980">
                <a:moveTo>
                  <a:pt x="135640" y="377496"/>
                </a:moveTo>
                <a:lnTo>
                  <a:pt x="115084" y="377496"/>
                </a:lnTo>
                <a:lnTo>
                  <a:pt x="123334" y="379397"/>
                </a:lnTo>
                <a:lnTo>
                  <a:pt x="131695" y="378905"/>
                </a:lnTo>
                <a:lnTo>
                  <a:pt x="135640" y="377496"/>
                </a:lnTo>
                <a:close/>
              </a:path>
              <a:path w="476250" h="474980">
                <a:moveTo>
                  <a:pt x="215496" y="340102"/>
                </a:moveTo>
                <a:lnTo>
                  <a:pt x="177373" y="340102"/>
                </a:lnTo>
                <a:lnTo>
                  <a:pt x="184204" y="341939"/>
                </a:lnTo>
                <a:lnTo>
                  <a:pt x="190424" y="343070"/>
                </a:lnTo>
                <a:lnTo>
                  <a:pt x="196949" y="343070"/>
                </a:lnTo>
                <a:lnTo>
                  <a:pt x="209249" y="341939"/>
                </a:lnTo>
                <a:lnTo>
                  <a:pt x="215496" y="340102"/>
                </a:lnTo>
                <a:close/>
              </a:path>
              <a:path w="476250" h="474980">
                <a:moveTo>
                  <a:pt x="264576" y="211302"/>
                </a:moveTo>
                <a:lnTo>
                  <a:pt x="247966" y="227922"/>
                </a:lnTo>
                <a:lnTo>
                  <a:pt x="268135" y="248102"/>
                </a:lnTo>
                <a:lnTo>
                  <a:pt x="249746" y="266502"/>
                </a:lnTo>
                <a:lnTo>
                  <a:pt x="299576" y="266502"/>
                </a:lnTo>
                <a:lnTo>
                  <a:pt x="334576" y="231483"/>
                </a:lnTo>
                <a:lnTo>
                  <a:pt x="284746" y="231483"/>
                </a:lnTo>
                <a:lnTo>
                  <a:pt x="264576" y="211302"/>
                </a:lnTo>
                <a:close/>
              </a:path>
              <a:path w="476250" h="474980">
                <a:moveTo>
                  <a:pt x="300169" y="175690"/>
                </a:moveTo>
                <a:lnTo>
                  <a:pt x="283559" y="192309"/>
                </a:lnTo>
                <a:lnTo>
                  <a:pt x="303729" y="212490"/>
                </a:lnTo>
                <a:lnTo>
                  <a:pt x="284746" y="231483"/>
                </a:lnTo>
                <a:lnTo>
                  <a:pt x="334576" y="231483"/>
                </a:lnTo>
                <a:lnTo>
                  <a:pt x="370170" y="195870"/>
                </a:lnTo>
                <a:lnTo>
                  <a:pt x="320339" y="195870"/>
                </a:lnTo>
                <a:lnTo>
                  <a:pt x="300169" y="175690"/>
                </a:lnTo>
                <a:close/>
              </a:path>
              <a:path w="476250" h="474980">
                <a:moveTo>
                  <a:pt x="335763" y="140077"/>
                </a:moveTo>
                <a:lnTo>
                  <a:pt x="319153" y="156696"/>
                </a:lnTo>
                <a:lnTo>
                  <a:pt x="339322" y="176877"/>
                </a:lnTo>
                <a:lnTo>
                  <a:pt x="320339" y="195870"/>
                </a:lnTo>
                <a:lnTo>
                  <a:pt x="370170" y="195870"/>
                </a:lnTo>
                <a:lnTo>
                  <a:pt x="398644" y="167380"/>
                </a:lnTo>
                <a:lnTo>
                  <a:pt x="439889" y="167380"/>
                </a:lnTo>
                <a:lnTo>
                  <a:pt x="440170" y="165970"/>
                </a:lnTo>
                <a:lnTo>
                  <a:pt x="439013" y="160257"/>
                </a:lnTo>
                <a:lnTo>
                  <a:pt x="355932" y="160257"/>
                </a:lnTo>
                <a:lnTo>
                  <a:pt x="335763" y="140077"/>
                </a:lnTo>
                <a:close/>
              </a:path>
              <a:path w="476250" h="474980">
                <a:moveTo>
                  <a:pt x="439889" y="167380"/>
                </a:moveTo>
                <a:lnTo>
                  <a:pt x="398644" y="167380"/>
                </a:lnTo>
                <a:lnTo>
                  <a:pt x="413475" y="182219"/>
                </a:lnTo>
                <a:lnTo>
                  <a:pt x="418220" y="183999"/>
                </a:lnTo>
                <a:lnTo>
                  <a:pt x="426526" y="183999"/>
                </a:lnTo>
                <a:lnTo>
                  <a:pt x="431271" y="182219"/>
                </a:lnTo>
                <a:lnTo>
                  <a:pt x="434831" y="178657"/>
                </a:lnTo>
                <a:lnTo>
                  <a:pt x="438835" y="172675"/>
                </a:lnTo>
                <a:lnTo>
                  <a:pt x="439889" y="167380"/>
                </a:lnTo>
                <a:close/>
              </a:path>
              <a:path w="476250" h="474980">
                <a:moveTo>
                  <a:pt x="415254" y="102090"/>
                </a:moveTo>
                <a:lnTo>
                  <a:pt x="333390" y="102090"/>
                </a:lnTo>
                <a:lnTo>
                  <a:pt x="373729" y="142451"/>
                </a:lnTo>
                <a:lnTo>
                  <a:pt x="355932" y="160257"/>
                </a:lnTo>
                <a:lnTo>
                  <a:pt x="439013" y="160257"/>
                </a:lnTo>
                <a:lnTo>
                  <a:pt x="438835" y="159376"/>
                </a:lnTo>
                <a:lnTo>
                  <a:pt x="434831" y="153728"/>
                </a:lnTo>
                <a:lnTo>
                  <a:pt x="399237" y="118115"/>
                </a:lnTo>
                <a:lnTo>
                  <a:pt x="415254" y="102090"/>
                </a:lnTo>
                <a:close/>
              </a:path>
              <a:path w="476250" h="474980">
                <a:moveTo>
                  <a:pt x="475280" y="86657"/>
                </a:moveTo>
                <a:lnTo>
                  <a:pt x="430678" y="86657"/>
                </a:lnTo>
                <a:lnTo>
                  <a:pt x="449068" y="105057"/>
                </a:lnTo>
                <a:lnTo>
                  <a:pt x="453814" y="106838"/>
                </a:lnTo>
                <a:lnTo>
                  <a:pt x="462119" y="106838"/>
                </a:lnTo>
                <a:lnTo>
                  <a:pt x="466865" y="105057"/>
                </a:lnTo>
                <a:lnTo>
                  <a:pt x="470424" y="101496"/>
                </a:lnTo>
                <a:lnTo>
                  <a:pt x="474428" y="95598"/>
                </a:lnTo>
                <a:lnTo>
                  <a:pt x="475763" y="89032"/>
                </a:lnTo>
                <a:lnTo>
                  <a:pt x="475280" y="86657"/>
                </a:lnTo>
                <a:close/>
              </a:path>
              <a:path w="476250" h="474980">
                <a:moveTo>
                  <a:pt x="386557" y="0"/>
                </a:moveTo>
                <a:lnTo>
                  <a:pt x="379967" y="1335"/>
                </a:lnTo>
                <a:lnTo>
                  <a:pt x="374322" y="5341"/>
                </a:lnTo>
                <a:lnTo>
                  <a:pt x="370318" y="11323"/>
                </a:lnTo>
                <a:lnTo>
                  <a:pt x="368983" y="18029"/>
                </a:lnTo>
                <a:lnTo>
                  <a:pt x="370318" y="24622"/>
                </a:lnTo>
                <a:lnTo>
                  <a:pt x="374322" y="30270"/>
                </a:lnTo>
                <a:lnTo>
                  <a:pt x="389153" y="45109"/>
                </a:lnTo>
                <a:lnTo>
                  <a:pt x="357712" y="76567"/>
                </a:lnTo>
                <a:lnTo>
                  <a:pt x="470424" y="76567"/>
                </a:lnTo>
                <a:lnTo>
                  <a:pt x="399237" y="5341"/>
                </a:lnTo>
                <a:lnTo>
                  <a:pt x="393259" y="1335"/>
                </a:lnTo>
                <a:lnTo>
                  <a:pt x="386557" y="0"/>
                </a:lnTo>
                <a:close/>
              </a:path>
            </a:pathLst>
          </a:custGeom>
          <a:solidFill>
            <a:srgbClr val="3D9B6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6" name="object 36"/>
          <p:cNvSpPr/>
          <p:nvPr/>
        </p:nvSpPr>
        <p:spPr>
          <a:xfrm>
            <a:off x="3727170" y="3687889"/>
            <a:ext cx="550545" cy="518159"/>
          </a:xfrm>
          <a:custGeom>
            <a:avLst/>
            <a:gdLst/>
            <a:ahLst/>
            <a:cxnLst/>
            <a:rect l="l" t="t" r="r" b="b"/>
            <a:pathLst>
              <a:path w="550545" h="518160">
                <a:moveTo>
                  <a:pt x="230162" y="294398"/>
                </a:moveTo>
                <a:lnTo>
                  <a:pt x="228384" y="288455"/>
                </a:lnTo>
                <a:lnTo>
                  <a:pt x="226606" y="281927"/>
                </a:lnTo>
                <a:lnTo>
                  <a:pt x="220078" y="278371"/>
                </a:lnTo>
                <a:lnTo>
                  <a:pt x="214147" y="280149"/>
                </a:lnTo>
                <a:lnTo>
                  <a:pt x="159575" y="294398"/>
                </a:lnTo>
                <a:lnTo>
                  <a:pt x="195465" y="274802"/>
                </a:lnTo>
                <a:lnTo>
                  <a:pt x="211772" y="265899"/>
                </a:lnTo>
                <a:lnTo>
                  <a:pt x="217703" y="262940"/>
                </a:lnTo>
                <a:lnTo>
                  <a:pt x="219494" y="255816"/>
                </a:lnTo>
                <a:lnTo>
                  <a:pt x="213550" y="243941"/>
                </a:lnTo>
                <a:lnTo>
                  <a:pt x="206438" y="242163"/>
                </a:lnTo>
                <a:lnTo>
                  <a:pt x="200507" y="245122"/>
                </a:lnTo>
                <a:lnTo>
                  <a:pt x="144741" y="274802"/>
                </a:lnTo>
                <a:lnTo>
                  <a:pt x="148107" y="271843"/>
                </a:lnTo>
                <a:lnTo>
                  <a:pt x="194576" y="230886"/>
                </a:lnTo>
                <a:lnTo>
                  <a:pt x="195072" y="224358"/>
                </a:lnTo>
                <a:lnTo>
                  <a:pt x="195160" y="223164"/>
                </a:lnTo>
                <a:lnTo>
                  <a:pt x="186855" y="213664"/>
                </a:lnTo>
                <a:lnTo>
                  <a:pt x="179146" y="213080"/>
                </a:lnTo>
                <a:lnTo>
                  <a:pt x="119824" y="264718"/>
                </a:lnTo>
                <a:lnTo>
                  <a:pt x="112115" y="268274"/>
                </a:lnTo>
                <a:lnTo>
                  <a:pt x="104406" y="270649"/>
                </a:lnTo>
                <a:lnTo>
                  <a:pt x="96697" y="271843"/>
                </a:lnTo>
                <a:lnTo>
                  <a:pt x="96697" y="271246"/>
                </a:lnTo>
                <a:lnTo>
                  <a:pt x="97282" y="271246"/>
                </a:lnTo>
                <a:lnTo>
                  <a:pt x="103022" y="258241"/>
                </a:lnTo>
                <a:lnTo>
                  <a:pt x="106578" y="245122"/>
                </a:lnTo>
                <a:lnTo>
                  <a:pt x="106705" y="244678"/>
                </a:lnTo>
                <a:lnTo>
                  <a:pt x="108051" y="231343"/>
                </a:lnTo>
                <a:lnTo>
                  <a:pt x="106781" y="219011"/>
                </a:lnTo>
                <a:lnTo>
                  <a:pt x="105714" y="213664"/>
                </a:lnTo>
                <a:lnTo>
                  <a:pt x="105587" y="213080"/>
                </a:lnTo>
                <a:lnTo>
                  <a:pt x="99060" y="209511"/>
                </a:lnTo>
                <a:lnTo>
                  <a:pt x="87198" y="211886"/>
                </a:lnTo>
                <a:lnTo>
                  <a:pt x="83642" y="218414"/>
                </a:lnTo>
                <a:lnTo>
                  <a:pt x="84823" y="224358"/>
                </a:lnTo>
                <a:lnTo>
                  <a:pt x="84797" y="230886"/>
                </a:lnTo>
                <a:lnTo>
                  <a:pt x="82600" y="238302"/>
                </a:lnTo>
                <a:lnTo>
                  <a:pt x="78816" y="246722"/>
                </a:lnTo>
                <a:lnTo>
                  <a:pt x="74155" y="255816"/>
                </a:lnTo>
                <a:lnTo>
                  <a:pt x="67856" y="267931"/>
                </a:lnTo>
                <a:lnTo>
                  <a:pt x="62064" y="281114"/>
                </a:lnTo>
                <a:lnTo>
                  <a:pt x="57708" y="295287"/>
                </a:lnTo>
                <a:lnTo>
                  <a:pt x="55765" y="310413"/>
                </a:lnTo>
                <a:lnTo>
                  <a:pt x="0" y="340690"/>
                </a:lnTo>
                <a:lnTo>
                  <a:pt x="24917" y="386397"/>
                </a:lnTo>
                <a:lnTo>
                  <a:pt x="83642" y="354939"/>
                </a:lnTo>
                <a:lnTo>
                  <a:pt x="100088" y="359244"/>
                </a:lnTo>
                <a:lnTo>
                  <a:pt x="119976" y="356044"/>
                </a:lnTo>
                <a:lnTo>
                  <a:pt x="123088" y="354939"/>
                </a:lnTo>
                <a:lnTo>
                  <a:pt x="139204" y="349173"/>
                </a:lnTo>
                <a:lnTo>
                  <a:pt x="153644" y="342468"/>
                </a:lnTo>
                <a:lnTo>
                  <a:pt x="205257" y="343065"/>
                </a:lnTo>
                <a:lnTo>
                  <a:pt x="211772" y="343065"/>
                </a:lnTo>
                <a:lnTo>
                  <a:pt x="212369" y="342468"/>
                </a:lnTo>
                <a:lnTo>
                  <a:pt x="217119" y="337718"/>
                </a:lnTo>
                <a:lnTo>
                  <a:pt x="217119" y="324662"/>
                </a:lnTo>
                <a:lnTo>
                  <a:pt x="211772" y="319316"/>
                </a:lnTo>
                <a:lnTo>
                  <a:pt x="205257" y="319316"/>
                </a:lnTo>
                <a:lnTo>
                  <a:pt x="157200" y="318731"/>
                </a:lnTo>
                <a:lnTo>
                  <a:pt x="220078" y="302704"/>
                </a:lnTo>
                <a:lnTo>
                  <a:pt x="226606" y="300926"/>
                </a:lnTo>
                <a:lnTo>
                  <a:pt x="230162" y="294398"/>
                </a:lnTo>
                <a:close/>
              </a:path>
              <a:path w="550545" h="518160">
                <a:moveTo>
                  <a:pt x="295414" y="147193"/>
                </a:moveTo>
                <a:lnTo>
                  <a:pt x="294233" y="139471"/>
                </a:lnTo>
                <a:lnTo>
                  <a:pt x="268427" y="122262"/>
                </a:lnTo>
                <a:lnTo>
                  <a:pt x="228384" y="95554"/>
                </a:lnTo>
                <a:lnTo>
                  <a:pt x="223050" y="89027"/>
                </a:lnTo>
                <a:lnTo>
                  <a:pt x="218897" y="81902"/>
                </a:lnTo>
                <a:lnTo>
                  <a:pt x="215341" y="75374"/>
                </a:lnTo>
                <a:lnTo>
                  <a:pt x="215925" y="75374"/>
                </a:lnTo>
                <a:lnTo>
                  <a:pt x="229679" y="77558"/>
                </a:lnTo>
                <a:lnTo>
                  <a:pt x="243662" y="77749"/>
                </a:lnTo>
                <a:lnTo>
                  <a:pt x="275844" y="61722"/>
                </a:lnTo>
                <a:lnTo>
                  <a:pt x="271437" y="53771"/>
                </a:lnTo>
                <a:lnTo>
                  <a:pt x="269913" y="51041"/>
                </a:lnTo>
                <a:lnTo>
                  <a:pt x="263385" y="49263"/>
                </a:lnTo>
                <a:lnTo>
                  <a:pt x="258051" y="52222"/>
                </a:lnTo>
                <a:lnTo>
                  <a:pt x="252018" y="53771"/>
                </a:lnTo>
                <a:lnTo>
                  <a:pt x="244106" y="53492"/>
                </a:lnTo>
                <a:lnTo>
                  <a:pt x="234861" y="51981"/>
                </a:lnTo>
                <a:lnTo>
                  <a:pt x="224828" y="49847"/>
                </a:lnTo>
                <a:lnTo>
                  <a:pt x="211416" y="46786"/>
                </a:lnTo>
                <a:lnTo>
                  <a:pt x="208292" y="46291"/>
                </a:lnTo>
                <a:lnTo>
                  <a:pt x="197167" y="44513"/>
                </a:lnTo>
                <a:lnTo>
                  <a:pt x="182372" y="44005"/>
                </a:lnTo>
                <a:lnTo>
                  <a:pt x="167284" y="46291"/>
                </a:lnTo>
                <a:lnTo>
                  <a:pt x="123977" y="0"/>
                </a:lnTo>
                <a:lnTo>
                  <a:pt x="86017" y="35610"/>
                </a:lnTo>
                <a:lnTo>
                  <a:pt x="131686" y="84277"/>
                </a:lnTo>
                <a:lnTo>
                  <a:pt x="130556" y="101561"/>
                </a:lnTo>
                <a:lnTo>
                  <a:pt x="138137" y="120192"/>
                </a:lnTo>
                <a:lnTo>
                  <a:pt x="149631" y="137033"/>
                </a:lnTo>
                <a:lnTo>
                  <a:pt x="160172" y="148971"/>
                </a:lnTo>
                <a:lnTo>
                  <a:pt x="172618" y="198831"/>
                </a:lnTo>
                <a:lnTo>
                  <a:pt x="173812" y="204177"/>
                </a:lnTo>
                <a:lnTo>
                  <a:pt x="178562" y="207733"/>
                </a:lnTo>
                <a:lnTo>
                  <a:pt x="185674" y="207733"/>
                </a:lnTo>
                <a:lnTo>
                  <a:pt x="186855" y="207137"/>
                </a:lnTo>
                <a:lnTo>
                  <a:pt x="193382" y="205359"/>
                </a:lnTo>
                <a:lnTo>
                  <a:pt x="196951" y="199428"/>
                </a:lnTo>
                <a:lnTo>
                  <a:pt x="195757" y="192900"/>
                </a:lnTo>
                <a:lnTo>
                  <a:pt x="184492" y="146011"/>
                </a:lnTo>
                <a:lnTo>
                  <a:pt x="215925" y="202387"/>
                </a:lnTo>
                <a:lnTo>
                  <a:pt x="218300" y="206552"/>
                </a:lnTo>
                <a:lnTo>
                  <a:pt x="221856" y="208330"/>
                </a:lnTo>
                <a:lnTo>
                  <a:pt x="228384" y="208330"/>
                </a:lnTo>
                <a:lnTo>
                  <a:pt x="230759" y="207733"/>
                </a:lnTo>
                <a:lnTo>
                  <a:pt x="232537" y="206552"/>
                </a:lnTo>
                <a:lnTo>
                  <a:pt x="238467" y="203581"/>
                </a:lnTo>
                <a:lnTo>
                  <a:pt x="240245" y="195859"/>
                </a:lnTo>
                <a:lnTo>
                  <a:pt x="212623" y="146011"/>
                </a:lnTo>
                <a:lnTo>
                  <a:pt x="209994" y="141262"/>
                </a:lnTo>
                <a:lnTo>
                  <a:pt x="250329" y="184581"/>
                </a:lnTo>
                <a:lnTo>
                  <a:pt x="252704" y="186956"/>
                </a:lnTo>
                <a:lnTo>
                  <a:pt x="255676" y="188150"/>
                </a:lnTo>
                <a:lnTo>
                  <a:pt x="262204" y="188150"/>
                </a:lnTo>
                <a:lnTo>
                  <a:pt x="265163" y="186956"/>
                </a:lnTo>
                <a:lnTo>
                  <a:pt x="267538" y="185178"/>
                </a:lnTo>
                <a:lnTo>
                  <a:pt x="272288" y="180428"/>
                </a:lnTo>
                <a:lnTo>
                  <a:pt x="272288" y="173304"/>
                </a:lnTo>
                <a:lnTo>
                  <a:pt x="268135" y="168567"/>
                </a:lnTo>
                <a:lnTo>
                  <a:pt x="242595" y="141262"/>
                </a:lnTo>
                <a:lnTo>
                  <a:pt x="224828" y="122262"/>
                </a:lnTo>
                <a:lnTo>
                  <a:pt x="277025" y="157289"/>
                </a:lnTo>
                <a:lnTo>
                  <a:pt x="279400" y="157873"/>
                </a:lnTo>
                <a:lnTo>
                  <a:pt x="285330" y="157873"/>
                </a:lnTo>
                <a:lnTo>
                  <a:pt x="289483" y="156095"/>
                </a:lnTo>
                <a:lnTo>
                  <a:pt x="295414" y="147193"/>
                </a:lnTo>
                <a:close/>
              </a:path>
              <a:path w="550545" h="518160">
                <a:moveTo>
                  <a:pt x="366014" y="331787"/>
                </a:moveTo>
                <a:lnTo>
                  <a:pt x="364236" y="324662"/>
                </a:lnTo>
                <a:lnTo>
                  <a:pt x="352374" y="318731"/>
                </a:lnTo>
                <a:lnTo>
                  <a:pt x="345249" y="320509"/>
                </a:lnTo>
                <a:lnTo>
                  <a:pt x="342290" y="326440"/>
                </a:lnTo>
                <a:lnTo>
                  <a:pt x="318554" y="368592"/>
                </a:lnTo>
                <a:lnTo>
                  <a:pt x="321106" y="358495"/>
                </a:lnTo>
                <a:lnTo>
                  <a:pt x="322148" y="354342"/>
                </a:lnTo>
                <a:lnTo>
                  <a:pt x="334568" y="305079"/>
                </a:lnTo>
                <a:lnTo>
                  <a:pt x="336346" y="298551"/>
                </a:lnTo>
                <a:lnTo>
                  <a:pt x="332206" y="292023"/>
                </a:lnTo>
                <a:lnTo>
                  <a:pt x="325678" y="290830"/>
                </a:lnTo>
                <a:lnTo>
                  <a:pt x="319151" y="289052"/>
                </a:lnTo>
                <a:lnTo>
                  <a:pt x="312623" y="293204"/>
                </a:lnTo>
                <a:lnTo>
                  <a:pt x="311442" y="299732"/>
                </a:lnTo>
                <a:lnTo>
                  <a:pt x="297789" y="354342"/>
                </a:lnTo>
                <a:lnTo>
                  <a:pt x="297789" y="288455"/>
                </a:lnTo>
                <a:lnTo>
                  <a:pt x="292455" y="283121"/>
                </a:lnTo>
                <a:lnTo>
                  <a:pt x="279400" y="283121"/>
                </a:lnTo>
                <a:lnTo>
                  <a:pt x="274066" y="288455"/>
                </a:lnTo>
                <a:lnTo>
                  <a:pt x="274066" y="358495"/>
                </a:lnTo>
                <a:lnTo>
                  <a:pt x="260426" y="299732"/>
                </a:lnTo>
                <a:lnTo>
                  <a:pt x="259232" y="293204"/>
                </a:lnTo>
                <a:lnTo>
                  <a:pt x="252704" y="289648"/>
                </a:lnTo>
                <a:lnTo>
                  <a:pt x="239661" y="292023"/>
                </a:lnTo>
                <a:lnTo>
                  <a:pt x="236093" y="298551"/>
                </a:lnTo>
                <a:lnTo>
                  <a:pt x="237286" y="305079"/>
                </a:lnTo>
                <a:lnTo>
                  <a:pt x="253898" y="375704"/>
                </a:lnTo>
                <a:lnTo>
                  <a:pt x="253301" y="384022"/>
                </a:lnTo>
                <a:lnTo>
                  <a:pt x="251523" y="392328"/>
                </a:lnTo>
                <a:lnTo>
                  <a:pt x="249745" y="399453"/>
                </a:lnTo>
                <a:lnTo>
                  <a:pt x="249745" y="398856"/>
                </a:lnTo>
                <a:lnTo>
                  <a:pt x="249148" y="398856"/>
                </a:lnTo>
                <a:lnTo>
                  <a:pt x="219202" y="370395"/>
                </a:lnTo>
                <a:lnTo>
                  <a:pt x="201688" y="363842"/>
                </a:lnTo>
                <a:lnTo>
                  <a:pt x="195757" y="367398"/>
                </a:lnTo>
                <a:lnTo>
                  <a:pt x="192201" y="379272"/>
                </a:lnTo>
                <a:lnTo>
                  <a:pt x="195757" y="385203"/>
                </a:lnTo>
                <a:lnTo>
                  <a:pt x="201688" y="386981"/>
                </a:lnTo>
                <a:lnTo>
                  <a:pt x="207378" y="389966"/>
                </a:lnTo>
                <a:lnTo>
                  <a:pt x="212966" y="395668"/>
                </a:lnTo>
                <a:lnTo>
                  <a:pt x="218541" y="403263"/>
                </a:lnTo>
                <a:lnTo>
                  <a:pt x="224231" y="411911"/>
                </a:lnTo>
                <a:lnTo>
                  <a:pt x="231851" y="423341"/>
                </a:lnTo>
                <a:lnTo>
                  <a:pt x="240690" y="434771"/>
                </a:lnTo>
                <a:lnTo>
                  <a:pt x="251091" y="445300"/>
                </a:lnTo>
                <a:lnTo>
                  <a:pt x="263385" y="454063"/>
                </a:lnTo>
                <a:lnTo>
                  <a:pt x="263385" y="517563"/>
                </a:lnTo>
                <a:lnTo>
                  <a:pt x="315595" y="517563"/>
                </a:lnTo>
                <a:lnTo>
                  <a:pt x="315595" y="450494"/>
                </a:lnTo>
                <a:lnTo>
                  <a:pt x="327291" y="437832"/>
                </a:lnTo>
                <a:lnTo>
                  <a:pt x="336931" y="399453"/>
                </a:lnTo>
                <a:lnTo>
                  <a:pt x="337781" y="387743"/>
                </a:lnTo>
                <a:lnTo>
                  <a:pt x="337832" y="386981"/>
                </a:lnTo>
                <a:lnTo>
                  <a:pt x="337947" y="385203"/>
                </a:lnTo>
                <a:lnTo>
                  <a:pt x="338023" y="384022"/>
                </a:lnTo>
                <a:lnTo>
                  <a:pt x="338137" y="382244"/>
                </a:lnTo>
                <a:lnTo>
                  <a:pt x="345770" y="368592"/>
                </a:lnTo>
                <a:lnTo>
                  <a:pt x="363042" y="337718"/>
                </a:lnTo>
                <a:lnTo>
                  <a:pt x="366014" y="331787"/>
                </a:lnTo>
                <a:close/>
              </a:path>
              <a:path w="550545" h="518160">
                <a:moveTo>
                  <a:pt x="495338" y="34417"/>
                </a:moveTo>
                <a:lnTo>
                  <a:pt x="456184" y="0"/>
                </a:lnTo>
                <a:lnTo>
                  <a:pt x="412280" y="50444"/>
                </a:lnTo>
                <a:lnTo>
                  <a:pt x="395135" y="52260"/>
                </a:lnTo>
                <a:lnTo>
                  <a:pt x="377431" y="62318"/>
                </a:lnTo>
                <a:lnTo>
                  <a:pt x="361734" y="75488"/>
                </a:lnTo>
                <a:lnTo>
                  <a:pt x="350596" y="86652"/>
                </a:lnTo>
                <a:lnTo>
                  <a:pt x="301942" y="103860"/>
                </a:lnTo>
                <a:lnTo>
                  <a:pt x="296011" y="106235"/>
                </a:lnTo>
                <a:lnTo>
                  <a:pt x="292455" y="112763"/>
                </a:lnTo>
                <a:lnTo>
                  <a:pt x="294830" y="119291"/>
                </a:lnTo>
                <a:lnTo>
                  <a:pt x="297205" y="125234"/>
                </a:lnTo>
                <a:lnTo>
                  <a:pt x="301942" y="128193"/>
                </a:lnTo>
                <a:lnTo>
                  <a:pt x="309067" y="128193"/>
                </a:lnTo>
                <a:lnTo>
                  <a:pt x="310845" y="127609"/>
                </a:lnTo>
                <a:lnTo>
                  <a:pt x="355930" y="111582"/>
                </a:lnTo>
                <a:lnTo>
                  <a:pt x="302539" y="148386"/>
                </a:lnTo>
                <a:lnTo>
                  <a:pt x="297205" y="151942"/>
                </a:lnTo>
                <a:lnTo>
                  <a:pt x="296075" y="159283"/>
                </a:lnTo>
                <a:lnTo>
                  <a:pt x="296011" y="159664"/>
                </a:lnTo>
                <a:lnTo>
                  <a:pt x="301942" y="168567"/>
                </a:lnTo>
                <a:lnTo>
                  <a:pt x="305511" y="170345"/>
                </a:lnTo>
                <a:lnTo>
                  <a:pt x="311442" y="170345"/>
                </a:lnTo>
                <a:lnTo>
                  <a:pt x="313804" y="169748"/>
                </a:lnTo>
                <a:lnTo>
                  <a:pt x="315595" y="167970"/>
                </a:lnTo>
                <a:lnTo>
                  <a:pt x="361861" y="135915"/>
                </a:lnTo>
                <a:lnTo>
                  <a:pt x="318554" y="185178"/>
                </a:lnTo>
                <a:lnTo>
                  <a:pt x="319011" y="191122"/>
                </a:lnTo>
                <a:lnTo>
                  <a:pt x="319100" y="192303"/>
                </a:lnTo>
                <a:lnTo>
                  <a:pt x="319151" y="192900"/>
                </a:lnTo>
                <a:lnTo>
                  <a:pt x="323900" y="197053"/>
                </a:lnTo>
                <a:lnTo>
                  <a:pt x="326263" y="198831"/>
                </a:lnTo>
                <a:lnTo>
                  <a:pt x="328637" y="200025"/>
                </a:lnTo>
                <a:lnTo>
                  <a:pt x="335165" y="200025"/>
                </a:lnTo>
                <a:lnTo>
                  <a:pt x="338137" y="198831"/>
                </a:lnTo>
                <a:lnTo>
                  <a:pt x="340499" y="195859"/>
                </a:lnTo>
                <a:lnTo>
                  <a:pt x="382625" y="147789"/>
                </a:lnTo>
                <a:lnTo>
                  <a:pt x="354152" y="201206"/>
                </a:lnTo>
                <a:lnTo>
                  <a:pt x="351180" y="207137"/>
                </a:lnTo>
                <a:lnTo>
                  <a:pt x="352958" y="214261"/>
                </a:lnTo>
                <a:lnTo>
                  <a:pt x="358889" y="217233"/>
                </a:lnTo>
                <a:lnTo>
                  <a:pt x="360680" y="218414"/>
                </a:lnTo>
                <a:lnTo>
                  <a:pt x="368388" y="218414"/>
                </a:lnTo>
                <a:lnTo>
                  <a:pt x="372541" y="216039"/>
                </a:lnTo>
                <a:lnTo>
                  <a:pt x="374916" y="211886"/>
                </a:lnTo>
                <a:lnTo>
                  <a:pt x="409321" y="147789"/>
                </a:lnTo>
                <a:lnTo>
                  <a:pt x="415251" y="141846"/>
                </a:lnTo>
                <a:lnTo>
                  <a:pt x="421779" y="137109"/>
                </a:lnTo>
                <a:lnTo>
                  <a:pt x="423646" y="135915"/>
                </a:lnTo>
                <a:lnTo>
                  <a:pt x="428307" y="132943"/>
                </a:lnTo>
                <a:lnTo>
                  <a:pt x="428307" y="133540"/>
                </a:lnTo>
                <a:lnTo>
                  <a:pt x="427532" y="147624"/>
                </a:lnTo>
                <a:lnTo>
                  <a:pt x="428815" y="161658"/>
                </a:lnTo>
                <a:lnTo>
                  <a:pt x="432219" y="174688"/>
                </a:lnTo>
                <a:lnTo>
                  <a:pt x="437794" y="185775"/>
                </a:lnTo>
                <a:lnTo>
                  <a:pt x="441350" y="191122"/>
                </a:lnTo>
                <a:lnTo>
                  <a:pt x="447878" y="192303"/>
                </a:lnTo>
                <a:lnTo>
                  <a:pt x="458558" y="185178"/>
                </a:lnTo>
                <a:lnTo>
                  <a:pt x="459740" y="178650"/>
                </a:lnTo>
                <a:lnTo>
                  <a:pt x="456184" y="173304"/>
                </a:lnTo>
                <a:lnTo>
                  <a:pt x="454088" y="167271"/>
                </a:lnTo>
                <a:lnTo>
                  <a:pt x="453783" y="161658"/>
                </a:lnTo>
                <a:lnTo>
                  <a:pt x="453656" y="159283"/>
                </a:lnTo>
                <a:lnTo>
                  <a:pt x="454342" y="149860"/>
                </a:lnTo>
                <a:lnTo>
                  <a:pt x="456323" y="133540"/>
                </a:lnTo>
                <a:lnTo>
                  <a:pt x="456387" y="132943"/>
                </a:lnTo>
                <a:lnTo>
                  <a:pt x="457225" y="125971"/>
                </a:lnTo>
                <a:lnTo>
                  <a:pt x="457974" y="112763"/>
                </a:lnTo>
                <a:lnTo>
                  <a:pt x="458038" y="111582"/>
                </a:lnTo>
                <a:lnTo>
                  <a:pt x="457174" y="96735"/>
                </a:lnTo>
                <a:lnTo>
                  <a:pt x="453809" y="81902"/>
                </a:lnTo>
                <a:lnTo>
                  <a:pt x="495338" y="34417"/>
                </a:lnTo>
                <a:close/>
              </a:path>
              <a:path w="550545" h="518160">
                <a:moveTo>
                  <a:pt x="550506" y="382244"/>
                </a:moveTo>
                <a:lnTo>
                  <a:pt x="540727" y="371551"/>
                </a:lnTo>
                <a:lnTo>
                  <a:pt x="532803" y="362889"/>
                </a:lnTo>
                <a:lnTo>
                  <a:pt x="512483" y="340690"/>
                </a:lnTo>
                <a:lnTo>
                  <a:pt x="505421" y="332968"/>
                </a:lnTo>
                <a:lnTo>
                  <a:pt x="505536" y="315683"/>
                </a:lnTo>
                <a:lnTo>
                  <a:pt x="497484" y="296989"/>
                </a:lnTo>
                <a:lnTo>
                  <a:pt x="495325" y="293801"/>
                </a:lnTo>
                <a:lnTo>
                  <a:pt x="485978" y="279971"/>
                </a:lnTo>
                <a:lnTo>
                  <a:pt x="481190" y="274218"/>
                </a:lnTo>
                <a:lnTo>
                  <a:pt x="477735" y="270052"/>
                </a:lnTo>
                <a:lnTo>
                  <a:pt x="475754" y="267677"/>
                </a:lnTo>
                <a:lnTo>
                  <a:pt x="463892" y="217830"/>
                </a:lnTo>
                <a:lnTo>
                  <a:pt x="462114" y="211302"/>
                </a:lnTo>
                <a:lnTo>
                  <a:pt x="456184" y="207733"/>
                </a:lnTo>
                <a:lnTo>
                  <a:pt x="449656" y="208927"/>
                </a:lnTo>
                <a:lnTo>
                  <a:pt x="443128" y="210705"/>
                </a:lnTo>
                <a:lnTo>
                  <a:pt x="439572" y="216636"/>
                </a:lnTo>
                <a:lnTo>
                  <a:pt x="440766" y="223164"/>
                </a:lnTo>
                <a:lnTo>
                  <a:pt x="452031" y="270052"/>
                </a:lnTo>
                <a:lnTo>
                  <a:pt x="420585" y="213080"/>
                </a:lnTo>
                <a:lnTo>
                  <a:pt x="417626" y="207137"/>
                </a:lnTo>
                <a:lnTo>
                  <a:pt x="410502" y="205359"/>
                </a:lnTo>
                <a:lnTo>
                  <a:pt x="398640" y="211302"/>
                </a:lnTo>
                <a:lnTo>
                  <a:pt x="396862" y="218414"/>
                </a:lnTo>
                <a:lnTo>
                  <a:pt x="399821" y="224358"/>
                </a:lnTo>
                <a:lnTo>
                  <a:pt x="427113" y="274218"/>
                </a:lnTo>
                <a:lnTo>
                  <a:pt x="386778" y="230886"/>
                </a:lnTo>
                <a:lnTo>
                  <a:pt x="382028" y="226136"/>
                </a:lnTo>
                <a:lnTo>
                  <a:pt x="374916" y="225539"/>
                </a:lnTo>
                <a:lnTo>
                  <a:pt x="365417" y="235038"/>
                </a:lnTo>
                <a:lnTo>
                  <a:pt x="364832" y="242163"/>
                </a:lnTo>
                <a:lnTo>
                  <a:pt x="369570" y="246913"/>
                </a:lnTo>
                <a:lnTo>
                  <a:pt x="412877" y="293801"/>
                </a:lnTo>
                <a:lnTo>
                  <a:pt x="363042" y="259969"/>
                </a:lnTo>
                <a:lnTo>
                  <a:pt x="357708" y="256400"/>
                </a:lnTo>
                <a:lnTo>
                  <a:pt x="349999" y="257594"/>
                </a:lnTo>
                <a:lnTo>
                  <a:pt x="342874" y="268274"/>
                </a:lnTo>
                <a:lnTo>
                  <a:pt x="344068" y="275996"/>
                </a:lnTo>
                <a:lnTo>
                  <a:pt x="349402" y="279552"/>
                </a:lnTo>
                <a:lnTo>
                  <a:pt x="409321" y="320509"/>
                </a:lnTo>
                <a:lnTo>
                  <a:pt x="414655" y="327037"/>
                </a:lnTo>
                <a:lnTo>
                  <a:pt x="418807" y="334162"/>
                </a:lnTo>
                <a:lnTo>
                  <a:pt x="422363" y="340690"/>
                </a:lnTo>
                <a:lnTo>
                  <a:pt x="421779" y="340690"/>
                </a:lnTo>
                <a:lnTo>
                  <a:pt x="408025" y="338505"/>
                </a:lnTo>
                <a:lnTo>
                  <a:pt x="394042" y="338315"/>
                </a:lnTo>
                <a:lnTo>
                  <a:pt x="380733" y="340360"/>
                </a:lnTo>
                <a:lnTo>
                  <a:pt x="368985" y="344843"/>
                </a:lnTo>
                <a:lnTo>
                  <a:pt x="363639" y="347814"/>
                </a:lnTo>
                <a:lnTo>
                  <a:pt x="361264" y="354342"/>
                </a:lnTo>
                <a:lnTo>
                  <a:pt x="367195" y="365023"/>
                </a:lnTo>
                <a:lnTo>
                  <a:pt x="373722" y="367398"/>
                </a:lnTo>
                <a:lnTo>
                  <a:pt x="379069" y="364426"/>
                </a:lnTo>
                <a:lnTo>
                  <a:pt x="385089" y="362889"/>
                </a:lnTo>
                <a:lnTo>
                  <a:pt x="393001" y="363245"/>
                </a:lnTo>
                <a:lnTo>
                  <a:pt x="402767" y="365023"/>
                </a:lnTo>
                <a:lnTo>
                  <a:pt x="402628" y="365023"/>
                </a:lnTo>
                <a:lnTo>
                  <a:pt x="412280" y="367398"/>
                </a:lnTo>
                <a:lnTo>
                  <a:pt x="425704" y="370471"/>
                </a:lnTo>
                <a:lnTo>
                  <a:pt x="439940" y="372821"/>
                </a:lnTo>
                <a:lnTo>
                  <a:pt x="454748" y="373494"/>
                </a:lnTo>
                <a:lnTo>
                  <a:pt x="469823" y="371551"/>
                </a:lnTo>
                <a:lnTo>
                  <a:pt x="512533" y="417855"/>
                </a:lnTo>
                <a:lnTo>
                  <a:pt x="550506" y="382244"/>
                </a:lnTo>
                <a:close/>
              </a:path>
            </a:pathLst>
          </a:custGeom>
          <a:solidFill>
            <a:srgbClr val="3D9B6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7" name="object 37"/>
          <p:cNvSpPr txBox="1"/>
          <p:nvPr/>
        </p:nvSpPr>
        <p:spPr>
          <a:xfrm>
            <a:off x="515937" y="1609928"/>
            <a:ext cx="2642870" cy="4441190"/>
          </a:xfrm>
          <a:prstGeom prst="rect">
            <a:avLst/>
          </a:prstGeom>
          <a:solidFill>
            <a:srgbClr val="F1F1F1"/>
          </a:solidFill>
        </p:spPr>
        <p:txBody>
          <a:bodyPr vert="horz" wrap="square" lIns="0" tIns="74295" rIns="0" bIns="0" rtlCol="0">
            <a:spAutoFit/>
          </a:bodyPr>
          <a:lstStyle/>
          <a:p>
            <a:pPr marL="242570" marR="33020" lvl="0" indent="-171450" defTabSz="914400" eaLnBrk="1" fontAlgn="auto" latinLnBrk="0" hangingPunct="1">
              <a:lnSpc>
                <a:spcPct val="100000"/>
              </a:lnSpc>
              <a:spcBef>
                <a:spcPts val="585"/>
              </a:spcBef>
              <a:spcAft>
                <a:spcPts val="0"/>
              </a:spcAft>
              <a:buClrTx/>
              <a:buSzTx/>
              <a:buFontTx/>
              <a:buChar char="•"/>
              <a:tabLst>
                <a:tab pos="243840" algn="l"/>
              </a:tabLst>
              <a:defRPr/>
            </a:pPr>
            <a:r>
              <a:rPr kumimoji="0" sz="1300" b="0" i="0" u="none" strike="noStrike" kern="0" cap="none" spc="0" normalizeH="0" baseline="0" noProof="0">
                <a:ln>
                  <a:noFill/>
                </a:ln>
                <a:solidFill>
                  <a:sysClr val="windowText" lastClr="000000"/>
                </a:solidFill>
                <a:effectLst/>
                <a:uLnTx/>
                <a:uFillTx/>
                <a:latin typeface="Arial"/>
                <a:cs typeface="Arial"/>
              </a:rPr>
              <a:t>Systematic</a:t>
            </a:r>
            <a:r>
              <a:rPr kumimoji="0" sz="1300" b="0" i="0" u="none" strike="noStrike" kern="0" cap="none" spc="-40"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advocacy</a:t>
            </a:r>
            <a:r>
              <a:rPr kumimoji="0" sz="1300" b="0" i="0" u="none" strike="noStrike" kern="0" cap="none" spc="-25" normalizeH="0" baseline="0" noProof="0">
                <a:ln>
                  <a:noFill/>
                </a:ln>
                <a:solidFill>
                  <a:sysClr val="windowText" lastClr="000000"/>
                </a:solidFill>
                <a:effectLst/>
                <a:uLnTx/>
                <a:uFillTx/>
                <a:latin typeface="Arial"/>
                <a:cs typeface="Arial"/>
              </a:rPr>
              <a:t> for 	</a:t>
            </a:r>
            <a:r>
              <a:rPr kumimoji="0" sz="1300" b="0" i="0" u="none" strike="noStrike" kern="0" cap="none" spc="0" normalizeH="0" baseline="0" noProof="0">
                <a:ln>
                  <a:noFill/>
                </a:ln>
                <a:solidFill>
                  <a:sysClr val="windowText" lastClr="000000"/>
                </a:solidFill>
                <a:effectLst/>
                <a:uLnTx/>
                <a:uFillTx/>
                <a:latin typeface="Arial"/>
                <a:cs typeface="Arial"/>
              </a:rPr>
              <a:t>immunisation,</a:t>
            </a:r>
            <a:r>
              <a:rPr kumimoji="0" sz="1300" b="0" i="0" u="none" strike="noStrike" kern="0" cap="none" spc="-25"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equity</a:t>
            </a:r>
            <a:r>
              <a:rPr kumimoji="0" sz="1300" b="0" i="0" u="none" strike="noStrike" kern="0" cap="none" spc="-45" normalizeH="0" baseline="0" noProof="0">
                <a:ln>
                  <a:noFill/>
                </a:ln>
                <a:solidFill>
                  <a:sysClr val="windowText" lastClr="000000"/>
                </a:solidFill>
                <a:effectLst/>
                <a:uLnTx/>
                <a:uFillTx/>
                <a:latin typeface="Arial"/>
                <a:cs typeface="Arial"/>
              </a:rPr>
              <a:t> </a:t>
            </a:r>
            <a:r>
              <a:rPr kumimoji="0" sz="1300" b="0" i="0" u="none" strike="noStrike" kern="0" cap="none" spc="-10" normalizeH="0" baseline="0" noProof="0">
                <a:ln>
                  <a:noFill/>
                </a:ln>
                <a:solidFill>
                  <a:sysClr val="windowText" lastClr="000000"/>
                </a:solidFill>
                <a:effectLst/>
                <a:uLnTx/>
                <a:uFillTx/>
                <a:latin typeface="Arial"/>
                <a:cs typeface="Arial"/>
              </a:rPr>
              <a:t>imperative, 	</a:t>
            </a:r>
            <a:r>
              <a:rPr kumimoji="0" sz="1300" b="0" i="0" u="none" strike="noStrike" kern="0" cap="none" spc="0" normalizeH="0" baseline="0" noProof="0">
                <a:ln>
                  <a:noFill/>
                </a:ln>
                <a:solidFill>
                  <a:sysClr val="windowText" lastClr="000000"/>
                </a:solidFill>
                <a:effectLst/>
                <a:uLnTx/>
                <a:uFillTx/>
                <a:latin typeface="Arial"/>
                <a:cs typeface="Arial"/>
              </a:rPr>
              <a:t>and</a:t>
            </a:r>
            <a:r>
              <a:rPr kumimoji="0" sz="1300" b="0" i="0" u="none" strike="noStrike" kern="0" cap="none" spc="-25"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access</a:t>
            </a:r>
            <a:r>
              <a:rPr kumimoji="0" sz="1300" b="0" i="0" u="none" strike="noStrike" kern="0" cap="none" spc="-15"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to</a:t>
            </a:r>
            <a:r>
              <a:rPr kumimoji="0" sz="1300" b="0" i="0" u="none" strike="noStrike" kern="0" cap="none" spc="-25" normalizeH="0" baseline="0" noProof="0">
                <a:ln>
                  <a:noFill/>
                </a:ln>
                <a:solidFill>
                  <a:sysClr val="windowText" lastClr="000000"/>
                </a:solidFill>
                <a:effectLst/>
                <a:uLnTx/>
                <a:uFillTx/>
                <a:latin typeface="Arial"/>
                <a:cs typeface="Arial"/>
              </a:rPr>
              <a:t> </a:t>
            </a:r>
            <a:r>
              <a:rPr kumimoji="0" sz="1300" b="0" i="0" u="none" strike="noStrike" kern="0" cap="none" spc="-10" normalizeH="0" baseline="0" noProof="0">
                <a:ln>
                  <a:noFill/>
                </a:ln>
                <a:solidFill>
                  <a:sysClr val="windowText" lastClr="000000"/>
                </a:solidFill>
                <a:effectLst/>
                <a:uLnTx/>
                <a:uFillTx/>
                <a:latin typeface="Arial"/>
                <a:cs typeface="Arial"/>
              </a:rPr>
              <a:t>vaccines</a:t>
            </a:r>
            <a:endParaRPr kumimoji="0" sz="1300" b="0" i="0" u="none" strike="noStrike" kern="0" cap="none" spc="0" normalizeH="0" baseline="0" noProof="0">
              <a:ln>
                <a:noFill/>
              </a:ln>
              <a:solidFill>
                <a:sysClr val="windowText" lastClr="000000"/>
              </a:solidFill>
              <a:effectLst/>
              <a:uLnTx/>
              <a:uFillTx/>
              <a:latin typeface="Arial"/>
              <a:cs typeface="Arial"/>
            </a:endParaRPr>
          </a:p>
          <a:p>
            <a:pPr marL="242570" marR="273050" lvl="0" indent="-171450" defTabSz="914400" eaLnBrk="1" fontAlgn="auto" latinLnBrk="0" hangingPunct="1">
              <a:lnSpc>
                <a:spcPct val="100000"/>
              </a:lnSpc>
              <a:spcBef>
                <a:spcPts val="1205"/>
              </a:spcBef>
              <a:spcAft>
                <a:spcPts val="0"/>
              </a:spcAft>
              <a:buClrTx/>
              <a:buSzTx/>
              <a:buFontTx/>
              <a:buChar char="•"/>
              <a:tabLst>
                <a:tab pos="243840" algn="l"/>
              </a:tabLst>
              <a:defRPr/>
            </a:pPr>
            <a:r>
              <a:rPr kumimoji="0" sz="1300" b="0" i="0" u="none" strike="noStrike" kern="0" cap="none" spc="0" normalizeH="0" baseline="0" noProof="0">
                <a:ln>
                  <a:noFill/>
                </a:ln>
                <a:solidFill>
                  <a:sysClr val="windowText" lastClr="000000"/>
                </a:solidFill>
                <a:effectLst/>
                <a:uLnTx/>
                <a:uFillTx/>
                <a:latin typeface="Arial"/>
                <a:cs typeface="Arial"/>
              </a:rPr>
              <a:t>Harmonised</a:t>
            </a:r>
            <a:r>
              <a:rPr kumimoji="0" sz="1300" b="0" i="0" u="none" strike="noStrike" kern="0" cap="none" spc="-20"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policies</a:t>
            </a:r>
            <a:r>
              <a:rPr kumimoji="0" sz="1300" b="0" i="0" u="none" strike="noStrike" kern="0" cap="none" spc="-50" normalizeH="0" baseline="0" noProof="0">
                <a:ln>
                  <a:noFill/>
                </a:ln>
                <a:solidFill>
                  <a:sysClr val="windowText" lastClr="000000"/>
                </a:solidFill>
                <a:effectLst/>
                <a:uLnTx/>
                <a:uFillTx/>
                <a:latin typeface="Arial"/>
                <a:cs typeface="Arial"/>
              </a:rPr>
              <a:t> </a:t>
            </a:r>
            <a:r>
              <a:rPr kumimoji="0" sz="1300" b="0" i="0" u="none" strike="noStrike" kern="0" cap="none" spc="-25" normalizeH="0" baseline="0" noProof="0">
                <a:ln>
                  <a:noFill/>
                </a:ln>
                <a:solidFill>
                  <a:sysClr val="windowText" lastClr="000000"/>
                </a:solidFill>
                <a:effectLst/>
                <a:uLnTx/>
                <a:uFillTx/>
                <a:latin typeface="Arial"/>
                <a:cs typeface="Arial"/>
              </a:rPr>
              <a:t>and 	</a:t>
            </a:r>
            <a:r>
              <a:rPr kumimoji="0" sz="1300" b="0" i="0" u="none" strike="noStrike" kern="0" cap="none" spc="-10" normalizeH="0" baseline="0" noProof="0">
                <a:ln>
                  <a:noFill/>
                </a:ln>
                <a:solidFill>
                  <a:sysClr val="windowText" lastClr="000000"/>
                </a:solidFill>
                <a:effectLst/>
                <a:uLnTx/>
                <a:uFillTx/>
                <a:latin typeface="Arial"/>
                <a:cs typeface="Arial"/>
              </a:rPr>
              <a:t>operationalised</a:t>
            </a:r>
            <a:r>
              <a:rPr kumimoji="0" sz="1300" b="0" i="0" u="none" strike="noStrike" kern="0" cap="none" spc="40" normalizeH="0" baseline="0" noProof="0">
                <a:ln>
                  <a:noFill/>
                </a:ln>
                <a:solidFill>
                  <a:sysClr val="windowText" lastClr="000000"/>
                </a:solidFill>
                <a:effectLst/>
                <a:uLnTx/>
                <a:uFillTx/>
                <a:latin typeface="Arial"/>
                <a:cs typeface="Arial"/>
              </a:rPr>
              <a:t> </a:t>
            </a:r>
            <a:r>
              <a:rPr kumimoji="0" sz="1300" b="0" i="0" u="none" strike="noStrike" kern="0" cap="none" spc="-10" normalizeH="0" baseline="0" noProof="0">
                <a:ln>
                  <a:noFill/>
                </a:ln>
                <a:solidFill>
                  <a:sysClr val="windowText" lastClr="000000"/>
                </a:solidFill>
                <a:effectLst/>
                <a:uLnTx/>
                <a:uFillTx/>
                <a:latin typeface="Arial"/>
                <a:cs typeface="Arial"/>
              </a:rPr>
              <a:t>differentiated 	</a:t>
            </a:r>
            <a:r>
              <a:rPr kumimoji="0" sz="1300" b="0" i="0" u="none" strike="noStrike" kern="0" cap="none" spc="0" normalizeH="0" baseline="0" noProof="0">
                <a:ln>
                  <a:noFill/>
                </a:ln>
                <a:solidFill>
                  <a:sysClr val="windowText" lastClr="000000"/>
                </a:solidFill>
                <a:effectLst/>
                <a:uLnTx/>
                <a:uFillTx/>
                <a:latin typeface="Arial"/>
                <a:cs typeface="Arial"/>
              </a:rPr>
              <a:t>risk</a:t>
            </a:r>
            <a:r>
              <a:rPr kumimoji="0" sz="1300" b="0" i="0" u="none" strike="noStrike" kern="0" cap="none" spc="-15" normalizeH="0" baseline="0" noProof="0">
                <a:ln>
                  <a:noFill/>
                </a:ln>
                <a:solidFill>
                  <a:sysClr val="windowText" lastClr="000000"/>
                </a:solidFill>
                <a:effectLst/>
                <a:uLnTx/>
                <a:uFillTx/>
                <a:latin typeface="Arial"/>
                <a:cs typeface="Arial"/>
              </a:rPr>
              <a:t> </a:t>
            </a:r>
            <a:r>
              <a:rPr kumimoji="0" sz="1300" b="0" i="0" u="none" strike="noStrike" kern="0" cap="none" spc="-10" normalizeH="0" baseline="0" noProof="0">
                <a:ln>
                  <a:noFill/>
                </a:ln>
                <a:solidFill>
                  <a:sysClr val="windowText" lastClr="000000"/>
                </a:solidFill>
                <a:effectLst/>
                <a:uLnTx/>
                <a:uFillTx/>
                <a:latin typeface="Arial"/>
                <a:cs typeface="Arial"/>
              </a:rPr>
              <a:t>appetite</a:t>
            </a:r>
            <a:endParaRPr kumimoji="0" sz="1300" b="0" i="0" u="none" strike="noStrike" kern="0" cap="none" spc="0" normalizeH="0" baseline="0" noProof="0">
              <a:ln>
                <a:noFill/>
              </a:ln>
              <a:solidFill>
                <a:sysClr val="windowText" lastClr="000000"/>
              </a:solidFill>
              <a:effectLst/>
              <a:uLnTx/>
              <a:uFillTx/>
              <a:latin typeface="Arial"/>
              <a:cs typeface="Arial"/>
            </a:endParaRPr>
          </a:p>
          <a:p>
            <a:pPr marL="242570" marR="167640" lvl="0" indent="-171450" defTabSz="914400" eaLnBrk="1" fontAlgn="auto" latinLnBrk="0" hangingPunct="1">
              <a:lnSpc>
                <a:spcPct val="100000"/>
              </a:lnSpc>
              <a:spcBef>
                <a:spcPts val="1200"/>
              </a:spcBef>
              <a:spcAft>
                <a:spcPts val="0"/>
              </a:spcAft>
              <a:buClrTx/>
              <a:buSzTx/>
              <a:buFontTx/>
              <a:buChar char="•"/>
              <a:tabLst>
                <a:tab pos="243840" algn="l"/>
              </a:tabLst>
              <a:defRPr/>
            </a:pPr>
            <a:r>
              <a:rPr kumimoji="0" sz="1300" b="0" i="0" u="none" strike="noStrike" kern="0" cap="none" spc="0" normalizeH="0" baseline="0" noProof="0">
                <a:ln>
                  <a:noFill/>
                </a:ln>
                <a:solidFill>
                  <a:sysClr val="windowText" lastClr="000000"/>
                </a:solidFill>
                <a:effectLst/>
                <a:uLnTx/>
                <a:uFillTx/>
                <a:latin typeface="Arial"/>
                <a:cs typeface="Arial"/>
              </a:rPr>
              <a:t>Responsive</a:t>
            </a:r>
            <a:r>
              <a:rPr kumimoji="0" sz="1300" b="0" i="0" u="none" strike="noStrike" kern="0" cap="none" spc="-15"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and</a:t>
            </a:r>
            <a:r>
              <a:rPr kumimoji="0" sz="1300" b="0" i="0" u="none" strike="noStrike" kern="0" cap="none" spc="-40"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timely</a:t>
            </a:r>
            <a:r>
              <a:rPr kumimoji="0" sz="1300" b="0" i="0" u="none" strike="noStrike" kern="0" cap="none" spc="-25" normalizeH="0" baseline="0" noProof="0">
                <a:ln>
                  <a:noFill/>
                </a:ln>
                <a:solidFill>
                  <a:sysClr val="windowText" lastClr="000000"/>
                </a:solidFill>
                <a:effectLst/>
                <a:uLnTx/>
                <a:uFillTx/>
                <a:latin typeface="Arial"/>
                <a:cs typeface="Arial"/>
              </a:rPr>
              <a:t> </a:t>
            </a:r>
            <a:r>
              <a:rPr kumimoji="0" sz="1300" b="0" i="0" u="none" strike="noStrike" kern="0" cap="none" spc="-10" normalizeH="0" baseline="0" noProof="0">
                <a:ln>
                  <a:noFill/>
                </a:ln>
                <a:solidFill>
                  <a:sysClr val="windowText" lastClr="000000"/>
                </a:solidFill>
                <a:effectLst/>
                <a:uLnTx/>
                <a:uFillTx/>
                <a:latin typeface="Arial"/>
                <a:cs typeface="Arial"/>
              </a:rPr>
              <a:t>access 	</a:t>
            </a:r>
            <a:r>
              <a:rPr kumimoji="0" sz="1300" b="0" i="0" u="none" strike="noStrike" kern="0" cap="none" spc="0" normalizeH="0" baseline="0" noProof="0">
                <a:ln>
                  <a:noFill/>
                </a:ln>
                <a:solidFill>
                  <a:sysClr val="windowText" lastClr="000000"/>
                </a:solidFill>
                <a:effectLst/>
                <a:uLnTx/>
                <a:uFillTx/>
                <a:latin typeface="Arial"/>
                <a:cs typeface="Arial"/>
              </a:rPr>
              <a:t>to</a:t>
            </a:r>
            <a:r>
              <a:rPr kumimoji="0" sz="1300" b="0" i="0" u="none" strike="noStrike" kern="0" cap="none" spc="-35"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vaccines</a:t>
            </a:r>
            <a:r>
              <a:rPr kumimoji="0" sz="1300" b="0" i="0" u="none" strike="noStrike" kern="0" cap="none" spc="-10"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and</a:t>
            </a:r>
            <a:r>
              <a:rPr kumimoji="0" sz="1300" b="0" i="0" u="none" strike="noStrike" kern="0" cap="none" spc="-30" normalizeH="0" baseline="0" noProof="0">
                <a:ln>
                  <a:noFill/>
                </a:ln>
                <a:solidFill>
                  <a:sysClr val="windowText" lastClr="000000"/>
                </a:solidFill>
                <a:effectLst/>
                <a:uLnTx/>
                <a:uFillTx/>
                <a:latin typeface="Arial"/>
                <a:cs typeface="Arial"/>
              </a:rPr>
              <a:t> </a:t>
            </a:r>
            <a:r>
              <a:rPr kumimoji="0" sz="1300" b="0" i="0" u="none" strike="noStrike" kern="0" cap="none" spc="-10" normalizeH="0" baseline="0" noProof="0">
                <a:ln>
                  <a:noFill/>
                </a:ln>
                <a:solidFill>
                  <a:sysClr val="windowText" lastClr="000000"/>
                </a:solidFill>
                <a:effectLst/>
                <a:uLnTx/>
                <a:uFillTx/>
                <a:latin typeface="Arial"/>
                <a:cs typeface="Arial"/>
              </a:rPr>
              <a:t>funding</a:t>
            </a:r>
            <a:endParaRPr kumimoji="0" sz="1300" b="0" i="0" u="none" strike="noStrike" kern="0" cap="none" spc="0" normalizeH="0" baseline="0" noProof="0">
              <a:ln>
                <a:noFill/>
              </a:ln>
              <a:solidFill>
                <a:sysClr val="windowText" lastClr="000000"/>
              </a:solidFill>
              <a:effectLst/>
              <a:uLnTx/>
              <a:uFillTx/>
              <a:latin typeface="Arial"/>
              <a:cs typeface="Arial"/>
            </a:endParaRPr>
          </a:p>
          <a:p>
            <a:pPr marL="243204" marR="0" lvl="0" indent="-171450" defTabSz="914400" eaLnBrk="1" fontAlgn="auto" latinLnBrk="0" hangingPunct="1">
              <a:lnSpc>
                <a:spcPct val="100000"/>
              </a:lnSpc>
              <a:spcBef>
                <a:spcPts val="1200"/>
              </a:spcBef>
              <a:spcAft>
                <a:spcPts val="0"/>
              </a:spcAft>
              <a:buClrTx/>
              <a:buSzTx/>
              <a:buFontTx/>
              <a:buChar char="•"/>
              <a:tabLst>
                <a:tab pos="243204" algn="l"/>
              </a:tabLst>
              <a:defRPr/>
            </a:pPr>
            <a:r>
              <a:rPr kumimoji="0" sz="1300" b="0" i="0" u="none" strike="noStrike" kern="0" cap="none" spc="0" normalizeH="0" baseline="0" noProof="0">
                <a:ln>
                  <a:noFill/>
                </a:ln>
                <a:solidFill>
                  <a:sysClr val="windowText" lastClr="000000"/>
                </a:solidFill>
                <a:effectLst/>
                <a:uLnTx/>
                <a:uFillTx/>
                <a:latin typeface="Arial"/>
                <a:cs typeface="Arial"/>
              </a:rPr>
              <a:t>Flexible</a:t>
            </a:r>
            <a:r>
              <a:rPr kumimoji="0" sz="1300" b="0" i="0" u="none" strike="noStrike" kern="0" cap="none" spc="-50"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grant</a:t>
            </a:r>
            <a:r>
              <a:rPr kumimoji="0" sz="1300" b="0" i="0" u="none" strike="noStrike" kern="0" cap="none" spc="-55"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programming</a:t>
            </a:r>
            <a:r>
              <a:rPr kumimoji="0" sz="1300" b="0" i="0" u="none" strike="noStrike" kern="0" cap="none" spc="-25" normalizeH="0" baseline="0" noProof="0">
                <a:ln>
                  <a:noFill/>
                </a:ln>
                <a:solidFill>
                  <a:sysClr val="windowText" lastClr="000000"/>
                </a:solidFill>
                <a:effectLst/>
                <a:uLnTx/>
                <a:uFillTx/>
                <a:latin typeface="Arial"/>
                <a:cs typeface="Arial"/>
              </a:rPr>
              <a:t> for</a:t>
            </a:r>
            <a:endParaRPr kumimoji="0" sz="1300" b="0" i="0" u="none" strike="noStrike" kern="0" cap="none" spc="0" normalizeH="0" baseline="0" noProof="0">
              <a:ln>
                <a:noFill/>
              </a:ln>
              <a:solidFill>
                <a:sysClr val="windowText" lastClr="000000"/>
              </a:solidFill>
              <a:effectLst/>
              <a:uLnTx/>
              <a:uFillTx/>
              <a:latin typeface="Arial"/>
              <a:cs typeface="Arial"/>
            </a:endParaRPr>
          </a:p>
          <a:p>
            <a:pPr marL="243840" marR="0" lvl="0" indent="0" defTabSz="914400" eaLnBrk="1" fontAlgn="auto" latinLnBrk="0" hangingPunct="1">
              <a:lnSpc>
                <a:spcPct val="100000"/>
              </a:lnSpc>
              <a:spcBef>
                <a:spcPts val="0"/>
              </a:spcBef>
              <a:spcAft>
                <a:spcPts val="0"/>
              </a:spcAft>
              <a:buClrTx/>
              <a:buSzTx/>
              <a:buFontTx/>
              <a:buNone/>
              <a:tabLst/>
              <a:defRPr/>
            </a:pPr>
            <a:r>
              <a:rPr kumimoji="0" sz="1300" b="0" i="0" u="none" strike="noStrike" kern="0" cap="none" spc="0" normalizeH="0" baseline="0" noProof="0">
                <a:ln>
                  <a:noFill/>
                </a:ln>
                <a:solidFill>
                  <a:sysClr val="windowText" lastClr="000000"/>
                </a:solidFill>
                <a:effectLst/>
                <a:uLnTx/>
                <a:uFillTx/>
                <a:latin typeface="Arial"/>
                <a:cs typeface="Arial"/>
              </a:rPr>
              <a:t>proven</a:t>
            </a:r>
            <a:r>
              <a:rPr kumimoji="0" sz="1300" b="0" i="0" u="none" strike="noStrike" kern="0" cap="none" spc="-50" normalizeH="0" baseline="0" noProof="0">
                <a:ln>
                  <a:noFill/>
                </a:ln>
                <a:solidFill>
                  <a:sysClr val="windowText" lastClr="000000"/>
                </a:solidFill>
                <a:effectLst/>
                <a:uLnTx/>
                <a:uFillTx/>
                <a:latin typeface="Arial"/>
                <a:cs typeface="Arial"/>
              </a:rPr>
              <a:t> </a:t>
            </a:r>
            <a:r>
              <a:rPr kumimoji="0" sz="1300" b="0" i="0" u="none" strike="noStrike" kern="0" cap="none" spc="-10" normalizeH="0" baseline="0" noProof="0">
                <a:ln>
                  <a:noFill/>
                </a:ln>
                <a:solidFill>
                  <a:sysClr val="windowText" lastClr="000000"/>
                </a:solidFill>
                <a:effectLst/>
                <a:uLnTx/>
                <a:uFillTx/>
                <a:latin typeface="Arial"/>
                <a:cs typeface="Arial"/>
              </a:rPr>
              <a:t>partners</a:t>
            </a:r>
            <a:endParaRPr kumimoji="0" sz="1300" b="0" i="0" u="none" strike="noStrike" kern="0" cap="none" spc="0" normalizeH="0" baseline="0" noProof="0">
              <a:ln>
                <a:noFill/>
              </a:ln>
              <a:solidFill>
                <a:sysClr val="windowText" lastClr="000000"/>
              </a:solidFill>
              <a:effectLst/>
              <a:uLnTx/>
              <a:uFillTx/>
              <a:latin typeface="Arial"/>
              <a:cs typeface="Arial"/>
            </a:endParaRPr>
          </a:p>
          <a:p>
            <a:pPr marL="242570" marR="532765" lvl="0" indent="-171450" defTabSz="914400" eaLnBrk="1" fontAlgn="auto" latinLnBrk="0" hangingPunct="1">
              <a:lnSpc>
                <a:spcPct val="100000"/>
              </a:lnSpc>
              <a:spcBef>
                <a:spcPts val="1200"/>
              </a:spcBef>
              <a:spcAft>
                <a:spcPts val="0"/>
              </a:spcAft>
              <a:buClrTx/>
              <a:buSzTx/>
              <a:buFontTx/>
              <a:buChar char="•"/>
              <a:tabLst>
                <a:tab pos="243840" algn="l"/>
              </a:tabLst>
              <a:defRPr/>
            </a:pPr>
            <a:r>
              <a:rPr kumimoji="0" sz="1300" b="0" i="0" u="none" strike="noStrike" kern="0" cap="none" spc="0" normalizeH="0" baseline="0" noProof="0">
                <a:ln>
                  <a:noFill/>
                </a:ln>
                <a:solidFill>
                  <a:sysClr val="windowText" lastClr="000000"/>
                </a:solidFill>
                <a:effectLst/>
                <a:uLnTx/>
                <a:uFillTx/>
                <a:latin typeface="Arial"/>
                <a:cs typeface="Arial"/>
              </a:rPr>
              <a:t>Established</a:t>
            </a:r>
            <a:r>
              <a:rPr kumimoji="0" sz="1300" b="0" i="0" u="none" strike="noStrike" kern="0" cap="none" spc="-70"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skillset</a:t>
            </a:r>
            <a:r>
              <a:rPr kumimoji="0" sz="1300" b="0" i="0" u="none" strike="noStrike" kern="0" cap="none" spc="-85" normalizeH="0" baseline="0" noProof="0">
                <a:ln>
                  <a:noFill/>
                </a:ln>
                <a:solidFill>
                  <a:sysClr val="windowText" lastClr="000000"/>
                </a:solidFill>
                <a:effectLst/>
                <a:uLnTx/>
                <a:uFillTx/>
                <a:latin typeface="Arial"/>
                <a:cs typeface="Arial"/>
              </a:rPr>
              <a:t> </a:t>
            </a:r>
            <a:r>
              <a:rPr kumimoji="0" sz="1300" b="0" i="0" u="none" strike="noStrike" kern="0" cap="none" spc="-25" normalizeH="0" baseline="0" noProof="0">
                <a:ln>
                  <a:noFill/>
                </a:ln>
                <a:solidFill>
                  <a:sysClr val="windowText" lastClr="000000"/>
                </a:solidFill>
                <a:effectLst/>
                <a:uLnTx/>
                <a:uFillTx/>
                <a:latin typeface="Arial"/>
                <a:cs typeface="Arial"/>
              </a:rPr>
              <a:t>at 	</a:t>
            </a:r>
            <a:r>
              <a:rPr kumimoji="0" sz="1300" b="0" i="0" u="none" strike="noStrike" kern="0" cap="none" spc="0" normalizeH="0" baseline="0" noProof="0">
                <a:ln>
                  <a:noFill/>
                </a:ln>
                <a:solidFill>
                  <a:sysClr val="windowText" lastClr="000000"/>
                </a:solidFill>
                <a:effectLst/>
                <a:uLnTx/>
                <a:uFillTx/>
                <a:latin typeface="Arial"/>
                <a:cs typeface="Arial"/>
              </a:rPr>
              <a:t>Secretariat</a:t>
            </a:r>
            <a:r>
              <a:rPr kumimoji="0" sz="1300" b="0" i="0" u="none" strike="noStrike" kern="0" cap="none" spc="-35"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for</a:t>
            </a:r>
            <a:r>
              <a:rPr kumimoji="0" sz="1300" b="0" i="0" u="none" strike="noStrike" kern="0" cap="none" spc="-60"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fragile</a:t>
            </a:r>
            <a:r>
              <a:rPr kumimoji="0" sz="1300" b="0" i="0" u="none" strike="noStrike" kern="0" cap="none" spc="-40" normalizeH="0" baseline="0" noProof="0">
                <a:ln>
                  <a:noFill/>
                </a:ln>
                <a:solidFill>
                  <a:sysClr val="windowText" lastClr="000000"/>
                </a:solidFill>
                <a:effectLst/>
                <a:uLnTx/>
                <a:uFillTx/>
                <a:latin typeface="Arial"/>
                <a:cs typeface="Arial"/>
              </a:rPr>
              <a:t> </a:t>
            </a:r>
            <a:r>
              <a:rPr kumimoji="0" sz="1300" b="0" i="0" u="none" strike="noStrike" kern="0" cap="none" spc="-25" normalizeH="0" baseline="0" noProof="0">
                <a:ln>
                  <a:noFill/>
                </a:ln>
                <a:solidFill>
                  <a:sysClr val="windowText" lastClr="000000"/>
                </a:solidFill>
                <a:effectLst/>
                <a:uLnTx/>
                <a:uFillTx/>
                <a:latin typeface="Arial"/>
                <a:cs typeface="Arial"/>
              </a:rPr>
              <a:t>and 	</a:t>
            </a:r>
            <a:r>
              <a:rPr kumimoji="0" sz="1300" b="0" i="0" u="none" strike="noStrike" kern="0" cap="none" spc="0" normalizeH="0" baseline="0" noProof="0">
                <a:ln>
                  <a:noFill/>
                </a:ln>
                <a:solidFill>
                  <a:sysClr val="windowText" lastClr="000000"/>
                </a:solidFill>
                <a:effectLst/>
                <a:uLnTx/>
                <a:uFillTx/>
                <a:latin typeface="Arial"/>
                <a:cs typeface="Arial"/>
              </a:rPr>
              <a:t>humanitarian</a:t>
            </a:r>
            <a:r>
              <a:rPr kumimoji="0" sz="1300" b="0" i="0" u="none" strike="noStrike" kern="0" cap="none" spc="-95" normalizeH="0" baseline="0" noProof="0">
                <a:ln>
                  <a:noFill/>
                </a:ln>
                <a:solidFill>
                  <a:sysClr val="windowText" lastClr="000000"/>
                </a:solidFill>
                <a:effectLst/>
                <a:uLnTx/>
                <a:uFillTx/>
                <a:latin typeface="Arial"/>
                <a:cs typeface="Arial"/>
              </a:rPr>
              <a:t> </a:t>
            </a:r>
            <a:r>
              <a:rPr kumimoji="0" sz="1300" b="0" i="0" u="none" strike="noStrike" kern="0" cap="none" spc="-10" normalizeH="0" baseline="0" noProof="0">
                <a:ln>
                  <a:noFill/>
                </a:ln>
                <a:solidFill>
                  <a:sysClr val="windowText" lastClr="000000"/>
                </a:solidFill>
                <a:effectLst/>
                <a:uLnTx/>
                <a:uFillTx/>
                <a:latin typeface="Arial"/>
                <a:cs typeface="Arial"/>
              </a:rPr>
              <a:t>settings</a:t>
            </a:r>
            <a:endParaRPr kumimoji="0" sz="1300" b="0" i="0" u="none" strike="noStrike" kern="0" cap="none" spc="0" normalizeH="0" baseline="0" noProof="0">
              <a:ln>
                <a:noFill/>
              </a:ln>
              <a:solidFill>
                <a:sysClr val="windowText" lastClr="000000"/>
              </a:solidFill>
              <a:effectLst/>
              <a:uLnTx/>
              <a:uFillTx/>
              <a:latin typeface="Arial"/>
              <a:cs typeface="Arial"/>
            </a:endParaRPr>
          </a:p>
          <a:p>
            <a:pPr marL="242570" marR="322580" lvl="0" indent="-171450" defTabSz="914400" eaLnBrk="1" fontAlgn="auto" latinLnBrk="0" hangingPunct="1">
              <a:lnSpc>
                <a:spcPct val="100000"/>
              </a:lnSpc>
              <a:spcBef>
                <a:spcPts val="1200"/>
              </a:spcBef>
              <a:spcAft>
                <a:spcPts val="0"/>
              </a:spcAft>
              <a:buClrTx/>
              <a:buSzTx/>
              <a:buFontTx/>
              <a:buChar char="•"/>
              <a:tabLst>
                <a:tab pos="243840" algn="l"/>
              </a:tabLst>
              <a:defRPr/>
            </a:pPr>
            <a:r>
              <a:rPr kumimoji="0" sz="1300" b="0" i="0" u="none" strike="noStrike" kern="0" cap="none" spc="0" normalizeH="0" baseline="0" noProof="0">
                <a:ln>
                  <a:noFill/>
                </a:ln>
                <a:solidFill>
                  <a:sysClr val="windowText" lastClr="000000"/>
                </a:solidFill>
                <a:effectLst/>
                <a:uLnTx/>
                <a:uFillTx/>
                <a:latin typeface="Arial"/>
                <a:cs typeface="Arial"/>
              </a:rPr>
              <a:t>Intentional</a:t>
            </a:r>
            <a:r>
              <a:rPr kumimoji="0" sz="1300" b="0" i="0" u="none" strike="noStrike" kern="0" cap="none" spc="-85"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engagement</a:t>
            </a:r>
            <a:r>
              <a:rPr kumimoji="0" sz="1300" b="0" i="0" u="none" strike="noStrike" kern="0" cap="none" spc="-60" normalizeH="0" baseline="0" noProof="0">
                <a:ln>
                  <a:noFill/>
                </a:ln>
                <a:solidFill>
                  <a:sysClr val="windowText" lastClr="000000"/>
                </a:solidFill>
                <a:effectLst/>
                <a:uLnTx/>
                <a:uFillTx/>
                <a:latin typeface="Arial"/>
                <a:cs typeface="Arial"/>
              </a:rPr>
              <a:t> </a:t>
            </a:r>
            <a:r>
              <a:rPr kumimoji="0" sz="1300" b="0" i="0" u="none" strike="noStrike" kern="0" cap="none" spc="-20" normalizeH="0" baseline="0" noProof="0">
                <a:ln>
                  <a:noFill/>
                </a:ln>
                <a:solidFill>
                  <a:sysClr val="windowText" lastClr="000000"/>
                </a:solidFill>
                <a:effectLst/>
                <a:uLnTx/>
                <a:uFillTx/>
                <a:latin typeface="Arial"/>
                <a:cs typeface="Arial"/>
              </a:rPr>
              <a:t>with 	</a:t>
            </a:r>
            <a:r>
              <a:rPr kumimoji="0" sz="1300" b="0" i="0" u="none" strike="noStrike" kern="0" cap="none" spc="0" normalizeH="0" baseline="0" noProof="0">
                <a:ln>
                  <a:noFill/>
                </a:ln>
                <a:solidFill>
                  <a:sysClr val="windowText" lastClr="000000"/>
                </a:solidFill>
                <a:effectLst/>
                <a:uLnTx/>
                <a:uFillTx/>
                <a:latin typeface="Arial"/>
                <a:cs typeface="Arial"/>
              </a:rPr>
              <a:t>humanitarian</a:t>
            </a:r>
            <a:r>
              <a:rPr kumimoji="0" sz="1300" b="0" i="0" u="none" strike="noStrike" kern="0" cap="none" spc="-95" normalizeH="0" baseline="0" noProof="0">
                <a:ln>
                  <a:noFill/>
                </a:ln>
                <a:solidFill>
                  <a:sysClr val="windowText" lastClr="000000"/>
                </a:solidFill>
                <a:effectLst/>
                <a:uLnTx/>
                <a:uFillTx/>
                <a:latin typeface="Arial"/>
                <a:cs typeface="Arial"/>
              </a:rPr>
              <a:t> </a:t>
            </a:r>
            <a:r>
              <a:rPr kumimoji="0" sz="1300" b="0" i="0" u="none" strike="noStrike" kern="0" cap="none" spc="-10" normalizeH="0" baseline="0" noProof="0">
                <a:ln>
                  <a:noFill/>
                </a:ln>
                <a:solidFill>
                  <a:sysClr val="windowText" lastClr="000000"/>
                </a:solidFill>
                <a:effectLst/>
                <a:uLnTx/>
                <a:uFillTx/>
                <a:latin typeface="Arial"/>
                <a:cs typeface="Arial"/>
              </a:rPr>
              <a:t>sector</a:t>
            </a:r>
            <a:endParaRPr kumimoji="0" sz="1300" b="0" i="0" u="none" strike="noStrike" kern="0" cap="none" spc="0" normalizeH="0" baseline="0" noProof="0">
              <a:ln>
                <a:noFill/>
              </a:ln>
              <a:solidFill>
                <a:sysClr val="windowText" lastClr="000000"/>
              </a:solidFill>
              <a:effectLst/>
              <a:uLnTx/>
              <a:uFillTx/>
              <a:latin typeface="Arial"/>
              <a:cs typeface="Arial"/>
            </a:endParaRPr>
          </a:p>
          <a:p>
            <a:pPr marL="242570" marR="336550" lvl="0" indent="-171450" defTabSz="914400" eaLnBrk="1" fontAlgn="auto" latinLnBrk="0" hangingPunct="1">
              <a:lnSpc>
                <a:spcPct val="100000"/>
              </a:lnSpc>
              <a:spcBef>
                <a:spcPts val="1200"/>
              </a:spcBef>
              <a:spcAft>
                <a:spcPts val="0"/>
              </a:spcAft>
              <a:buClrTx/>
              <a:buSzTx/>
              <a:buFontTx/>
              <a:buChar char="•"/>
              <a:tabLst>
                <a:tab pos="243840" algn="l"/>
              </a:tabLst>
              <a:defRPr/>
            </a:pPr>
            <a:r>
              <a:rPr kumimoji="0" sz="1300" b="0" i="0" u="none" strike="noStrike" kern="0" cap="none" spc="0" normalizeH="0" baseline="0" noProof="0">
                <a:ln>
                  <a:noFill/>
                </a:ln>
                <a:solidFill>
                  <a:sysClr val="windowText" lastClr="000000"/>
                </a:solidFill>
                <a:effectLst/>
                <a:uLnTx/>
                <a:uFillTx/>
                <a:latin typeface="Arial"/>
                <a:cs typeface="Arial"/>
              </a:rPr>
              <a:t>Timely</a:t>
            </a:r>
            <a:r>
              <a:rPr kumimoji="0" sz="1300" b="0" i="0" u="none" strike="noStrike" kern="0" cap="none" spc="-50"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and</a:t>
            </a:r>
            <a:r>
              <a:rPr kumimoji="0" sz="1300" b="0" i="0" u="none" strike="noStrike" kern="0" cap="none" spc="-50"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relevant</a:t>
            </a:r>
            <a:r>
              <a:rPr kumimoji="0" sz="1300" b="0" i="0" u="none" strike="noStrike" kern="0" cap="none" spc="-20"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data</a:t>
            </a:r>
            <a:r>
              <a:rPr kumimoji="0" sz="1300" b="0" i="0" u="none" strike="noStrike" kern="0" cap="none" spc="-35" normalizeH="0" baseline="0" noProof="0">
                <a:ln>
                  <a:noFill/>
                </a:ln>
                <a:solidFill>
                  <a:sysClr val="windowText" lastClr="000000"/>
                </a:solidFill>
                <a:effectLst/>
                <a:uLnTx/>
                <a:uFillTx/>
                <a:latin typeface="Arial"/>
                <a:cs typeface="Arial"/>
              </a:rPr>
              <a:t> </a:t>
            </a:r>
            <a:r>
              <a:rPr kumimoji="0" sz="1300" b="0" i="0" u="none" strike="noStrike" kern="0" cap="none" spc="-25" normalizeH="0" baseline="0" noProof="0">
                <a:ln>
                  <a:noFill/>
                </a:ln>
                <a:solidFill>
                  <a:sysClr val="windowText" lastClr="000000"/>
                </a:solidFill>
                <a:effectLst/>
                <a:uLnTx/>
                <a:uFillTx/>
                <a:latin typeface="Arial"/>
                <a:cs typeface="Arial"/>
              </a:rPr>
              <a:t>for 	</a:t>
            </a:r>
            <a:r>
              <a:rPr kumimoji="0" sz="1300" b="0" i="0" u="none" strike="noStrike" kern="0" cap="none" spc="0" normalizeH="0" baseline="0" noProof="0">
                <a:ln>
                  <a:noFill/>
                </a:ln>
                <a:solidFill>
                  <a:sysClr val="windowText" lastClr="000000"/>
                </a:solidFill>
                <a:effectLst/>
                <a:uLnTx/>
                <a:uFillTx/>
                <a:latin typeface="Arial"/>
                <a:cs typeface="Arial"/>
              </a:rPr>
              <a:t>decisions</a:t>
            </a:r>
            <a:r>
              <a:rPr kumimoji="0" sz="1300" b="0" i="0" u="none" strike="noStrike" kern="0" cap="none" spc="-45" normalizeH="0" baseline="0" noProof="0">
                <a:ln>
                  <a:noFill/>
                </a:ln>
                <a:solidFill>
                  <a:sysClr val="windowText" lastClr="000000"/>
                </a:solidFill>
                <a:effectLst/>
                <a:uLnTx/>
                <a:uFillTx/>
                <a:latin typeface="Arial"/>
                <a:cs typeface="Arial"/>
              </a:rPr>
              <a:t> </a:t>
            </a:r>
            <a:r>
              <a:rPr kumimoji="0" sz="1300" b="0" i="0" u="none" strike="noStrike" kern="0" cap="none" spc="0" normalizeH="0" baseline="0" noProof="0">
                <a:ln>
                  <a:noFill/>
                </a:ln>
                <a:solidFill>
                  <a:sysClr val="windowText" lastClr="000000"/>
                </a:solidFill>
                <a:effectLst/>
                <a:uLnTx/>
                <a:uFillTx/>
                <a:latin typeface="Arial"/>
                <a:cs typeface="Arial"/>
              </a:rPr>
              <a:t>and</a:t>
            </a:r>
            <a:r>
              <a:rPr kumimoji="0" sz="1300" b="0" i="0" u="none" strike="noStrike" kern="0" cap="none" spc="-45" normalizeH="0" baseline="0" noProof="0">
                <a:ln>
                  <a:noFill/>
                </a:ln>
                <a:solidFill>
                  <a:sysClr val="windowText" lastClr="000000"/>
                </a:solidFill>
                <a:effectLst/>
                <a:uLnTx/>
                <a:uFillTx/>
                <a:latin typeface="Arial"/>
                <a:cs typeface="Arial"/>
              </a:rPr>
              <a:t> </a:t>
            </a:r>
            <a:r>
              <a:rPr kumimoji="0" sz="1300" b="0" i="0" u="none" strike="noStrike" kern="0" cap="none" spc="-10" normalizeH="0" baseline="0" noProof="0">
                <a:ln>
                  <a:noFill/>
                </a:ln>
                <a:solidFill>
                  <a:sysClr val="windowText" lastClr="000000"/>
                </a:solidFill>
                <a:effectLst/>
                <a:uLnTx/>
                <a:uFillTx/>
                <a:latin typeface="Arial"/>
                <a:cs typeface="Arial"/>
              </a:rPr>
              <a:t>accountability</a:t>
            </a:r>
            <a:endParaRPr kumimoji="0" sz="1300" b="0" i="0" u="none" strike="noStrike" kern="0" cap="none" spc="0" normalizeH="0" baseline="0" noProof="0">
              <a:ln>
                <a:noFill/>
              </a:ln>
              <a:solidFill>
                <a:sysClr val="windowText" lastClr="000000"/>
              </a:solidFill>
              <a:effectLst/>
              <a:uLnTx/>
              <a:uFillTx/>
              <a:latin typeface="Arial"/>
              <a:cs typeface="Arial"/>
            </a:endParaRPr>
          </a:p>
        </p:txBody>
      </p:sp>
      <p:sp>
        <p:nvSpPr>
          <p:cNvPr id="38" name="object 38"/>
          <p:cNvSpPr/>
          <p:nvPr/>
        </p:nvSpPr>
        <p:spPr>
          <a:xfrm>
            <a:off x="515937" y="1564132"/>
            <a:ext cx="2642870" cy="0"/>
          </a:xfrm>
          <a:custGeom>
            <a:avLst/>
            <a:gdLst/>
            <a:ahLst/>
            <a:cxnLst/>
            <a:rect l="l" t="t" r="r" b="b"/>
            <a:pathLst>
              <a:path w="2642870">
                <a:moveTo>
                  <a:pt x="0" y="0"/>
                </a:moveTo>
                <a:lnTo>
                  <a:pt x="2642425" y="0"/>
                </a:lnTo>
              </a:path>
            </a:pathLst>
          </a:custGeom>
          <a:ln w="19050">
            <a:solidFill>
              <a:srgbClr val="7E7E7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9" name="object 39"/>
          <p:cNvSpPr txBox="1">
            <a:spLocks noGrp="1"/>
          </p:cNvSpPr>
          <p:nvPr>
            <p:ph type="title"/>
          </p:nvPr>
        </p:nvSpPr>
        <p:spPr>
          <a:xfrm>
            <a:off x="503326" y="165303"/>
            <a:ext cx="10984230" cy="953769"/>
          </a:xfrm>
          <a:prstGeom prst="rect">
            <a:avLst/>
          </a:prstGeom>
        </p:spPr>
        <p:txBody>
          <a:bodyPr vert="horz" wrap="square" lIns="0" tIns="67945" rIns="0" bIns="0" rtlCol="0">
            <a:spAutoFit/>
          </a:bodyPr>
          <a:lstStyle/>
          <a:p>
            <a:pPr marL="12700" marR="5080">
              <a:lnSpc>
                <a:spcPts val="3460"/>
              </a:lnSpc>
              <a:spcBef>
                <a:spcPts val="535"/>
              </a:spcBef>
            </a:pPr>
            <a:r>
              <a:rPr sz="3200"/>
              <a:t>Theory</a:t>
            </a:r>
            <a:r>
              <a:rPr sz="3200" spc="-65"/>
              <a:t> </a:t>
            </a:r>
            <a:r>
              <a:rPr sz="3200"/>
              <a:t>of</a:t>
            </a:r>
            <a:r>
              <a:rPr sz="3200" spc="-45"/>
              <a:t> </a:t>
            </a:r>
            <a:r>
              <a:rPr sz="3200"/>
              <a:t>Change</a:t>
            </a:r>
            <a:r>
              <a:rPr sz="3200" spc="-70"/>
              <a:t> </a:t>
            </a:r>
            <a:r>
              <a:rPr sz="3200"/>
              <a:t>outlines</a:t>
            </a:r>
            <a:r>
              <a:rPr sz="3200" spc="-60"/>
              <a:t> </a:t>
            </a:r>
            <a:r>
              <a:rPr sz="3200"/>
              <a:t>clear</a:t>
            </a:r>
            <a:r>
              <a:rPr sz="3200" spc="-30"/>
              <a:t> </a:t>
            </a:r>
            <a:r>
              <a:rPr sz="3200"/>
              <a:t>levers</a:t>
            </a:r>
            <a:r>
              <a:rPr sz="3200" spc="-25"/>
              <a:t> </a:t>
            </a:r>
            <a:r>
              <a:rPr sz="3200"/>
              <a:t>of</a:t>
            </a:r>
            <a:r>
              <a:rPr sz="3200" spc="-45"/>
              <a:t> </a:t>
            </a:r>
            <a:r>
              <a:rPr sz="3200" spc="-10"/>
              <a:t>influence, </a:t>
            </a:r>
            <a:r>
              <a:rPr sz="3200"/>
              <a:t>interventions,</a:t>
            </a:r>
            <a:r>
              <a:rPr sz="3200" spc="-80"/>
              <a:t> </a:t>
            </a:r>
            <a:r>
              <a:rPr sz="3200"/>
              <a:t>outcomes</a:t>
            </a:r>
            <a:r>
              <a:rPr sz="3200" spc="-55"/>
              <a:t> </a:t>
            </a:r>
            <a:r>
              <a:rPr sz="3200"/>
              <a:t>and</a:t>
            </a:r>
            <a:r>
              <a:rPr sz="3200" spc="-40"/>
              <a:t> </a:t>
            </a:r>
            <a:r>
              <a:rPr sz="3200"/>
              <a:t>goals</a:t>
            </a:r>
            <a:r>
              <a:rPr sz="3200" spc="-40"/>
              <a:t> </a:t>
            </a:r>
            <a:r>
              <a:rPr sz="3200"/>
              <a:t>for</a:t>
            </a:r>
            <a:r>
              <a:rPr sz="3200" spc="-35"/>
              <a:t> </a:t>
            </a:r>
            <a:r>
              <a:rPr sz="3200"/>
              <a:t>the</a:t>
            </a:r>
            <a:r>
              <a:rPr sz="3200" spc="-40"/>
              <a:t> </a:t>
            </a:r>
            <a:r>
              <a:rPr sz="3200"/>
              <a:t>F&amp;H</a:t>
            </a:r>
            <a:r>
              <a:rPr sz="3200" spc="-25"/>
              <a:t> </a:t>
            </a:r>
            <a:r>
              <a:rPr sz="3200" spc="-10"/>
              <a:t>approach</a:t>
            </a:r>
            <a:endParaRPr sz="3200"/>
          </a:p>
        </p:txBody>
      </p:sp>
      <p:sp>
        <p:nvSpPr>
          <p:cNvPr id="40" name="object 40"/>
          <p:cNvSpPr txBox="1"/>
          <p:nvPr/>
        </p:nvSpPr>
        <p:spPr>
          <a:xfrm>
            <a:off x="10316082" y="1249171"/>
            <a:ext cx="661670" cy="29972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1" i="1" u="none" strike="noStrike" kern="0" cap="none" spc="-10" normalizeH="0" baseline="0" noProof="0">
                <a:ln>
                  <a:noFill/>
                </a:ln>
                <a:solidFill>
                  <a:srgbClr val="00A0DF"/>
                </a:solidFill>
                <a:effectLst/>
                <a:uLnTx/>
                <a:uFillTx/>
                <a:latin typeface="Arial"/>
                <a:cs typeface="Arial"/>
              </a:rPr>
              <a:t>Goals</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03326" y="6353352"/>
            <a:ext cx="1735455" cy="14795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tab pos="273685" algn="l"/>
              </a:tabLst>
              <a:defRPr/>
            </a:pPr>
            <a:r>
              <a:rPr kumimoji="0" sz="800" b="0" i="0" u="none" strike="noStrike" kern="0" cap="none" spc="-50" normalizeH="0" baseline="0" noProof="0">
                <a:ln>
                  <a:noFill/>
                </a:ln>
                <a:solidFill>
                  <a:srgbClr val="7E7E7E"/>
                </a:solidFill>
                <a:effectLst/>
                <a:uLnTx/>
                <a:uFillTx/>
                <a:latin typeface="Arial"/>
                <a:cs typeface="Arial"/>
              </a:rPr>
              <a:t>3</a:t>
            </a:r>
            <a:r>
              <a:rPr kumimoji="0" sz="800" b="0" i="0" u="none" strike="noStrike" kern="0" cap="none" spc="0" normalizeH="0" baseline="0" noProof="0">
                <a:ln>
                  <a:noFill/>
                </a:ln>
                <a:solidFill>
                  <a:srgbClr val="7E7E7E"/>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Board</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Meeting,</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10" normalizeH="0" baseline="0" noProof="0">
                <a:ln>
                  <a:noFill/>
                </a:ln>
                <a:solidFill>
                  <a:srgbClr val="888888"/>
                </a:solidFill>
                <a:effectLst/>
                <a:uLnTx/>
                <a:uFillTx/>
                <a:latin typeface="Arial"/>
                <a:cs typeface="Arial"/>
              </a:rPr>
              <a:t>24-</a:t>
            </a:r>
            <a:r>
              <a:rPr kumimoji="0" sz="800" b="0" i="0" u="none" strike="noStrike" kern="0" cap="none" spc="0" normalizeH="0" baseline="0" noProof="0">
                <a:ln>
                  <a:noFill/>
                </a:ln>
                <a:solidFill>
                  <a:srgbClr val="888888"/>
                </a:solidFill>
                <a:effectLst/>
                <a:uLnTx/>
                <a:uFillTx/>
                <a:latin typeface="Arial"/>
                <a:cs typeface="Arial"/>
              </a:rPr>
              <a:t>25 July</a:t>
            </a:r>
            <a:r>
              <a:rPr kumimoji="0" sz="800" b="0" i="0" u="none" strike="noStrike" kern="0" cap="none" spc="-35" normalizeH="0" baseline="0" noProof="0">
                <a:ln>
                  <a:noFill/>
                </a:ln>
                <a:solidFill>
                  <a:srgbClr val="888888"/>
                </a:solidFill>
                <a:effectLst/>
                <a:uLnTx/>
                <a:uFillTx/>
                <a:latin typeface="Arial"/>
                <a:cs typeface="Arial"/>
              </a:rPr>
              <a:t> </a:t>
            </a:r>
            <a:r>
              <a:rPr kumimoji="0" sz="800" b="0" i="0" u="none" strike="noStrike" kern="0" cap="none" spc="-20" normalizeH="0" baseline="0" noProof="0">
                <a:ln>
                  <a:noFill/>
                </a:ln>
                <a:solidFill>
                  <a:srgbClr val="888888"/>
                </a:solidFill>
                <a:effectLst/>
                <a:uLnTx/>
                <a:uFillTx/>
                <a:latin typeface="Arial"/>
                <a:cs typeface="Arial"/>
              </a:rPr>
              <a:t>2025</a:t>
            </a:r>
            <a:endParaRPr kumimoji="0" sz="800" b="0" i="0" u="none" strike="noStrike" kern="0" cap="none" spc="0" normalizeH="0" baseline="0" noProof="0">
              <a:ln>
                <a:noFill/>
              </a:ln>
              <a:solidFill>
                <a:sysClr val="windowText" lastClr="000000"/>
              </a:solidFill>
              <a:effectLst/>
              <a:uLnTx/>
              <a:uFillTx/>
              <a:latin typeface="Arial"/>
              <a:cs typeface="Arial"/>
            </a:endParaRPr>
          </a:p>
        </p:txBody>
      </p:sp>
      <p:sp>
        <p:nvSpPr>
          <p:cNvPr id="3" name="object 3"/>
          <p:cNvSpPr/>
          <p:nvPr/>
        </p:nvSpPr>
        <p:spPr>
          <a:xfrm>
            <a:off x="515937" y="1304925"/>
            <a:ext cx="11160125" cy="4608830"/>
          </a:xfrm>
          <a:custGeom>
            <a:avLst/>
            <a:gdLst/>
            <a:ahLst/>
            <a:cxnLst/>
            <a:rect l="l" t="t" r="r" b="b"/>
            <a:pathLst>
              <a:path w="11160125" h="4608830">
                <a:moveTo>
                  <a:pt x="10686351" y="0"/>
                </a:moveTo>
                <a:lnTo>
                  <a:pt x="473798" y="0"/>
                </a:lnTo>
                <a:lnTo>
                  <a:pt x="425355" y="2445"/>
                </a:lnTo>
                <a:lnTo>
                  <a:pt x="378312" y="9624"/>
                </a:lnTo>
                <a:lnTo>
                  <a:pt x="332906" y="21298"/>
                </a:lnTo>
                <a:lnTo>
                  <a:pt x="289375" y="37228"/>
                </a:lnTo>
                <a:lnTo>
                  <a:pt x="247958" y="57178"/>
                </a:lnTo>
                <a:lnTo>
                  <a:pt x="208893" y="80909"/>
                </a:lnTo>
                <a:lnTo>
                  <a:pt x="172419" y="108183"/>
                </a:lnTo>
                <a:lnTo>
                  <a:pt x="138772" y="138763"/>
                </a:lnTo>
                <a:lnTo>
                  <a:pt x="108192" y="172410"/>
                </a:lnTo>
                <a:lnTo>
                  <a:pt x="80917" y="208886"/>
                </a:lnTo>
                <a:lnTo>
                  <a:pt x="57185" y="247954"/>
                </a:lnTo>
                <a:lnTo>
                  <a:pt x="37233" y="289375"/>
                </a:lnTo>
                <a:lnTo>
                  <a:pt x="21301" y="332912"/>
                </a:lnTo>
                <a:lnTo>
                  <a:pt x="9625" y="378326"/>
                </a:lnTo>
                <a:lnTo>
                  <a:pt x="2446" y="425381"/>
                </a:lnTo>
                <a:lnTo>
                  <a:pt x="0" y="473837"/>
                </a:lnTo>
                <a:lnTo>
                  <a:pt x="0" y="4134739"/>
                </a:lnTo>
                <a:lnTo>
                  <a:pt x="2446" y="4183177"/>
                </a:lnTo>
                <a:lnTo>
                  <a:pt x="9625" y="4230217"/>
                </a:lnTo>
                <a:lnTo>
                  <a:pt x="21301" y="4275620"/>
                </a:lnTo>
                <a:lnTo>
                  <a:pt x="37233" y="4319147"/>
                </a:lnTo>
                <a:lnTo>
                  <a:pt x="57185" y="4360562"/>
                </a:lnTo>
                <a:lnTo>
                  <a:pt x="80917" y="4399624"/>
                </a:lnTo>
                <a:lnTo>
                  <a:pt x="108192" y="4436097"/>
                </a:lnTo>
                <a:lnTo>
                  <a:pt x="138772" y="4469742"/>
                </a:lnTo>
                <a:lnTo>
                  <a:pt x="172419" y="4500321"/>
                </a:lnTo>
                <a:lnTo>
                  <a:pt x="208893" y="4527596"/>
                </a:lnTo>
                <a:lnTo>
                  <a:pt x="247958" y="4551328"/>
                </a:lnTo>
                <a:lnTo>
                  <a:pt x="289375" y="4571279"/>
                </a:lnTo>
                <a:lnTo>
                  <a:pt x="332906" y="4587211"/>
                </a:lnTo>
                <a:lnTo>
                  <a:pt x="378312" y="4598886"/>
                </a:lnTo>
                <a:lnTo>
                  <a:pt x="425355" y="4606066"/>
                </a:lnTo>
                <a:lnTo>
                  <a:pt x="473798" y="4608512"/>
                </a:lnTo>
                <a:lnTo>
                  <a:pt x="10686351" y="4608512"/>
                </a:lnTo>
                <a:lnTo>
                  <a:pt x="10734785" y="4606066"/>
                </a:lnTo>
                <a:lnTo>
                  <a:pt x="10781819" y="4598886"/>
                </a:lnTo>
                <a:lnTo>
                  <a:pt x="10827217" y="4587211"/>
                </a:lnTo>
                <a:lnTo>
                  <a:pt x="10870739" y="4571279"/>
                </a:lnTo>
                <a:lnTo>
                  <a:pt x="10912148" y="4551328"/>
                </a:lnTo>
                <a:lnTo>
                  <a:pt x="10951206" y="4527596"/>
                </a:lnTo>
                <a:lnTo>
                  <a:pt x="10987673" y="4500321"/>
                </a:lnTo>
                <a:lnTo>
                  <a:pt x="11021314" y="4469742"/>
                </a:lnTo>
                <a:lnTo>
                  <a:pt x="11051888" y="4436097"/>
                </a:lnTo>
                <a:lnTo>
                  <a:pt x="11079158" y="4399624"/>
                </a:lnTo>
                <a:lnTo>
                  <a:pt x="11102886" y="4360562"/>
                </a:lnTo>
                <a:lnTo>
                  <a:pt x="11122834" y="4319147"/>
                </a:lnTo>
                <a:lnTo>
                  <a:pt x="11138764" y="4275620"/>
                </a:lnTo>
                <a:lnTo>
                  <a:pt x="11150437" y="4230217"/>
                </a:lnTo>
                <a:lnTo>
                  <a:pt x="11157615" y="4183177"/>
                </a:lnTo>
                <a:lnTo>
                  <a:pt x="11160061" y="4134739"/>
                </a:lnTo>
                <a:lnTo>
                  <a:pt x="11160061" y="473837"/>
                </a:lnTo>
                <a:lnTo>
                  <a:pt x="11157615" y="425381"/>
                </a:lnTo>
                <a:lnTo>
                  <a:pt x="11150437" y="378326"/>
                </a:lnTo>
                <a:lnTo>
                  <a:pt x="11138764" y="332912"/>
                </a:lnTo>
                <a:lnTo>
                  <a:pt x="11122834" y="289375"/>
                </a:lnTo>
                <a:lnTo>
                  <a:pt x="11102886" y="247954"/>
                </a:lnTo>
                <a:lnTo>
                  <a:pt x="11079158" y="208886"/>
                </a:lnTo>
                <a:lnTo>
                  <a:pt x="11051888" y="172410"/>
                </a:lnTo>
                <a:lnTo>
                  <a:pt x="11021314" y="138763"/>
                </a:lnTo>
                <a:lnTo>
                  <a:pt x="10987673" y="108183"/>
                </a:lnTo>
                <a:lnTo>
                  <a:pt x="10951206" y="80909"/>
                </a:lnTo>
                <a:lnTo>
                  <a:pt x="10912148" y="57178"/>
                </a:lnTo>
                <a:lnTo>
                  <a:pt x="10870739" y="37228"/>
                </a:lnTo>
                <a:lnTo>
                  <a:pt x="10827217" y="21298"/>
                </a:lnTo>
                <a:lnTo>
                  <a:pt x="10781819" y="9624"/>
                </a:lnTo>
                <a:lnTo>
                  <a:pt x="10734785" y="2445"/>
                </a:lnTo>
                <a:lnTo>
                  <a:pt x="10686351" y="0"/>
                </a:lnTo>
                <a:close/>
              </a:path>
            </a:pathLst>
          </a:custGeom>
          <a:solidFill>
            <a:srgbClr val="C5EE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 name="object 4"/>
          <p:cNvSpPr txBox="1">
            <a:spLocks noGrp="1"/>
          </p:cNvSpPr>
          <p:nvPr>
            <p:ph type="title"/>
          </p:nvPr>
        </p:nvSpPr>
        <p:spPr>
          <a:xfrm>
            <a:off x="509117" y="294894"/>
            <a:ext cx="10987405" cy="966290"/>
          </a:xfrm>
          <a:prstGeom prst="rect">
            <a:avLst/>
          </a:prstGeom>
        </p:spPr>
        <p:txBody>
          <a:bodyPr vert="horz" wrap="square" lIns="0" tIns="67945" rIns="0" bIns="0" rtlCol="0">
            <a:spAutoFit/>
          </a:bodyPr>
          <a:lstStyle/>
          <a:p>
            <a:pPr marL="12700" marR="5080">
              <a:lnSpc>
                <a:spcPts val="3460"/>
              </a:lnSpc>
              <a:spcBef>
                <a:spcPts val="535"/>
              </a:spcBef>
            </a:pPr>
            <a:r>
              <a:rPr sz="3200"/>
              <a:t>Seven</a:t>
            </a:r>
            <a:r>
              <a:rPr sz="3200" spc="-80"/>
              <a:t> </a:t>
            </a:r>
            <a:r>
              <a:rPr sz="3200"/>
              <a:t>strategic</a:t>
            </a:r>
            <a:r>
              <a:rPr sz="3200" spc="-70"/>
              <a:t> </a:t>
            </a:r>
            <a:r>
              <a:rPr sz="3200"/>
              <a:t>shifts</a:t>
            </a:r>
            <a:r>
              <a:rPr sz="3200" spc="-75"/>
              <a:t> </a:t>
            </a:r>
            <a:r>
              <a:rPr lang="en-US" sz="3200"/>
              <a:t>to </a:t>
            </a:r>
            <a:r>
              <a:rPr sz="3200"/>
              <a:t>Gavi’s</a:t>
            </a:r>
            <a:r>
              <a:rPr sz="3200" spc="-65"/>
              <a:t> </a:t>
            </a:r>
            <a:r>
              <a:rPr sz="3200"/>
              <a:t>delivery</a:t>
            </a:r>
            <a:r>
              <a:rPr sz="3200" spc="-65"/>
              <a:t> </a:t>
            </a:r>
            <a:r>
              <a:rPr sz="3200"/>
              <a:t>model</a:t>
            </a:r>
            <a:r>
              <a:rPr sz="3200" spc="-45"/>
              <a:t> </a:t>
            </a:r>
            <a:r>
              <a:rPr lang="en-US" sz="3200" spc="-25"/>
              <a:t>will enable the outcomes and goals in the </a:t>
            </a:r>
            <a:r>
              <a:rPr lang="en-US" sz="3200" spc="-25" err="1"/>
              <a:t>ToC</a:t>
            </a:r>
            <a:endParaRPr sz="3200"/>
          </a:p>
        </p:txBody>
      </p:sp>
      <p:sp>
        <p:nvSpPr>
          <p:cNvPr id="5" name="object 5"/>
          <p:cNvSpPr txBox="1">
            <a:spLocks noGrp="1"/>
          </p:cNvSpPr>
          <p:nvPr>
            <p:ph type="body" idx="1"/>
          </p:nvPr>
        </p:nvSpPr>
        <p:spPr>
          <a:prstGeom prst="rect">
            <a:avLst/>
          </a:prstGeom>
        </p:spPr>
        <p:txBody>
          <a:bodyPr vert="horz" wrap="square" lIns="0" tIns="188595" rIns="0" bIns="0" rtlCol="0">
            <a:spAutoFit/>
          </a:bodyPr>
          <a:lstStyle/>
          <a:p>
            <a:pPr marL="12700">
              <a:lnSpc>
                <a:spcPct val="100000"/>
              </a:lnSpc>
              <a:spcBef>
                <a:spcPts val="1485"/>
              </a:spcBef>
            </a:pPr>
            <a:r>
              <a:t>Strengthen</a:t>
            </a:r>
            <a:r>
              <a:rPr spc="-65"/>
              <a:t> </a:t>
            </a:r>
            <a:r>
              <a:t>and</a:t>
            </a:r>
            <a:r>
              <a:rPr spc="-40"/>
              <a:t> </a:t>
            </a:r>
            <a:r>
              <a:t>increase</a:t>
            </a:r>
            <a:r>
              <a:rPr spc="-60"/>
              <a:t> </a:t>
            </a:r>
            <a:r>
              <a:t>coverage</a:t>
            </a:r>
            <a:r>
              <a:rPr spc="-45"/>
              <a:t> </a:t>
            </a:r>
            <a:r>
              <a:t>with</a:t>
            </a:r>
            <a:r>
              <a:rPr spc="-25"/>
              <a:t> </a:t>
            </a:r>
            <a:r>
              <a:rPr b="1">
                <a:latin typeface="Arial"/>
                <a:cs typeface="Arial"/>
              </a:rPr>
              <a:t>context-appropriate</a:t>
            </a:r>
            <a:r>
              <a:rPr b="1" spc="-70">
                <a:latin typeface="Arial"/>
                <a:cs typeface="Arial"/>
              </a:rPr>
              <a:t> </a:t>
            </a:r>
            <a:r>
              <a:rPr b="1" spc="-10">
                <a:latin typeface="Arial"/>
                <a:cs typeface="Arial"/>
              </a:rPr>
              <a:t>vaccines</a:t>
            </a:r>
          </a:p>
          <a:p>
            <a:pPr marL="12700" marR="5080">
              <a:lnSpc>
                <a:spcPct val="100000"/>
              </a:lnSpc>
              <a:spcBef>
                <a:spcPts val="1385"/>
              </a:spcBef>
            </a:pPr>
            <a:r>
              <a:rPr b="1">
                <a:latin typeface="Arial"/>
                <a:cs typeface="Arial"/>
              </a:rPr>
              <a:t>Differentiate</a:t>
            </a:r>
            <a:r>
              <a:rPr b="1" spc="-65">
                <a:latin typeface="Arial"/>
                <a:cs typeface="Arial"/>
              </a:rPr>
              <a:t> </a:t>
            </a:r>
            <a:r>
              <a:rPr b="1">
                <a:latin typeface="Arial"/>
                <a:cs typeface="Arial"/>
              </a:rPr>
              <a:t>health</a:t>
            </a:r>
            <a:r>
              <a:rPr b="1" spc="-35">
                <a:latin typeface="Arial"/>
                <a:cs typeface="Arial"/>
              </a:rPr>
              <a:t> </a:t>
            </a:r>
            <a:r>
              <a:rPr b="1">
                <a:latin typeface="Arial"/>
                <a:cs typeface="Arial"/>
              </a:rPr>
              <a:t>systems</a:t>
            </a:r>
            <a:r>
              <a:rPr b="1" spc="-15">
                <a:latin typeface="Arial"/>
                <a:cs typeface="Arial"/>
              </a:rPr>
              <a:t> </a:t>
            </a:r>
            <a:r>
              <a:rPr b="1">
                <a:latin typeface="Arial"/>
                <a:cs typeface="Arial"/>
              </a:rPr>
              <a:t>support</a:t>
            </a:r>
            <a:r>
              <a:rPr b="1" spc="-35">
                <a:latin typeface="Arial"/>
                <a:cs typeface="Arial"/>
              </a:rPr>
              <a:t> </a:t>
            </a:r>
            <a:r>
              <a:t>to</a:t>
            </a:r>
            <a:r>
              <a:rPr spc="-20"/>
              <a:t> </a:t>
            </a:r>
            <a:r>
              <a:t>missed</a:t>
            </a:r>
            <a:r>
              <a:rPr spc="-40"/>
              <a:t> </a:t>
            </a:r>
            <a:r>
              <a:t>communities</a:t>
            </a:r>
            <a:r>
              <a:rPr spc="-50"/>
              <a:t> </a:t>
            </a:r>
            <a:r>
              <a:t>and</a:t>
            </a:r>
            <a:r>
              <a:rPr spc="-25"/>
              <a:t> </a:t>
            </a:r>
            <a:r>
              <a:t>zero-dose</a:t>
            </a:r>
            <a:r>
              <a:rPr spc="-50"/>
              <a:t> </a:t>
            </a:r>
            <a:r>
              <a:rPr spc="-10"/>
              <a:t>children </a:t>
            </a:r>
            <a:r>
              <a:t>aged</a:t>
            </a:r>
            <a:r>
              <a:rPr spc="-25"/>
              <a:t> </a:t>
            </a:r>
            <a:r>
              <a:t>1-5</a:t>
            </a:r>
            <a:r>
              <a:rPr spc="-30"/>
              <a:t> </a:t>
            </a:r>
            <a:r>
              <a:t>years</a:t>
            </a:r>
            <a:r>
              <a:rPr spc="-30"/>
              <a:t> </a:t>
            </a:r>
            <a:r>
              <a:rPr spc="-25"/>
              <a:t>old</a:t>
            </a:r>
          </a:p>
          <a:p>
            <a:pPr marL="12700">
              <a:lnSpc>
                <a:spcPct val="100000"/>
              </a:lnSpc>
              <a:spcBef>
                <a:spcPts val="1380"/>
              </a:spcBef>
            </a:pPr>
            <a:r>
              <a:t>Institute</a:t>
            </a:r>
            <a:r>
              <a:rPr spc="-50"/>
              <a:t> </a:t>
            </a:r>
            <a:r>
              <a:rPr b="1">
                <a:latin typeface="Arial"/>
                <a:cs typeface="Arial"/>
              </a:rPr>
              <a:t>new</a:t>
            </a:r>
            <a:r>
              <a:rPr b="1" spc="-20">
                <a:latin typeface="Arial"/>
                <a:cs typeface="Arial"/>
              </a:rPr>
              <a:t> </a:t>
            </a:r>
            <a:r>
              <a:rPr b="1">
                <a:latin typeface="Arial"/>
                <a:cs typeface="Arial"/>
              </a:rPr>
              <a:t>ways</a:t>
            </a:r>
            <a:r>
              <a:rPr b="1" spc="-30">
                <a:latin typeface="Arial"/>
                <a:cs typeface="Arial"/>
              </a:rPr>
              <a:t> </a:t>
            </a:r>
            <a:r>
              <a:rPr b="1">
                <a:latin typeface="Arial"/>
                <a:cs typeface="Arial"/>
              </a:rPr>
              <a:t>to</a:t>
            </a:r>
            <a:r>
              <a:rPr b="1" spc="-25">
                <a:latin typeface="Arial"/>
                <a:cs typeface="Arial"/>
              </a:rPr>
              <a:t> </a:t>
            </a:r>
            <a:r>
              <a:rPr b="1">
                <a:latin typeface="Arial"/>
                <a:cs typeface="Arial"/>
              </a:rPr>
              <a:t>direct</a:t>
            </a:r>
            <a:r>
              <a:rPr b="1" spc="-35">
                <a:latin typeface="Arial"/>
                <a:cs typeface="Arial"/>
              </a:rPr>
              <a:t> </a:t>
            </a:r>
            <a:r>
              <a:rPr b="1">
                <a:latin typeface="Arial"/>
                <a:cs typeface="Arial"/>
              </a:rPr>
              <a:t>vaccines</a:t>
            </a:r>
            <a:r>
              <a:rPr b="1" spc="-15">
                <a:latin typeface="Arial"/>
                <a:cs typeface="Arial"/>
              </a:rPr>
              <a:t> </a:t>
            </a:r>
            <a:r>
              <a:rPr b="1">
                <a:latin typeface="Arial"/>
                <a:cs typeface="Arial"/>
              </a:rPr>
              <a:t>and</a:t>
            </a:r>
            <a:r>
              <a:rPr b="1" spc="-15">
                <a:latin typeface="Arial"/>
                <a:cs typeface="Arial"/>
              </a:rPr>
              <a:t> </a:t>
            </a:r>
            <a:r>
              <a:rPr b="1">
                <a:latin typeface="Arial"/>
                <a:cs typeface="Arial"/>
              </a:rPr>
              <a:t>cash</a:t>
            </a:r>
            <a:r>
              <a:rPr b="1" spc="-20">
                <a:latin typeface="Arial"/>
                <a:cs typeface="Arial"/>
              </a:rPr>
              <a:t> </a:t>
            </a:r>
            <a:r>
              <a:t>to</a:t>
            </a:r>
            <a:r>
              <a:rPr spc="-30"/>
              <a:t> </a:t>
            </a:r>
            <a:r>
              <a:t>missed</a:t>
            </a:r>
            <a:r>
              <a:rPr spc="-35"/>
              <a:t> </a:t>
            </a:r>
            <a:r>
              <a:rPr spc="-10"/>
              <a:t>communities</a:t>
            </a:r>
          </a:p>
        </p:txBody>
      </p:sp>
      <p:sp>
        <p:nvSpPr>
          <p:cNvPr id="6" name="object 6"/>
          <p:cNvSpPr txBox="1"/>
          <p:nvPr/>
        </p:nvSpPr>
        <p:spPr>
          <a:xfrm>
            <a:off x="1360424" y="3427602"/>
            <a:ext cx="8982075" cy="330835"/>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2000" b="0" i="0" u="none" strike="noStrike" kern="0" cap="none" spc="0" normalizeH="0" baseline="0" noProof="0">
                <a:ln>
                  <a:noFill/>
                </a:ln>
                <a:solidFill>
                  <a:srgbClr val="005CB8"/>
                </a:solidFill>
                <a:effectLst/>
                <a:uLnTx/>
                <a:uFillTx/>
                <a:latin typeface="Arial"/>
                <a:cs typeface="Arial"/>
              </a:rPr>
              <a:t>Support</a:t>
            </a:r>
            <a:r>
              <a:rPr kumimoji="0" sz="2000" b="0" i="0" u="none" strike="noStrike" kern="0" cap="none" spc="-50"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subnational</a:t>
            </a:r>
            <a:r>
              <a:rPr kumimoji="0" sz="2000" b="1" i="0" u="none" strike="noStrike" kern="0" cap="none" spc="-55"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settings</a:t>
            </a:r>
            <a:r>
              <a:rPr kumimoji="0" sz="2000" b="1" i="0" u="none" strike="noStrike" kern="0" cap="none" spc="-35" normalizeH="0" baseline="0" noProof="0">
                <a:ln>
                  <a:noFill/>
                </a:ln>
                <a:solidFill>
                  <a:srgbClr val="005CB8"/>
                </a:solidFill>
                <a:effectLst/>
                <a:uLnTx/>
                <a:uFillTx/>
                <a:latin typeface="Arial"/>
                <a:cs typeface="Arial"/>
              </a:rPr>
              <a:t> </a:t>
            </a:r>
            <a:r>
              <a:rPr kumimoji="0" sz="2000" b="0" i="0" u="none" strike="noStrike" kern="0" cap="none" spc="0" normalizeH="0" baseline="0" noProof="0">
                <a:ln>
                  <a:noFill/>
                </a:ln>
                <a:solidFill>
                  <a:srgbClr val="005CB8"/>
                </a:solidFill>
                <a:effectLst/>
                <a:uLnTx/>
                <a:uFillTx/>
                <a:latin typeface="Arial"/>
                <a:cs typeface="Arial"/>
              </a:rPr>
              <a:t>and</a:t>
            </a:r>
            <a:r>
              <a:rPr kumimoji="0" sz="2000" b="0" i="0" u="none" strike="noStrike" kern="0" cap="none" spc="-30"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F&amp;H</a:t>
            </a:r>
            <a:r>
              <a:rPr kumimoji="0" sz="2000" b="1" i="0" u="none" strike="noStrike" kern="0" cap="none" spc="-25"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settings</a:t>
            </a:r>
            <a:r>
              <a:rPr kumimoji="0" sz="2000" b="1" i="0" u="none" strike="noStrike" kern="0" cap="none" spc="-45"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in</a:t>
            </a:r>
            <a:r>
              <a:rPr kumimoji="0" sz="2000" b="1" i="0" u="none" strike="noStrike" kern="0" cap="none" spc="-40"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catalytic</a:t>
            </a:r>
            <a:r>
              <a:rPr kumimoji="0" sz="2000" b="1" i="0" u="none" strike="noStrike" kern="0" cap="none" spc="-20"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phase</a:t>
            </a:r>
            <a:r>
              <a:rPr kumimoji="0" sz="2000" b="1" i="0" u="none" strike="noStrike" kern="0" cap="none" spc="-30" normalizeH="0" baseline="0" noProof="0">
                <a:ln>
                  <a:noFill/>
                </a:ln>
                <a:solidFill>
                  <a:srgbClr val="005CB8"/>
                </a:solidFill>
                <a:effectLst/>
                <a:uLnTx/>
                <a:uFillTx/>
                <a:latin typeface="Arial"/>
                <a:cs typeface="Arial"/>
              </a:rPr>
              <a:t> </a:t>
            </a:r>
            <a:r>
              <a:rPr kumimoji="0" sz="2000" b="1" i="0" u="none" strike="noStrike" kern="0" cap="none" spc="-10" normalizeH="0" baseline="0" noProof="0">
                <a:ln>
                  <a:noFill/>
                </a:ln>
                <a:solidFill>
                  <a:srgbClr val="005CB8"/>
                </a:solidFill>
                <a:effectLst/>
                <a:uLnTx/>
                <a:uFillTx/>
                <a:latin typeface="Arial"/>
                <a:cs typeface="Arial"/>
              </a:rPr>
              <a:t>countries</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sp>
        <p:nvSpPr>
          <p:cNvPr id="7" name="object 7"/>
          <p:cNvSpPr txBox="1"/>
          <p:nvPr/>
        </p:nvSpPr>
        <p:spPr>
          <a:xfrm>
            <a:off x="1360424" y="4060697"/>
            <a:ext cx="6703059" cy="33083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000" b="0" i="0" u="none" strike="noStrike" kern="0" cap="none" spc="0" normalizeH="0" baseline="0" noProof="0">
                <a:ln>
                  <a:noFill/>
                </a:ln>
                <a:solidFill>
                  <a:srgbClr val="005CB8"/>
                </a:solidFill>
                <a:effectLst/>
                <a:uLnTx/>
                <a:uFillTx/>
                <a:latin typeface="Arial"/>
                <a:cs typeface="Arial"/>
              </a:rPr>
              <a:t>Establish</a:t>
            </a:r>
            <a:r>
              <a:rPr kumimoji="0" sz="2000" b="0" i="0" u="none" strike="noStrike" kern="0" cap="none" spc="-30" normalizeH="0" baseline="0" noProof="0">
                <a:ln>
                  <a:noFill/>
                </a:ln>
                <a:solidFill>
                  <a:srgbClr val="005CB8"/>
                </a:solidFill>
                <a:effectLst/>
                <a:uLnTx/>
                <a:uFillTx/>
                <a:latin typeface="Arial"/>
                <a:cs typeface="Arial"/>
              </a:rPr>
              <a:t> </a:t>
            </a:r>
            <a:r>
              <a:rPr kumimoji="0" sz="2000" b="0" i="0" u="none" strike="noStrike" kern="0" cap="none" spc="0" normalizeH="0" baseline="0" noProof="0">
                <a:ln>
                  <a:noFill/>
                </a:ln>
                <a:solidFill>
                  <a:srgbClr val="005CB8"/>
                </a:solidFill>
                <a:effectLst/>
                <a:uLnTx/>
                <a:uFillTx/>
                <a:latin typeface="Arial"/>
                <a:cs typeface="Arial"/>
              </a:rPr>
              <a:t>immunisation</a:t>
            </a:r>
            <a:r>
              <a:rPr kumimoji="0" sz="2000" b="0" i="0" u="none" strike="noStrike" kern="0" cap="none" spc="-45" normalizeH="0" baseline="0" noProof="0">
                <a:ln>
                  <a:noFill/>
                </a:ln>
                <a:solidFill>
                  <a:srgbClr val="005CB8"/>
                </a:solidFill>
                <a:effectLst/>
                <a:uLnTx/>
                <a:uFillTx/>
                <a:latin typeface="Arial"/>
                <a:cs typeface="Arial"/>
              </a:rPr>
              <a:t> </a:t>
            </a:r>
            <a:r>
              <a:rPr kumimoji="0" sz="2000" b="0" i="0" u="none" strike="noStrike" kern="0" cap="none" spc="0" normalizeH="0" baseline="0" noProof="0">
                <a:ln>
                  <a:noFill/>
                </a:ln>
                <a:solidFill>
                  <a:srgbClr val="005CB8"/>
                </a:solidFill>
                <a:effectLst/>
                <a:uLnTx/>
                <a:uFillTx/>
                <a:latin typeface="Arial"/>
                <a:cs typeface="Arial"/>
              </a:rPr>
              <a:t>as</a:t>
            </a:r>
            <a:r>
              <a:rPr kumimoji="0" sz="2000" b="0" i="0" u="none" strike="noStrike" kern="0" cap="none" spc="-35" normalizeH="0" baseline="0" noProof="0">
                <a:ln>
                  <a:noFill/>
                </a:ln>
                <a:solidFill>
                  <a:srgbClr val="005CB8"/>
                </a:solidFill>
                <a:effectLst/>
                <a:uLnTx/>
                <a:uFillTx/>
                <a:latin typeface="Arial"/>
                <a:cs typeface="Arial"/>
              </a:rPr>
              <a:t> </a:t>
            </a:r>
            <a:r>
              <a:rPr kumimoji="0" sz="2000" b="0" i="0" u="none" strike="noStrike" kern="0" cap="none" spc="0" normalizeH="0" baseline="0" noProof="0">
                <a:ln>
                  <a:noFill/>
                </a:ln>
                <a:solidFill>
                  <a:srgbClr val="005CB8"/>
                </a:solidFill>
                <a:effectLst/>
                <a:uLnTx/>
                <a:uFillTx/>
                <a:latin typeface="Arial"/>
                <a:cs typeface="Arial"/>
              </a:rPr>
              <a:t>a</a:t>
            </a:r>
            <a:r>
              <a:rPr kumimoji="0" sz="2000" b="0" i="0" u="none" strike="noStrike" kern="0" cap="none" spc="-30"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humanitarian</a:t>
            </a:r>
            <a:r>
              <a:rPr kumimoji="0" sz="2000" b="1" i="0" u="none" strike="noStrike" kern="0" cap="none" spc="-50"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health</a:t>
            </a:r>
            <a:r>
              <a:rPr kumimoji="0" sz="2000" b="1" i="0" u="none" strike="noStrike" kern="0" cap="none" spc="-30" normalizeH="0" baseline="0" noProof="0">
                <a:ln>
                  <a:noFill/>
                </a:ln>
                <a:solidFill>
                  <a:srgbClr val="005CB8"/>
                </a:solidFill>
                <a:effectLst/>
                <a:uLnTx/>
                <a:uFillTx/>
                <a:latin typeface="Arial"/>
                <a:cs typeface="Arial"/>
              </a:rPr>
              <a:t> </a:t>
            </a:r>
            <a:r>
              <a:rPr kumimoji="0" sz="2000" b="1" i="0" u="none" strike="noStrike" kern="0" cap="none" spc="-10" normalizeH="0" baseline="0" noProof="0">
                <a:ln>
                  <a:noFill/>
                </a:ln>
                <a:solidFill>
                  <a:srgbClr val="005CB8"/>
                </a:solidFill>
                <a:effectLst/>
                <a:uLnTx/>
                <a:uFillTx/>
                <a:latin typeface="Arial"/>
                <a:cs typeface="Arial"/>
              </a:rPr>
              <a:t>practice</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sp>
        <p:nvSpPr>
          <p:cNvPr id="8" name="object 8"/>
          <p:cNvSpPr txBox="1"/>
          <p:nvPr/>
        </p:nvSpPr>
        <p:spPr>
          <a:xfrm>
            <a:off x="1360424" y="5326481"/>
            <a:ext cx="5022215" cy="33083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000" b="0" i="0" u="none" strike="noStrike" kern="0" cap="none" spc="0" normalizeH="0" baseline="0" noProof="0">
                <a:ln>
                  <a:noFill/>
                </a:ln>
                <a:solidFill>
                  <a:srgbClr val="005CB8"/>
                </a:solidFill>
                <a:effectLst/>
                <a:uLnTx/>
                <a:uFillTx/>
                <a:latin typeface="Arial"/>
                <a:cs typeface="Arial"/>
              </a:rPr>
              <a:t>Ensure</a:t>
            </a:r>
            <a:r>
              <a:rPr kumimoji="0" sz="2000" b="0" i="0" u="none" strike="noStrike" kern="0" cap="none" spc="-35" normalizeH="0" baseline="0" noProof="0">
                <a:ln>
                  <a:noFill/>
                </a:ln>
                <a:solidFill>
                  <a:srgbClr val="005CB8"/>
                </a:solidFill>
                <a:effectLst/>
                <a:uLnTx/>
                <a:uFillTx/>
                <a:latin typeface="Arial"/>
                <a:cs typeface="Arial"/>
              </a:rPr>
              <a:t> </a:t>
            </a:r>
            <a:r>
              <a:rPr kumimoji="0" sz="2000" b="0" i="0" u="none" strike="noStrike" kern="0" cap="none" spc="0" normalizeH="0" baseline="0" noProof="0">
                <a:ln>
                  <a:noFill/>
                </a:ln>
                <a:solidFill>
                  <a:srgbClr val="005CB8"/>
                </a:solidFill>
                <a:effectLst/>
                <a:uLnTx/>
                <a:uFillTx/>
                <a:latin typeface="Arial"/>
                <a:cs typeface="Arial"/>
              </a:rPr>
              <a:t>a</a:t>
            </a:r>
            <a:r>
              <a:rPr kumimoji="0" sz="2000" b="0" i="0" u="none" strike="noStrike" kern="0" cap="none" spc="-20"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better</a:t>
            </a:r>
            <a:r>
              <a:rPr kumimoji="0" sz="2000" b="1" i="0" u="none" strike="noStrike" kern="0" cap="none" spc="-30"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equipped</a:t>
            </a:r>
            <a:r>
              <a:rPr kumimoji="0" sz="2000" b="1" i="0" u="none" strike="noStrike" kern="0" cap="none" spc="-25"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Gavi</a:t>
            </a:r>
            <a:r>
              <a:rPr kumimoji="0" sz="2000" b="1" i="0" u="none" strike="noStrike" kern="0" cap="none" spc="-5" normalizeH="0" baseline="0" noProof="0">
                <a:ln>
                  <a:noFill/>
                </a:ln>
                <a:solidFill>
                  <a:srgbClr val="005CB8"/>
                </a:solidFill>
                <a:effectLst/>
                <a:uLnTx/>
                <a:uFillTx/>
                <a:latin typeface="Arial"/>
                <a:cs typeface="Arial"/>
              </a:rPr>
              <a:t> </a:t>
            </a:r>
            <a:r>
              <a:rPr kumimoji="0" sz="2000" b="1" i="0" u="none" strike="noStrike" kern="0" cap="none" spc="-10" normalizeH="0" baseline="0" noProof="0">
                <a:ln>
                  <a:noFill/>
                </a:ln>
                <a:solidFill>
                  <a:srgbClr val="005CB8"/>
                </a:solidFill>
                <a:effectLst/>
                <a:uLnTx/>
                <a:uFillTx/>
                <a:latin typeface="Arial"/>
                <a:cs typeface="Arial"/>
              </a:rPr>
              <a:t>Secretariat</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grpSp>
        <p:nvGrpSpPr>
          <p:cNvPr id="9" name="object 9"/>
          <p:cNvGrpSpPr/>
          <p:nvPr/>
        </p:nvGrpSpPr>
        <p:grpSpPr>
          <a:xfrm>
            <a:off x="673950" y="1482725"/>
            <a:ext cx="475146" cy="4229861"/>
            <a:chOff x="673950" y="1482725"/>
            <a:chExt cx="475146" cy="4229861"/>
          </a:xfrm>
        </p:grpSpPr>
        <p:sp>
          <p:nvSpPr>
            <p:cNvPr id="11" name="object 11"/>
            <p:cNvSpPr/>
            <p:nvPr/>
          </p:nvSpPr>
          <p:spPr>
            <a:xfrm>
              <a:off x="696341" y="1482725"/>
              <a:ext cx="452755" cy="1701164"/>
            </a:xfrm>
            <a:custGeom>
              <a:avLst/>
              <a:gdLst/>
              <a:ahLst/>
              <a:cxnLst/>
              <a:rect l="l" t="t" r="r" b="b"/>
              <a:pathLst>
                <a:path w="452755" h="1701164">
                  <a:moveTo>
                    <a:pt x="15582" y="218439"/>
                  </a:moveTo>
                  <a:lnTo>
                    <a:pt x="21350" y="168350"/>
                  </a:lnTo>
                  <a:lnTo>
                    <a:pt x="37777" y="122371"/>
                  </a:lnTo>
                  <a:lnTo>
                    <a:pt x="63555" y="81813"/>
                  </a:lnTo>
                  <a:lnTo>
                    <a:pt x="97373" y="47986"/>
                  </a:lnTo>
                  <a:lnTo>
                    <a:pt x="137920" y="22200"/>
                  </a:lnTo>
                  <a:lnTo>
                    <a:pt x="183885" y="5768"/>
                  </a:lnTo>
                  <a:lnTo>
                    <a:pt x="233959" y="0"/>
                  </a:lnTo>
                  <a:lnTo>
                    <a:pt x="284033" y="5768"/>
                  </a:lnTo>
                  <a:lnTo>
                    <a:pt x="330000" y="22200"/>
                  </a:lnTo>
                  <a:lnTo>
                    <a:pt x="370550" y="47986"/>
                  </a:lnTo>
                  <a:lnTo>
                    <a:pt x="404370" y="81813"/>
                  </a:lnTo>
                  <a:lnTo>
                    <a:pt x="430151" y="122371"/>
                  </a:lnTo>
                  <a:lnTo>
                    <a:pt x="446580" y="168350"/>
                  </a:lnTo>
                  <a:lnTo>
                    <a:pt x="452348" y="218439"/>
                  </a:lnTo>
                  <a:lnTo>
                    <a:pt x="446580" y="268482"/>
                  </a:lnTo>
                  <a:lnTo>
                    <a:pt x="430151" y="314427"/>
                  </a:lnTo>
                  <a:lnTo>
                    <a:pt x="404370" y="354963"/>
                  </a:lnTo>
                  <a:lnTo>
                    <a:pt x="370550" y="388776"/>
                  </a:lnTo>
                  <a:lnTo>
                    <a:pt x="330000" y="414555"/>
                  </a:lnTo>
                  <a:lnTo>
                    <a:pt x="284033" y="430984"/>
                  </a:lnTo>
                  <a:lnTo>
                    <a:pt x="233959" y="436752"/>
                  </a:lnTo>
                  <a:lnTo>
                    <a:pt x="183885" y="430984"/>
                  </a:lnTo>
                  <a:lnTo>
                    <a:pt x="137920" y="414555"/>
                  </a:lnTo>
                  <a:lnTo>
                    <a:pt x="97373" y="388776"/>
                  </a:lnTo>
                  <a:lnTo>
                    <a:pt x="63555" y="354963"/>
                  </a:lnTo>
                  <a:lnTo>
                    <a:pt x="37777" y="314427"/>
                  </a:lnTo>
                  <a:lnTo>
                    <a:pt x="21350" y="268482"/>
                  </a:lnTo>
                  <a:lnTo>
                    <a:pt x="15582" y="218439"/>
                  </a:lnTo>
                  <a:close/>
                </a:path>
                <a:path w="452755" h="1701164">
                  <a:moveTo>
                    <a:pt x="0" y="850519"/>
                  </a:moveTo>
                  <a:lnTo>
                    <a:pt x="5767" y="800429"/>
                  </a:lnTo>
                  <a:lnTo>
                    <a:pt x="22195" y="754450"/>
                  </a:lnTo>
                  <a:lnTo>
                    <a:pt x="47973" y="713892"/>
                  </a:lnTo>
                  <a:lnTo>
                    <a:pt x="81790" y="680065"/>
                  </a:lnTo>
                  <a:lnTo>
                    <a:pt x="122337" y="654279"/>
                  </a:lnTo>
                  <a:lnTo>
                    <a:pt x="168302" y="637847"/>
                  </a:lnTo>
                  <a:lnTo>
                    <a:pt x="218376" y="632078"/>
                  </a:lnTo>
                  <a:lnTo>
                    <a:pt x="268450" y="637847"/>
                  </a:lnTo>
                  <a:lnTo>
                    <a:pt x="314418" y="654279"/>
                  </a:lnTo>
                  <a:lnTo>
                    <a:pt x="354967" y="680065"/>
                  </a:lnTo>
                  <a:lnTo>
                    <a:pt x="388787" y="713892"/>
                  </a:lnTo>
                  <a:lnTo>
                    <a:pt x="414568" y="754450"/>
                  </a:lnTo>
                  <a:lnTo>
                    <a:pt x="430997" y="800429"/>
                  </a:lnTo>
                  <a:lnTo>
                    <a:pt x="436765" y="850519"/>
                  </a:lnTo>
                  <a:lnTo>
                    <a:pt x="430997" y="900601"/>
                  </a:lnTo>
                  <a:lnTo>
                    <a:pt x="414568" y="946562"/>
                  </a:lnTo>
                  <a:lnTo>
                    <a:pt x="388787" y="987095"/>
                  </a:lnTo>
                  <a:lnTo>
                    <a:pt x="354967" y="1020895"/>
                  </a:lnTo>
                  <a:lnTo>
                    <a:pt x="314418" y="1046656"/>
                  </a:lnTo>
                  <a:lnTo>
                    <a:pt x="268450" y="1063070"/>
                  </a:lnTo>
                  <a:lnTo>
                    <a:pt x="218376" y="1068832"/>
                  </a:lnTo>
                  <a:lnTo>
                    <a:pt x="168302" y="1063070"/>
                  </a:lnTo>
                  <a:lnTo>
                    <a:pt x="122337" y="1046656"/>
                  </a:lnTo>
                  <a:lnTo>
                    <a:pt x="81790" y="1020895"/>
                  </a:lnTo>
                  <a:lnTo>
                    <a:pt x="47973" y="987095"/>
                  </a:lnTo>
                  <a:lnTo>
                    <a:pt x="22195" y="946562"/>
                  </a:lnTo>
                  <a:lnTo>
                    <a:pt x="5767" y="900601"/>
                  </a:lnTo>
                  <a:lnTo>
                    <a:pt x="0" y="850519"/>
                  </a:lnTo>
                  <a:close/>
                </a:path>
                <a:path w="452755" h="1701164">
                  <a:moveTo>
                    <a:pt x="0" y="1482598"/>
                  </a:moveTo>
                  <a:lnTo>
                    <a:pt x="5767" y="1432508"/>
                  </a:lnTo>
                  <a:lnTo>
                    <a:pt x="22195" y="1386529"/>
                  </a:lnTo>
                  <a:lnTo>
                    <a:pt x="47973" y="1345971"/>
                  </a:lnTo>
                  <a:lnTo>
                    <a:pt x="81790" y="1312144"/>
                  </a:lnTo>
                  <a:lnTo>
                    <a:pt x="122337" y="1286358"/>
                  </a:lnTo>
                  <a:lnTo>
                    <a:pt x="168302" y="1269926"/>
                  </a:lnTo>
                  <a:lnTo>
                    <a:pt x="218376" y="1264158"/>
                  </a:lnTo>
                  <a:lnTo>
                    <a:pt x="268450" y="1269926"/>
                  </a:lnTo>
                  <a:lnTo>
                    <a:pt x="314418" y="1286358"/>
                  </a:lnTo>
                  <a:lnTo>
                    <a:pt x="354967" y="1312144"/>
                  </a:lnTo>
                  <a:lnTo>
                    <a:pt x="388787" y="1345971"/>
                  </a:lnTo>
                  <a:lnTo>
                    <a:pt x="414568" y="1386529"/>
                  </a:lnTo>
                  <a:lnTo>
                    <a:pt x="430997" y="1432508"/>
                  </a:lnTo>
                  <a:lnTo>
                    <a:pt x="436765" y="1482598"/>
                  </a:lnTo>
                  <a:lnTo>
                    <a:pt x="430997" y="1532680"/>
                  </a:lnTo>
                  <a:lnTo>
                    <a:pt x="414568" y="1578641"/>
                  </a:lnTo>
                  <a:lnTo>
                    <a:pt x="388787" y="1619174"/>
                  </a:lnTo>
                  <a:lnTo>
                    <a:pt x="354967" y="1652974"/>
                  </a:lnTo>
                  <a:lnTo>
                    <a:pt x="314418" y="1678735"/>
                  </a:lnTo>
                  <a:lnTo>
                    <a:pt x="268450" y="1695149"/>
                  </a:lnTo>
                  <a:lnTo>
                    <a:pt x="218376" y="1700911"/>
                  </a:lnTo>
                  <a:lnTo>
                    <a:pt x="168302" y="1695149"/>
                  </a:lnTo>
                  <a:lnTo>
                    <a:pt x="122337" y="1678735"/>
                  </a:lnTo>
                  <a:lnTo>
                    <a:pt x="81790" y="1652974"/>
                  </a:lnTo>
                  <a:lnTo>
                    <a:pt x="47973" y="1619174"/>
                  </a:lnTo>
                  <a:lnTo>
                    <a:pt x="22195" y="1578641"/>
                  </a:lnTo>
                  <a:lnTo>
                    <a:pt x="5767" y="1532680"/>
                  </a:lnTo>
                  <a:lnTo>
                    <a:pt x="0" y="1482598"/>
                  </a:lnTo>
                  <a:close/>
                </a:path>
              </a:pathLst>
            </a:custGeom>
            <a:ln w="12700">
              <a:solidFill>
                <a:srgbClr val="52C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2" name="object 12"/>
            <p:cNvSpPr/>
            <p:nvPr/>
          </p:nvSpPr>
          <p:spPr>
            <a:xfrm>
              <a:off x="673950" y="3378961"/>
              <a:ext cx="459740" cy="2333625"/>
            </a:xfrm>
            <a:custGeom>
              <a:avLst/>
              <a:gdLst/>
              <a:ahLst/>
              <a:cxnLst/>
              <a:rect l="l" t="t" r="r" b="b"/>
              <a:pathLst>
                <a:path w="459740" h="2333625">
                  <a:moveTo>
                    <a:pt x="22390" y="218439"/>
                  </a:moveTo>
                  <a:lnTo>
                    <a:pt x="28157" y="168350"/>
                  </a:lnTo>
                  <a:lnTo>
                    <a:pt x="44585" y="122371"/>
                  </a:lnTo>
                  <a:lnTo>
                    <a:pt x="70363" y="81813"/>
                  </a:lnTo>
                  <a:lnTo>
                    <a:pt x="104180" y="47986"/>
                  </a:lnTo>
                  <a:lnTo>
                    <a:pt x="144727" y="22200"/>
                  </a:lnTo>
                  <a:lnTo>
                    <a:pt x="190693" y="5768"/>
                  </a:lnTo>
                  <a:lnTo>
                    <a:pt x="240766" y="0"/>
                  </a:lnTo>
                  <a:lnTo>
                    <a:pt x="290840" y="5768"/>
                  </a:lnTo>
                  <a:lnTo>
                    <a:pt x="336808" y="22200"/>
                  </a:lnTo>
                  <a:lnTo>
                    <a:pt x="377357" y="47986"/>
                  </a:lnTo>
                  <a:lnTo>
                    <a:pt x="411177" y="81813"/>
                  </a:lnTo>
                  <a:lnTo>
                    <a:pt x="436958" y="122371"/>
                  </a:lnTo>
                  <a:lnTo>
                    <a:pt x="453387" y="168350"/>
                  </a:lnTo>
                  <a:lnTo>
                    <a:pt x="459155" y="218439"/>
                  </a:lnTo>
                  <a:lnTo>
                    <a:pt x="453387" y="268529"/>
                  </a:lnTo>
                  <a:lnTo>
                    <a:pt x="436958" y="314508"/>
                  </a:lnTo>
                  <a:lnTo>
                    <a:pt x="411177" y="355066"/>
                  </a:lnTo>
                  <a:lnTo>
                    <a:pt x="377357" y="388893"/>
                  </a:lnTo>
                  <a:lnTo>
                    <a:pt x="336808" y="414679"/>
                  </a:lnTo>
                  <a:lnTo>
                    <a:pt x="290840" y="431111"/>
                  </a:lnTo>
                  <a:lnTo>
                    <a:pt x="240766" y="436880"/>
                  </a:lnTo>
                  <a:lnTo>
                    <a:pt x="190693" y="431111"/>
                  </a:lnTo>
                  <a:lnTo>
                    <a:pt x="144727" y="414679"/>
                  </a:lnTo>
                  <a:lnTo>
                    <a:pt x="104180" y="388893"/>
                  </a:lnTo>
                  <a:lnTo>
                    <a:pt x="70363" y="355066"/>
                  </a:lnTo>
                  <a:lnTo>
                    <a:pt x="44585" y="314508"/>
                  </a:lnTo>
                  <a:lnTo>
                    <a:pt x="28157" y="268529"/>
                  </a:lnTo>
                  <a:lnTo>
                    <a:pt x="22390" y="218439"/>
                  </a:lnTo>
                  <a:close/>
                </a:path>
                <a:path w="459740" h="2333625">
                  <a:moveTo>
                    <a:pt x="14935" y="850519"/>
                  </a:moveTo>
                  <a:lnTo>
                    <a:pt x="20703" y="800429"/>
                  </a:lnTo>
                  <a:lnTo>
                    <a:pt x="37132" y="754450"/>
                  </a:lnTo>
                  <a:lnTo>
                    <a:pt x="62913" y="713892"/>
                  </a:lnTo>
                  <a:lnTo>
                    <a:pt x="96733" y="680065"/>
                  </a:lnTo>
                  <a:lnTo>
                    <a:pt x="137282" y="654279"/>
                  </a:lnTo>
                  <a:lnTo>
                    <a:pt x="183250" y="637847"/>
                  </a:lnTo>
                  <a:lnTo>
                    <a:pt x="233324" y="632079"/>
                  </a:lnTo>
                  <a:lnTo>
                    <a:pt x="283397" y="637847"/>
                  </a:lnTo>
                  <a:lnTo>
                    <a:pt x="329363" y="654279"/>
                  </a:lnTo>
                  <a:lnTo>
                    <a:pt x="369910" y="680065"/>
                  </a:lnTo>
                  <a:lnTo>
                    <a:pt x="403727" y="713892"/>
                  </a:lnTo>
                  <a:lnTo>
                    <a:pt x="429505" y="754450"/>
                  </a:lnTo>
                  <a:lnTo>
                    <a:pt x="445933" y="800429"/>
                  </a:lnTo>
                  <a:lnTo>
                    <a:pt x="451700" y="850519"/>
                  </a:lnTo>
                  <a:lnTo>
                    <a:pt x="445933" y="900608"/>
                  </a:lnTo>
                  <a:lnTo>
                    <a:pt x="429505" y="946587"/>
                  </a:lnTo>
                  <a:lnTo>
                    <a:pt x="403727" y="987145"/>
                  </a:lnTo>
                  <a:lnTo>
                    <a:pt x="369910" y="1020972"/>
                  </a:lnTo>
                  <a:lnTo>
                    <a:pt x="329363" y="1046758"/>
                  </a:lnTo>
                  <a:lnTo>
                    <a:pt x="283397" y="1063190"/>
                  </a:lnTo>
                  <a:lnTo>
                    <a:pt x="233324" y="1068958"/>
                  </a:lnTo>
                  <a:lnTo>
                    <a:pt x="183250" y="1063190"/>
                  </a:lnTo>
                  <a:lnTo>
                    <a:pt x="137282" y="1046758"/>
                  </a:lnTo>
                  <a:lnTo>
                    <a:pt x="96733" y="1020972"/>
                  </a:lnTo>
                  <a:lnTo>
                    <a:pt x="62913" y="987145"/>
                  </a:lnTo>
                  <a:lnTo>
                    <a:pt x="37132" y="946587"/>
                  </a:lnTo>
                  <a:lnTo>
                    <a:pt x="20703" y="900608"/>
                  </a:lnTo>
                  <a:lnTo>
                    <a:pt x="14935" y="850519"/>
                  </a:lnTo>
                  <a:close/>
                </a:path>
                <a:path w="459740" h="2333625">
                  <a:moveTo>
                    <a:pt x="0" y="2114677"/>
                  </a:moveTo>
                  <a:lnTo>
                    <a:pt x="5767" y="2064594"/>
                  </a:lnTo>
                  <a:lnTo>
                    <a:pt x="22197" y="2018633"/>
                  </a:lnTo>
                  <a:lnTo>
                    <a:pt x="47978" y="1978100"/>
                  </a:lnTo>
                  <a:lnTo>
                    <a:pt x="81798" y="1944300"/>
                  </a:lnTo>
                  <a:lnTo>
                    <a:pt x="122347" y="1918539"/>
                  </a:lnTo>
                  <a:lnTo>
                    <a:pt x="168314" y="1902125"/>
                  </a:lnTo>
                  <a:lnTo>
                    <a:pt x="218389" y="1896364"/>
                  </a:lnTo>
                  <a:lnTo>
                    <a:pt x="268462" y="1902125"/>
                  </a:lnTo>
                  <a:lnTo>
                    <a:pt x="314428" y="1918539"/>
                  </a:lnTo>
                  <a:lnTo>
                    <a:pt x="354975" y="1944300"/>
                  </a:lnTo>
                  <a:lnTo>
                    <a:pt x="388792" y="1978100"/>
                  </a:lnTo>
                  <a:lnTo>
                    <a:pt x="414570" y="2018633"/>
                  </a:lnTo>
                  <a:lnTo>
                    <a:pt x="430998" y="2064594"/>
                  </a:lnTo>
                  <a:lnTo>
                    <a:pt x="436765" y="2114677"/>
                  </a:lnTo>
                  <a:lnTo>
                    <a:pt x="430998" y="2164760"/>
                  </a:lnTo>
                  <a:lnTo>
                    <a:pt x="414570" y="2210734"/>
                  </a:lnTo>
                  <a:lnTo>
                    <a:pt x="388792" y="2251288"/>
                  </a:lnTo>
                  <a:lnTo>
                    <a:pt x="354975" y="2285111"/>
                  </a:lnTo>
                  <a:lnTo>
                    <a:pt x="314428" y="2310893"/>
                  </a:lnTo>
                  <a:lnTo>
                    <a:pt x="268462" y="2327323"/>
                  </a:lnTo>
                  <a:lnTo>
                    <a:pt x="218389" y="2333091"/>
                  </a:lnTo>
                  <a:lnTo>
                    <a:pt x="168314" y="2327323"/>
                  </a:lnTo>
                  <a:lnTo>
                    <a:pt x="122347" y="2310893"/>
                  </a:lnTo>
                  <a:lnTo>
                    <a:pt x="81798" y="2285111"/>
                  </a:lnTo>
                  <a:lnTo>
                    <a:pt x="47978" y="2251288"/>
                  </a:lnTo>
                  <a:lnTo>
                    <a:pt x="22197" y="2210734"/>
                  </a:lnTo>
                  <a:lnTo>
                    <a:pt x="5767" y="2164760"/>
                  </a:lnTo>
                  <a:lnTo>
                    <a:pt x="0" y="2114677"/>
                  </a:lnTo>
                  <a:close/>
                </a:path>
              </a:pathLst>
            </a:custGeom>
            <a:ln w="12700">
              <a:solidFill>
                <a:srgbClr val="00A0D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3" name="object 13"/>
          <p:cNvSpPr txBox="1"/>
          <p:nvPr/>
        </p:nvSpPr>
        <p:spPr>
          <a:xfrm>
            <a:off x="1360424" y="4693665"/>
            <a:ext cx="5711825" cy="33083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000" b="0" i="0" u="none" strike="noStrike" kern="0" cap="none" spc="0" normalizeH="0" baseline="0" noProof="0">
                <a:ln>
                  <a:noFill/>
                </a:ln>
                <a:solidFill>
                  <a:srgbClr val="005CB8"/>
                </a:solidFill>
                <a:effectLst/>
                <a:uLnTx/>
                <a:uFillTx/>
                <a:latin typeface="Arial"/>
                <a:cs typeface="Arial"/>
              </a:rPr>
              <a:t>Create</a:t>
            </a:r>
            <a:r>
              <a:rPr kumimoji="0" sz="2000" b="0" i="0" u="none" strike="noStrike" kern="0" cap="none" spc="-55" normalizeH="0" baseline="0" noProof="0">
                <a:ln>
                  <a:noFill/>
                </a:ln>
                <a:solidFill>
                  <a:srgbClr val="005CB8"/>
                </a:solidFill>
                <a:effectLst/>
                <a:uLnTx/>
                <a:uFillTx/>
                <a:latin typeface="Arial"/>
                <a:cs typeface="Arial"/>
              </a:rPr>
              <a:t> </a:t>
            </a:r>
            <a:r>
              <a:rPr kumimoji="0" sz="2000" b="0" i="0" u="none" strike="noStrike" kern="0" cap="none" spc="0" normalizeH="0" baseline="0" noProof="0">
                <a:ln>
                  <a:noFill/>
                </a:ln>
                <a:solidFill>
                  <a:srgbClr val="005CB8"/>
                </a:solidFill>
                <a:effectLst/>
                <a:uLnTx/>
                <a:uFillTx/>
                <a:latin typeface="Arial"/>
                <a:cs typeface="Arial"/>
              </a:rPr>
              <a:t>a</a:t>
            </a:r>
            <a:r>
              <a:rPr kumimoji="0" sz="2000" b="0" i="0" u="none" strike="noStrike" kern="0" cap="none" spc="-40" normalizeH="0" baseline="0" noProof="0">
                <a:ln>
                  <a:noFill/>
                </a:ln>
                <a:solidFill>
                  <a:srgbClr val="005CB8"/>
                </a:solidFill>
                <a:effectLst/>
                <a:uLnTx/>
                <a:uFillTx/>
                <a:latin typeface="Arial"/>
                <a:cs typeface="Arial"/>
              </a:rPr>
              <a:t> </a:t>
            </a:r>
            <a:r>
              <a:rPr kumimoji="0" sz="2000" b="0" i="0" u="none" strike="noStrike" kern="0" cap="none" spc="0" normalizeH="0" baseline="0" noProof="0">
                <a:ln>
                  <a:noFill/>
                </a:ln>
                <a:solidFill>
                  <a:srgbClr val="005CB8"/>
                </a:solidFill>
                <a:effectLst/>
                <a:uLnTx/>
                <a:uFillTx/>
                <a:latin typeface="Arial"/>
                <a:cs typeface="Arial"/>
              </a:rPr>
              <a:t>dedicated</a:t>
            </a:r>
            <a:r>
              <a:rPr kumimoji="0" sz="2000" b="0" i="0" u="none" strike="noStrike" kern="0" cap="none" spc="-45"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Gavi</a:t>
            </a:r>
            <a:r>
              <a:rPr kumimoji="0" sz="2000" b="1" i="0" u="none" strike="noStrike" kern="0" cap="none" spc="-35" normalizeH="0" baseline="0" noProof="0">
                <a:ln>
                  <a:noFill/>
                </a:ln>
                <a:solidFill>
                  <a:srgbClr val="005CB8"/>
                </a:solidFill>
                <a:effectLst/>
                <a:uLnTx/>
                <a:uFillTx/>
                <a:latin typeface="Arial"/>
                <a:cs typeface="Arial"/>
              </a:rPr>
              <a:t> </a:t>
            </a:r>
            <a:r>
              <a:rPr kumimoji="0" sz="2000" b="1" i="0" u="none" strike="noStrike" kern="0" cap="none" spc="0" normalizeH="0" baseline="0" noProof="0">
                <a:ln>
                  <a:noFill/>
                </a:ln>
                <a:solidFill>
                  <a:srgbClr val="005CB8"/>
                </a:solidFill>
                <a:effectLst/>
                <a:uLnTx/>
                <a:uFillTx/>
                <a:latin typeface="Arial"/>
                <a:cs typeface="Arial"/>
              </a:rPr>
              <a:t>Resilience</a:t>
            </a:r>
            <a:r>
              <a:rPr kumimoji="0" sz="2000" b="1" i="0" u="none" strike="noStrike" kern="0" cap="none" spc="-55" normalizeH="0" baseline="0" noProof="0">
                <a:ln>
                  <a:noFill/>
                </a:ln>
                <a:solidFill>
                  <a:srgbClr val="005CB8"/>
                </a:solidFill>
                <a:effectLst/>
                <a:uLnTx/>
                <a:uFillTx/>
                <a:latin typeface="Arial"/>
                <a:cs typeface="Arial"/>
              </a:rPr>
              <a:t> </a:t>
            </a:r>
            <a:r>
              <a:rPr kumimoji="0" sz="2000" b="1" i="0" u="none" strike="noStrike" kern="0" cap="none" spc="-10" normalizeH="0" baseline="0" noProof="0">
                <a:ln>
                  <a:noFill/>
                </a:ln>
                <a:solidFill>
                  <a:srgbClr val="005CB8"/>
                </a:solidFill>
                <a:effectLst/>
                <a:uLnTx/>
                <a:uFillTx/>
                <a:latin typeface="Arial"/>
                <a:cs typeface="Arial"/>
              </a:rPr>
              <a:t>Mechanism’</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sp>
        <p:nvSpPr>
          <p:cNvPr id="14" name="object 14"/>
          <p:cNvSpPr txBox="1"/>
          <p:nvPr/>
        </p:nvSpPr>
        <p:spPr>
          <a:xfrm>
            <a:off x="780389" y="1257031"/>
            <a:ext cx="261620" cy="4451985"/>
          </a:xfrm>
          <a:prstGeom prst="rect">
            <a:avLst/>
          </a:prstGeom>
        </p:spPr>
        <p:txBody>
          <a:bodyPr vert="horz" wrap="square" lIns="0" tIns="219075" rIns="0" bIns="0" rtlCol="0">
            <a:spAutoFit/>
          </a:bodyPr>
          <a:lstStyle/>
          <a:p>
            <a:pPr marL="50165" marR="0" lvl="0" indent="0" defTabSz="914400" eaLnBrk="1" fontAlgn="auto" latinLnBrk="0" hangingPunct="1">
              <a:lnSpc>
                <a:spcPct val="100000"/>
              </a:lnSpc>
              <a:spcBef>
                <a:spcPts val="1725"/>
              </a:spcBef>
              <a:spcAft>
                <a:spcPts val="0"/>
              </a:spcAft>
              <a:buClrTx/>
              <a:buSzTx/>
              <a:buFontTx/>
              <a:buNone/>
              <a:tabLst/>
              <a:defRPr/>
            </a:pPr>
            <a:r>
              <a:rPr kumimoji="0" sz="2800" b="1" i="0" u="none" strike="noStrike" kern="0" cap="none" spc="-50" normalizeH="0" baseline="0" noProof="0">
                <a:ln>
                  <a:noFill/>
                </a:ln>
                <a:solidFill>
                  <a:srgbClr val="005CB8"/>
                </a:solidFill>
                <a:effectLst/>
                <a:uLnTx/>
                <a:uFillTx/>
                <a:latin typeface="Arial"/>
                <a:cs typeface="Arial"/>
              </a:rPr>
              <a:t>1</a:t>
            </a:r>
            <a:endParaRPr kumimoji="0" sz="2800" b="0" i="0" u="none" strike="noStrike" kern="0" cap="none" spc="0" normalizeH="0" baseline="0" noProof="0">
              <a:ln>
                <a:noFill/>
              </a:ln>
              <a:solidFill>
                <a:sysClr val="windowText" lastClr="000000"/>
              </a:solidFill>
              <a:effectLst/>
              <a:uLnTx/>
              <a:uFillTx/>
              <a:latin typeface="Arial"/>
              <a:cs typeface="Arial"/>
            </a:endParaRPr>
          </a:p>
          <a:p>
            <a:pPr marL="34925" marR="0" lvl="0" indent="0" defTabSz="914400" eaLnBrk="1" fontAlgn="auto" latinLnBrk="0" hangingPunct="1">
              <a:lnSpc>
                <a:spcPct val="100000"/>
              </a:lnSpc>
              <a:spcBef>
                <a:spcPts val="1620"/>
              </a:spcBef>
              <a:spcAft>
                <a:spcPts val="0"/>
              </a:spcAft>
              <a:buClrTx/>
              <a:buSzTx/>
              <a:buFontTx/>
              <a:buNone/>
              <a:tabLst/>
              <a:defRPr/>
            </a:pPr>
            <a:r>
              <a:rPr kumimoji="0" sz="2800" b="1" i="0" u="none" strike="noStrike" kern="0" cap="none" spc="-50" normalizeH="0" baseline="0" noProof="0">
                <a:ln>
                  <a:noFill/>
                </a:ln>
                <a:solidFill>
                  <a:srgbClr val="005CB8"/>
                </a:solidFill>
                <a:effectLst/>
                <a:uLnTx/>
                <a:uFillTx/>
                <a:latin typeface="Arial"/>
                <a:cs typeface="Arial"/>
              </a:rPr>
              <a:t>2</a:t>
            </a:r>
            <a:endParaRPr kumimoji="0" sz="2800" b="0" i="0" u="none" strike="noStrike" kern="0" cap="none" spc="0" normalizeH="0" baseline="0" noProof="0">
              <a:ln>
                <a:noFill/>
              </a:ln>
              <a:solidFill>
                <a:sysClr val="windowText" lastClr="000000"/>
              </a:solidFill>
              <a:effectLst/>
              <a:uLnTx/>
              <a:uFillTx/>
              <a:latin typeface="Arial"/>
              <a:cs typeface="Arial"/>
            </a:endParaRPr>
          </a:p>
          <a:p>
            <a:pPr marL="34925" marR="0" lvl="0" indent="0" defTabSz="914400" eaLnBrk="1" fontAlgn="auto" latinLnBrk="0" hangingPunct="1">
              <a:lnSpc>
                <a:spcPct val="100000"/>
              </a:lnSpc>
              <a:spcBef>
                <a:spcPts val="1614"/>
              </a:spcBef>
              <a:spcAft>
                <a:spcPts val="0"/>
              </a:spcAft>
              <a:buClrTx/>
              <a:buSzTx/>
              <a:buFontTx/>
              <a:buNone/>
              <a:tabLst/>
              <a:defRPr/>
            </a:pPr>
            <a:r>
              <a:rPr kumimoji="0" sz="2800" b="1" i="0" u="none" strike="noStrike" kern="0" cap="none" spc="-50" normalizeH="0" baseline="0" noProof="0">
                <a:ln>
                  <a:noFill/>
                </a:ln>
                <a:solidFill>
                  <a:srgbClr val="005CB8"/>
                </a:solidFill>
                <a:effectLst/>
                <a:uLnTx/>
                <a:uFillTx/>
                <a:latin typeface="Arial"/>
                <a:cs typeface="Arial"/>
              </a:rPr>
              <a:t>3</a:t>
            </a:r>
            <a:endParaRPr kumimoji="0" sz="2800" b="0" i="0" u="none" strike="noStrike" kern="0" cap="none" spc="0" normalizeH="0" baseline="0" noProof="0">
              <a:ln>
                <a:noFill/>
              </a:ln>
              <a:solidFill>
                <a:sysClr val="windowText" lastClr="000000"/>
              </a:solidFill>
              <a:effectLst/>
              <a:uLnTx/>
              <a:uFillTx/>
              <a:latin typeface="Arial"/>
              <a:cs typeface="Arial"/>
            </a:endParaRPr>
          </a:p>
          <a:p>
            <a:pPr marL="34925" marR="0" lvl="0" indent="0" defTabSz="914400" eaLnBrk="1" fontAlgn="auto" latinLnBrk="0" hangingPunct="1">
              <a:lnSpc>
                <a:spcPct val="100000"/>
              </a:lnSpc>
              <a:spcBef>
                <a:spcPts val="1620"/>
              </a:spcBef>
              <a:spcAft>
                <a:spcPts val="0"/>
              </a:spcAft>
              <a:buClrTx/>
              <a:buSzTx/>
              <a:buFontTx/>
              <a:buNone/>
              <a:tabLst/>
              <a:defRPr/>
            </a:pPr>
            <a:r>
              <a:rPr kumimoji="0" sz="2800" b="1" i="0" u="none" strike="noStrike" kern="0" cap="none" spc="-50" normalizeH="0" baseline="0" noProof="0">
                <a:ln>
                  <a:noFill/>
                </a:ln>
                <a:solidFill>
                  <a:srgbClr val="005CB8"/>
                </a:solidFill>
                <a:effectLst/>
                <a:uLnTx/>
                <a:uFillTx/>
                <a:latin typeface="Arial"/>
                <a:cs typeface="Arial"/>
              </a:rPr>
              <a:t>4</a:t>
            </a:r>
            <a:endParaRPr kumimoji="0" sz="2800" b="0" i="0" u="none" strike="noStrike" kern="0" cap="none" spc="0" normalizeH="0" baseline="0" noProof="0">
              <a:ln>
                <a:noFill/>
              </a:ln>
              <a:solidFill>
                <a:sysClr val="windowText" lastClr="000000"/>
              </a:solidFill>
              <a:effectLst/>
              <a:uLnTx/>
              <a:uFillTx/>
              <a:latin typeface="Arial"/>
              <a:cs typeface="Arial"/>
            </a:endParaRPr>
          </a:p>
          <a:p>
            <a:pPr marL="27305" marR="0" lvl="0" indent="0" defTabSz="914400" eaLnBrk="1" fontAlgn="auto" latinLnBrk="0" hangingPunct="1">
              <a:lnSpc>
                <a:spcPct val="100000"/>
              </a:lnSpc>
              <a:spcBef>
                <a:spcPts val="1635"/>
              </a:spcBef>
              <a:spcAft>
                <a:spcPts val="0"/>
              </a:spcAft>
              <a:buClrTx/>
              <a:buSzTx/>
              <a:buFontTx/>
              <a:buNone/>
              <a:tabLst/>
              <a:defRPr/>
            </a:pPr>
            <a:r>
              <a:rPr kumimoji="0" sz="2800" b="1" i="0" u="none" strike="noStrike" kern="0" cap="none" spc="-50" normalizeH="0" baseline="0" noProof="0">
                <a:ln>
                  <a:noFill/>
                </a:ln>
                <a:solidFill>
                  <a:srgbClr val="005CB8"/>
                </a:solidFill>
                <a:effectLst/>
                <a:uLnTx/>
                <a:uFillTx/>
                <a:latin typeface="Arial"/>
                <a:cs typeface="Arial"/>
              </a:rPr>
              <a:t>5</a:t>
            </a:r>
            <a:endParaRPr kumimoji="0" sz="2800" b="0" i="0" u="none" strike="noStrike" kern="0" cap="none" spc="0" normalizeH="0" baseline="0" noProof="0">
              <a:ln>
                <a:noFill/>
              </a:ln>
              <a:solidFill>
                <a:sysClr val="windowText" lastClr="000000"/>
              </a:solidFill>
              <a:effectLst/>
              <a:uLnTx/>
              <a:uFillTx/>
              <a:latin typeface="Arial"/>
              <a:cs typeface="Arial"/>
            </a:endParaRPr>
          </a:p>
          <a:p>
            <a:pPr marL="20320" marR="0" lvl="0" indent="0" defTabSz="914400" eaLnBrk="1" fontAlgn="auto" latinLnBrk="0" hangingPunct="1">
              <a:lnSpc>
                <a:spcPct val="100000"/>
              </a:lnSpc>
              <a:spcBef>
                <a:spcPts val="1600"/>
              </a:spcBef>
              <a:spcAft>
                <a:spcPts val="0"/>
              </a:spcAft>
              <a:buClrTx/>
              <a:buSzTx/>
              <a:buFontTx/>
              <a:buNone/>
              <a:tabLst/>
              <a:defRPr/>
            </a:pPr>
            <a:r>
              <a:rPr kumimoji="0" sz="2800" b="1" i="0" u="none" strike="noStrike" kern="0" cap="none" spc="-50" normalizeH="0" baseline="0" noProof="0">
                <a:ln>
                  <a:noFill/>
                </a:ln>
                <a:solidFill>
                  <a:srgbClr val="005CB8"/>
                </a:solidFill>
                <a:effectLst/>
                <a:uLnTx/>
                <a:uFillTx/>
                <a:latin typeface="Arial"/>
                <a:cs typeface="Arial"/>
              </a:rPr>
              <a:t>6</a:t>
            </a:r>
            <a:endParaRPr kumimoji="0" sz="28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614"/>
              </a:spcBef>
              <a:spcAft>
                <a:spcPts val="0"/>
              </a:spcAft>
              <a:buClrTx/>
              <a:buSzTx/>
              <a:buFontTx/>
              <a:buNone/>
              <a:tabLst/>
              <a:defRPr/>
            </a:pPr>
            <a:r>
              <a:rPr kumimoji="0" sz="2800" b="1" i="0" u="none" strike="noStrike" kern="0" cap="none" spc="-50" normalizeH="0" baseline="0" noProof="0">
                <a:ln>
                  <a:noFill/>
                </a:ln>
                <a:solidFill>
                  <a:srgbClr val="005CB8"/>
                </a:solidFill>
                <a:effectLst/>
                <a:uLnTx/>
                <a:uFillTx/>
                <a:latin typeface="Arial"/>
                <a:cs typeface="Arial"/>
              </a:rPr>
              <a:t>7</a:t>
            </a:r>
            <a:endParaRPr kumimoji="0" sz="2800" b="0" i="0" u="none" strike="noStrike" kern="0" cap="none" spc="0" normalizeH="0" baseline="0" noProof="0">
              <a:ln>
                <a:noFill/>
              </a:ln>
              <a:solidFill>
                <a:sysClr val="windowText" lastClr="000000"/>
              </a:solidFill>
              <a:effectLst/>
              <a:uLnTx/>
              <a:uFillTx/>
              <a:latin typeface="Arial"/>
              <a:cs typeface="Arial"/>
            </a:endParaRPr>
          </a:p>
        </p:txBody>
      </p:sp>
      <p:sp>
        <p:nvSpPr>
          <p:cNvPr id="15" name="object 15"/>
          <p:cNvSpPr/>
          <p:nvPr/>
        </p:nvSpPr>
        <p:spPr>
          <a:xfrm>
            <a:off x="681405" y="4643246"/>
            <a:ext cx="436880" cy="436880"/>
          </a:xfrm>
          <a:custGeom>
            <a:avLst/>
            <a:gdLst/>
            <a:ahLst/>
            <a:cxnLst/>
            <a:rect l="l" t="t" r="r" b="b"/>
            <a:pathLst>
              <a:path w="436880" h="436879">
                <a:moveTo>
                  <a:pt x="0" y="218312"/>
                </a:moveTo>
                <a:lnTo>
                  <a:pt x="5767" y="168230"/>
                </a:lnTo>
                <a:lnTo>
                  <a:pt x="22197" y="122269"/>
                </a:lnTo>
                <a:lnTo>
                  <a:pt x="47977" y="81736"/>
                </a:lnTo>
                <a:lnTo>
                  <a:pt x="81795" y="47936"/>
                </a:lnTo>
                <a:lnTo>
                  <a:pt x="122343" y="22175"/>
                </a:lnTo>
                <a:lnTo>
                  <a:pt x="168306" y="5761"/>
                </a:lnTo>
                <a:lnTo>
                  <a:pt x="218376" y="0"/>
                </a:lnTo>
                <a:lnTo>
                  <a:pt x="268450" y="5761"/>
                </a:lnTo>
                <a:lnTo>
                  <a:pt x="314418" y="22175"/>
                </a:lnTo>
                <a:lnTo>
                  <a:pt x="354967" y="47936"/>
                </a:lnTo>
                <a:lnTo>
                  <a:pt x="388787" y="81736"/>
                </a:lnTo>
                <a:lnTo>
                  <a:pt x="414568" y="122269"/>
                </a:lnTo>
                <a:lnTo>
                  <a:pt x="430997" y="168230"/>
                </a:lnTo>
                <a:lnTo>
                  <a:pt x="436765" y="218312"/>
                </a:lnTo>
                <a:lnTo>
                  <a:pt x="430997" y="268402"/>
                </a:lnTo>
                <a:lnTo>
                  <a:pt x="414568" y="314381"/>
                </a:lnTo>
                <a:lnTo>
                  <a:pt x="388787" y="354939"/>
                </a:lnTo>
                <a:lnTo>
                  <a:pt x="354967" y="388766"/>
                </a:lnTo>
                <a:lnTo>
                  <a:pt x="314418" y="414552"/>
                </a:lnTo>
                <a:lnTo>
                  <a:pt x="268450" y="430984"/>
                </a:lnTo>
                <a:lnTo>
                  <a:pt x="218376" y="436752"/>
                </a:lnTo>
                <a:lnTo>
                  <a:pt x="168306" y="430984"/>
                </a:lnTo>
                <a:lnTo>
                  <a:pt x="122343" y="414552"/>
                </a:lnTo>
                <a:lnTo>
                  <a:pt x="81795" y="388766"/>
                </a:lnTo>
                <a:lnTo>
                  <a:pt x="47977" y="354939"/>
                </a:lnTo>
                <a:lnTo>
                  <a:pt x="22197" y="314381"/>
                </a:lnTo>
                <a:lnTo>
                  <a:pt x="5767" y="268402"/>
                </a:lnTo>
                <a:lnTo>
                  <a:pt x="0" y="218312"/>
                </a:lnTo>
                <a:close/>
              </a:path>
            </a:pathLst>
          </a:custGeom>
          <a:ln w="12700">
            <a:solidFill>
              <a:srgbClr val="00A0D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6" name="Star: 5 Points 15">
            <a:extLst>
              <a:ext uri="{FF2B5EF4-FFF2-40B4-BE49-F238E27FC236}">
                <a16:creationId xmlns:a16="http://schemas.microsoft.com/office/drawing/2014/main" id="{BB355E31-B9F5-ABF9-5774-341AC9FE3974}"/>
              </a:ext>
            </a:extLst>
          </p:cNvPr>
          <p:cNvSpPr/>
          <p:nvPr/>
        </p:nvSpPr>
        <p:spPr>
          <a:xfrm>
            <a:off x="9601200" y="2688043"/>
            <a:ext cx="533400" cy="494551"/>
          </a:xfrm>
          <a:prstGeom prst="star5">
            <a:avLst/>
          </a:prstGeom>
          <a:solidFill>
            <a:schemeClr val="accent6"/>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79646"/>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B98C3831-D42B-714C-AC1C-10748F0E5715}"/>
              </a:ext>
            </a:extLst>
          </p:cNvPr>
          <p:cNvSpPr txBox="1"/>
          <p:nvPr/>
        </p:nvSpPr>
        <p:spPr>
          <a:xfrm>
            <a:off x="10134600" y="2658767"/>
            <a:ext cx="2459101"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79646"/>
                </a:solidFill>
                <a:effectLst/>
                <a:uLnTx/>
                <a:uFillTx/>
                <a:latin typeface="Arial" panose="020B0604020202020204" pitchFamily="34" charset="0"/>
                <a:cs typeface="Arial" panose="020B0604020202020204" pitchFamily="34" charset="0"/>
              </a:rPr>
              <a:t>CSO partnership</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79646"/>
                </a:solidFill>
                <a:effectLst/>
                <a:uLnTx/>
                <a:uFillTx/>
                <a:latin typeface="Arial" panose="020B0604020202020204" pitchFamily="34" charset="0"/>
                <a:cs typeface="Arial" panose="020B0604020202020204" pitchFamily="34" charset="0"/>
              </a:rPr>
              <a:t>opportunitie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03326" y="6353352"/>
            <a:ext cx="11267440" cy="51625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tab pos="273685" algn="l"/>
              </a:tabLst>
              <a:defRPr/>
            </a:pPr>
            <a:r>
              <a:rPr kumimoji="0" sz="800" b="0" i="0" u="none" strike="noStrike" kern="0" cap="none" spc="-50" normalizeH="0" baseline="0" noProof="0">
                <a:ln>
                  <a:noFill/>
                </a:ln>
                <a:solidFill>
                  <a:srgbClr val="7E7E7E"/>
                </a:solidFill>
                <a:effectLst/>
                <a:uLnTx/>
                <a:uFillTx/>
                <a:latin typeface="Arial"/>
                <a:cs typeface="Arial"/>
              </a:rPr>
              <a:t>4</a:t>
            </a:r>
            <a:r>
              <a:rPr kumimoji="0" sz="800" b="0" i="0" u="none" strike="noStrike" kern="0" cap="none" spc="0" normalizeH="0" baseline="0" noProof="0">
                <a:ln>
                  <a:noFill/>
                </a:ln>
                <a:solidFill>
                  <a:srgbClr val="7E7E7E"/>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Board</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Meeting,</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10" normalizeH="0" baseline="0" noProof="0">
                <a:ln>
                  <a:noFill/>
                </a:ln>
                <a:solidFill>
                  <a:srgbClr val="888888"/>
                </a:solidFill>
                <a:effectLst/>
                <a:uLnTx/>
                <a:uFillTx/>
                <a:latin typeface="Arial"/>
                <a:cs typeface="Arial"/>
              </a:rPr>
              <a:t>24-</a:t>
            </a:r>
            <a:r>
              <a:rPr kumimoji="0" sz="800" b="0" i="0" u="none" strike="noStrike" kern="0" cap="none" spc="0" normalizeH="0" baseline="0" noProof="0">
                <a:ln>
                  <a:noFill/>
                </a:ln>
                <a:solidFill>
                  <a:srgbClr val="888888"/>
                </a:solidFill>
                <a:effectLst/>
                <a:uLnTx/>
                <a:uFillTx/>
                <a:latin typeface="Arial"/>
                <a:cs typeface="Arial"/>
              </a:rPr>
              <a:t>25 July</a:t>
            </a:r>
            <a:r>
              <a:rPr kumimoji="0" sz="800" b="0" i="0" u="none" strike="noStrike" kern="0" cap="none" spc="-35" normalizeH="0" baseline="0" noProof="0">
                <a:ln>
                  <a:noFill/>
                </a:ln>
                <a:solidFill>
                  <a:srgbClr val="888888"/>
                </a:solidFill>
                <a:effectLst/>
                <a:uLnTx/>
                <a:uFillTx/>
                <a:latin typeface="Arial"/>
                <a:cs typeface="Arial"/>
              </a:rPr>
              <a:t> </a:t>
            </a:r>
            <a:r>
              <a:rPr kumimoji="0" sz="800" b="0" i="0" u="none" strike="noStrike" kern="0" cap="none" spc="-20" normalizeH="0" baseline="0" noProof="0">
                <a:ln>
                  <a:noFill/>
                </a:ln>
                <a:solidFill>
                  <a:srgbClr val="888888"/>
                </a:solidFill>
                <a:effectLst/>
                <a:uLnTx/>
                <a:uFillTx/>
                <a:latin typeface="Arial"/>
                <a:cs typeface="Arial"/>
              </a:rPr>
              <a:t>2025</a:t>
            </a:r>
            <a:endParaRPr kumimoji="0" sz="800" b="0" i="0" u="none" strike="noStrike" kern="0" cap="none" spc="0" normalizeH="0" baseline="0" noProof="0">
              <a:ln>
                <a:noFill/>
              </a:ln>
              <a:solidFill>
                <a:sysClr val="windowText" lastClr="000000"/>
              </a:solidFill>
              <a:effectLst/>
              <a:uLnTx/>
              <a:uFillTx/>
              <a:latin typeface="Arial"/>
              <a:cs typeface="Arial"/>
            </a:endParaRPr>
          </a:p>
          <a:p>
            <a:pPr marL="12700" marR="5080" lvl="0" indent="0" defTabSz="914400" eaLnBrk="1" fontAlgn="auto" latinLnBrk="0" hangingPunct="1">
              <a:lnSpc>
                <a:spcPct val="100000"/>
              </a:lnSpc>
              <a:spcBef>
                <a:spcPts val="20"/>
              </a:spcBef>
              <a:spcAft>
                <a:spcPts val="0"/>
              </a:spcAft>
              <a:buClrTx/>
              <a:buSzTx/>
              <a:buFontTx/>
              <a:buNone/>
              <a:tabLst/>
              <a:defRPr/>
            </a:pPr>
            <a:r>
              <a:rPr kumimoji="0" sz="800" b="0" i="0" u="none" strike="noStrike" kern="0" cap="none" spc="0" normalizeH="0" baseline="0" noProof="0">
                <a:ln>
                  <a:noFill/>
                </a:ln>
                <a:solidFill>
                  <a:srgbClr val="888888"/>
                </a:solidFill>
                <a:effectLst/>
                <a:uLnTx/>
                <a:uFillTx/>
                <a:latin typeface="Arial"/>
                <a:cs typeface="Arial"/>
              </a:rPr>
              <a:t>1.</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10" normalizeH="0" baseline="0" noProof="0">
                <a:ln>
                  <a:noFill/>
                </a:ln>
                <a:solidFill>
                  <a:srgbClr val="888888"/>
                </a:solidFill>
                <a:effectLst/>
                <a:uLnTx/>
                <a:uFillTx/>
                <a:latin typeface="Arial"/>
                <a:cs typeface="Arial"/>
              </a:rPr>
              <a:t>Lower-</a:t>
            </a:r>
            <a:r>
              <a:rPr kumimoji="0" sz="800" b="0" i="0" u="none" strike="noStrike" kern="0" cap="none" spc="0" normalizeH="0" baseline="0" noProof="0">
                <a:ln>
                  <a:noFill/>
                </a:ln>
                <a:solidFill>
                  <a:srgbClr val="888888"/>
                </a:solidFill>
                <a:effectLst/>
                <a:uLnTx/>
                <a:uFillTx/>
                <a:latin typeface="Arial"/>
                <a:cs typeface="Arial"/>
              </a:rPr>
              <a:t>middle income</a:t>
            </a:r>
            <a:r>
              <a:rPr kumimoji="0" sz="800" b="0" i="0" u="none" strike="noStrike" kern="0" cap="none" spc="-4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countries</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or</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countries</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eligible</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to</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borrow</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from</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the</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International</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10" normalizeH="0" baseline="0" noProof="0">
                <a:ln>
                  <a:noFill/>
                </a:ln>
                <a:solidFill>
                  <a:srgbClr val="888888"/>
                </a:solidFill>
                <a:effectLst/>
                <a:uLnTx/>
                <a:uFillTx/>
                <a:latin typeface="Arial"/>
                <a:cs typeface="Arial"/>
              </a:rPr>
              <a:t>Development Association</a:t>
            </a:r>
            <a:r>
              <a:rPr kumimoji="0" sz="800" b="0" i="0" u="none" strike="noStrike" kern="0" cap="none" spc="-3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IDA-eligible);</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2.</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Of</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the</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US$</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405</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415</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million,</a:t>
            </a:r>
            <a:r>
              <a:rPr kumimoji="0" sz="800" b="0" i="0" u="none" strike="noStrike" kern="0" cap="none" spc="-3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US$</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195</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million</a:t>
            </a:r>
            <a:r>
              <a:rPr kumimoji="0" sz="800" b="0" i="0" u="none" strike="noStrike" kern="0" cap="none" spc="-5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was</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already</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included</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in</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the</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June</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2024</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Gavi</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6.0</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cost</a:t>
            </a:r>
            <a:r>
              <a:rPr kumimoji="0" sz="800" b="0" i="0" u="none" strike="noStrike" kern="0" cap="none" spc="-3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estimate</a:t>
            </a:r>
            <a:r>
              <a:rPr kumimoji="0" sz="800" b="0" i="0" u="none" strike="noStrike" kern="0" cap="none" spc="-4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and</a:t>
            </a:r>
            <a:r>
              <a:rPr kumimoji="0" sz="800" b="0" i="0" u="none" strike="noStrike" kern="0" cap="none" spc="30" normalizeH="0" baseline="0" noProof="0">
                <a:ln>
                  <a:noFill/>
                </a:ln>
                <a:solidFill>
                  <a:srgbClr val="888888"/>
                </a:solidFill>
                <a:effectLst/>
                <a:uLnTx/>
                <a:uFillTx/>
                <a:latin typeface="Arial"/>
                <a:cs typeface="Arial"/>
              </a:rPr>
              <a:t> </a:t>
            </a:r>
            <a:r>
              <a:rPr kumimoji="0" sz="800" b="0" i="0" u="none" strike="noStrike" kern="0" cap="none" spc="-10" normalizeH="0" baseline="0" noProof="0">
                <a:ln>
                  <a:noFill/>
                </a:ln>
                <a:solidFill>
                  <a:srgbClr val="888888"/>
                </a:solidFill>
                <a:effectLst/>
                <a:uLnTx/>
                <a:uFillTx/>
                <a:latin typeface="Arial"/>
                <a:cs typeface="Arial"/>
              </a:rPr>
              <a:t>entails</a:t>
            </a:r>
            <a:r>
              <a:rPr kumimoji="0" sz="800" b="0" i="0" u="none" strike="noStrike" kern="0" cap="none" spc="50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a</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reallocation</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of</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US$</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135</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million</a:t>
            </a:r>
            <a:r>
              <a:rPr kumimoji="0" sz="800" b="0" i="0" u="none" strike="noStrike" kern="0" cap="none" spc="-4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from</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the</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Gavi</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6.0</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HSS</a:t>
            </a:r>
            <a:r>
              <a:rPr kumimoji="0" sz="800" b="0" i="0" u="none" strike="noStrike" kern="0" cap="none" spc="-2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ceiling</a:t>
            </a:r>
            <a:r>
              <a:rPr kumimoji="0" sz="800" b="0" i="0" u="none" strike="noStrike" kern="0" cap="none" spc="-3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to</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the</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GRM.</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The</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remaining</a:t>
            </a:r>
            <a:r>
              <a:rPr kumimoji="0" sz="800" b="0" i="0" u="none" strike="noStrike" kern="0" cap="none" spc="-2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amounts</a:t>
            </a:r>
            <a:r>
              <a:rPr kumimoji="0" sz="800" b="0" i="0" u="none" strike="noStrike" kern="0" cap="none" spc="-2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are</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additional</a:t>
            </a:r>
            <a:r>
              <a:rPr kumimoji="0" sz="800" b="0" i="0" u="none" strike="noStrike" kern="0" cap="none" spc="-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and</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included</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in</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the</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updated</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Gavi</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6.0</a:t>
            </a:r>
            <a:r>
              <a:rPr kumimoji="0" sz="800" b="0" i="0" u="none" strike="noStrike" kern="0" cap="none" spc="-10" normalizeH="0" baseline="0" noProof="0">
                <a:ln>
                  <a:noFill/>
                </a:ln>
                <a:solidFill>
                  <a:srgbClr val="888888"/>
                </a:solidFill>
                <a:effectLst/>
                <a:uLnTx/>
                <a:uFillTx/>
                <a:latin typeface="Arial"/>
                <a:cs typeface="Arial"/>
              </a:rPr>
              <a:t> financial</a:t>
            </a:r>
            <a:r>
              <a:rPr kumimoji="0" sz="800" b="0" i="0" u="none" strike="noStrike" kern="0" cap="none" spc="-3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forecast</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for</a:t>
            </a:r>
            <a:r>
              <a:rPr kumimoji="0" sz="800" b="0" i="0" u="none" strike="noStrike" kern="0" cap="none" spc="-3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discussion</a:t>
            </a:r>
            <a:r>
              <a:rPr kumimoji="0" sz="800" b="0" i="0" u="none" strike="noStrike" kern="0" cap="none" spc="-3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by</a:t>
            </a:r>
            <a:r>
              <a:rPr kumimoji="0" sz="800" b="0" i="0" u="none" strike="noStrike" kern="0" cap="none" spc="-2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the</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Audit</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and</a:t>
            </a:r>
            <a:r>
              <a:rPr kumimoji="0" sz="800" b="0" i="0" u="none" strike="noStrike" kern="0" cap="none" spc="3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Finance</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Committee</a:t>
            </a:r>
            <a:r>
              <a:rPr kumimoji="0" sz="800" b="0" i="0" u="none" strike="noStrike" kern="0" cap="none" spc="-4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at</a:t>
            </a:r>
            <a:r>
              <a:rPr kumimoji="0" sz="800" b="0" i="0" u="none" strike="noStrike" kern="0" cap="none" spc="-15"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its</a:t>
            </a:r>
            <a:r>
              <a:rPr kumimoji="0" sz="800" b="0" i="0" u="none" strike="noStrike" kern="0" cap="none" spc="-3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meeting</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on</a:t>
            </a:r>
            <a:r>
              <a:rPr kumimoji="0" sz="800" b="0" i="0" u="none" strike="noStrike" kern="0" cap="none" spc="-20" normalizeH="0" baseline="0" noProof="0">
                <a:ln>
                  <a:noFill/>
                </a:ln>
                <a:solidFill>
                  <a:srgbClr val="888888"/>
                </a:solidFill>
                <a:effectLst/>
                <a:uLnTx/>
                <a:uFillTx/>
                <a:latin typeface="Arial"/>
                <a:cs typeface="Arial"/>
              </a:rPr>
              <a:t> </a:t>
            </a:r>
            <a:r>
              <a:rPr kumimoji="0" sz="800" b="0" i="0" u="none" strike="noStrike" kern="0" cap="none" spc="0" normalizeH="0" baseline="0" noProof="0">
                <a:ln>
                  <a:noFill/>
                </a:ln>
                <a:solidFill>
                  <a:srgbClr val="888888"/>
                </a:solidFill>
                <a:effectLst/>
                <a:uLnTx/>
                <a:uFillTx/>
                <a:latin typeface="Arial"/>
                <a:cs typeface="Arial"/>
              </a:rPr>
              <a:t>17th</a:t>
            </a:r>
            <a:r>
              <a:rPr kumimoji="0" sz="800" b="0" i="0" u="none" strike="noStrike" kern="0" cap="none" spc="-10" normalizeH="0" baseline="0" noProof="0">
                <a:ln>
                  <a:noFill/>
                </a:ln>
                <a:solidFill>
                  <a:srgbClr val="888888"/>
                </a:solidFill>
                <a:effectLst/>
                <a:uLnTx/>
                <a:uFillTx/>
                <a:latin typeface="Arial"/>
                <a:cs typeface="Arial"/>
              </a:rPr>
              <a:t> </a:t>
            </a:r>
            <a:r>
              <a:rPr kumimoji="0" sz="800" b="0" i="0" u="none" strike="noStrike" kern="0" cap="none" spc="-20" normalizeH="0" baseline="0" noProof="0">
                <a:ln>
                  <a:noFill/>
                </a:ln>
                <a:solidFill>
                  <a:srgbClr val="888888"/>
                </a:solidFill>
                <a:effectLst/>
                <a:uLnTx/>
                <a:uFillTx/>
                <a:latin typeface="Arial"/>
                <a:cs typeface="Arial"/>
              </a:rPr>
              <a:t>July 2025</a:t>
            </a:r>
            <a:endParaRPr kumimoji="0" sz="800" b="0" i="0" u="none" strike="noStrike" kern="0" cap="none" spc="0" normalizeH="0" baseline="0" noProof="0">
              <a:ln>
                <a:noFill/>
              </a:ln>
              <a:solidFill>
                <a:sysClr val="windowText" lastClr="000000"/>
              </a:solidFill>
              <a:effectLst/>
              <a:uLnTx/>
              <a:uFillTx/>
              <a:latin typeface="Arial"/>
              <a:cs typeface="Arial"/>
            </a:endParaRPr>
          </a:p>
        </p:txBody>
      </p:sp>
      <p:sp>
        <p:nvSpPr>
          <p:cNvPr id="3" name="object 3"/>
          <p:cNvSpPr txBox="1">
            <a:spLocks noGrp="1"/>
          </p:cNvSpPr>
          <p:nvPr>
            <p:ph type="title"/>
          </p:nvPr>
        </p:nvSpPr>
        <p:spPr>
          <a:xfrm>
            <a:off x="509117" y="294894"/>
            <a:ext cx="10987405" cy="830997"/>
          </a:xfrm>
          <a:prstGeom prst="rect">
            <a:avLst/>
          </a:prstGeom>
        </p:spPr>
        <p:txBody>
          <a:bodyPr vert="horz" wrap="square" lIns="0" tIns="60960" rIns="0" bIns="0" rtlCol="0">
            <a:spAutoFit/>
          </a:bodyPr>
          <a:lstStyle/>
          <a:p>
            <a:pPr marL="12700" marR="5080">
              <a:lnSpc>
                <a:spcPts val="3020"/>
              </a:lnSpc>
              <a:spcBef>
                <a:spcPts val="480"/>
              </a:spcBef>
            </a:pPr>
            <a:r>
              <a:rPr lang="en-US" sz="2800"/>
              <a:t>Gavi has created a d</a:t>
            </a:r>
            <a:r>
              <a:rPr sz="2800"/>
              <a:t>edicated</a:t>
            </a:r>
            <a:r>
              <a:rPr sz="2800" spc="-85"/>
              <a:t> </a:t>
            </a:r>
            <a:r>
              <a:rPr sz="2800"/>
              <a:t>Resilience</a:t>
            </a:r>
            <a:r>
              <a:rPr sz="2800" spc="-85"/>
              <a:t> </a:t>
            </a:r>
            <a:r>
              <a:rPr sz="2800"/>
              <a:t>Mechanism</a:t>
            </a:r>
            <a:r>
              <a:rPr sz="2800" spc="-70"/>
              <a:t> </a:t>
            </a:r>
            <a:r>
              <a:rPr sz="2800"/>
              <a:t>to</a:t>
            </a:r>
            <a:r>
              <a:rPr sz="2800" spc="-90"/>
              <a:t> </a:t>
            </a:r>
            <a:r>
              <a:rPr sz="2800"/>
              <a:t>respond</a:t>
            </a:r>
            <a:r>
              <a:rPr sz="2800" spc="-90"/>
              <a:t> </a:t>
            </a:r>
            <a:r>
              <a:rPr sz="2800"/>
              <a:t>to</a:t>
            </a:r>
            <a:r>
              <a:rPr sz="2800" spc="-85"/>
              <a:t> </a:t>
            </a:r>
            <a:r>
              <a:rPr sz="2800" spc="-10"/>
              <a:t>unforeseen </a:t>
            </a:r>
            <a:r>
              <a:rPr sz="2800"/>
              <a:t>needs,</a:t>
            </a:r>
            <a:r>
              <a:rPr sz="2800" spc="-55"/>
              <a:t> </a:t>
            </a:r>
            <a:r>
              <a:rPr sz="2800"/>
              <a:t>with</a:t>
            </a:r>
            <a:r>
              <a:rPr sz="2800" spc="-75"/>
              <a:t> </a:t>
            </a:r>
            <a:r>
              <a:rPr sz="2800"/>
              <a:t>four</a:t>
            </a:r>
            <a:r>
              <a:rPr sz="2800" spc="-55"/>
              <a:t> </a:t>
            </a:r>
            <a:r>
              <a:rPr sz="2800"/>
              <a:t>use</a:t>
            </a:r>
            <a:r>
              <a:rPr sz="2800" spc="-55"/>
              <a:t> </a:t>
            </a:r>
            <a:r>
              <a:rPr sz="2800" spc="-10"/>
              <a:t>cases</a:t>
            </a:r>
            <a:endParaRPr sz="2800"/>
          </a:p>
        </p:txBody>
      </p:sp>
      <p:grpSp>
        <p:nvGrpSpPr>
          <p:cNvPr id="4" name="object 4"/>
          <p:cNvGrpSpPr/>
          <p:nvPr/>
        </p:nvGrpSpPr>
        <p:grpSpPr>
          <a:xfrm>
            <a:off x="519823" y="1315974"/>
            <a:ext cx="11156315" cy="3989070"/>
            <a:chOff x="519823" y="1315974"/>
            <a:chExt cx="11156315" cy="3989070"/>
          </a:xfrm>
        </p:grpSpPr>
        <p:sp>
          <p:nvSpPr>
            <p:cNvPr id="5" name="object 5"/>
            <p:cNvSpPr/>
            <p:nvPr/>
          </p:nvSpPr>
          <p:spPr>
            <a:xfrm>
              <a:off x="519823" y="1315974"/>
              <a:ext cx="11156315" cy="3989070"/>
            </a:xfrm>
            <a:custGeom>
              <a:avLst/>
              <a:gdLst/>
              <a:ahLst/>
              <a:cxnLst/>
              <a:rect l="l" t="t" r="r" b="b"/>
              <a:pathLst>
                <a:path w="11156315" h="3989070">
                  <a:moveTo>
                    <a:pt x="11156175" y="0"/>
                  </a:moveTo>
                  <a:lnTo>
                    <a:pt x="0" y="0"/>
                  </a:lnTo>
                  <a:lnTo>
                    <a:pt x="0" y="3989070"/>
                  </a:lnTo>
                  <a:lnTo>
                    <a:pt x="11156175" y="3989070"/>
                  </a:lnTo>
                  <a:lnTo>
                    <a:pt x="11156175" y="0"/>
                  </a:lnTo>
                  <a:close/>
                </a:path>
              </a:pathLst>
            </a:custGeom>
            <a:solidFill>
              <a:srgbClr val="D4EDE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6" name="object 6"/>
            <p:cNvPicPr/>
            <p:nvPr/>
          </p:nvPicPr>
          <p:blipFill>
            <a:blip r:embed="rId2" cstate="print"/>
            <a:stretch>
              <a:fillRect/>
            </a:stretch>
          </p:blipFill>
          <p:spPr>
            <a:xfrm>
              <a:off x="635507" y="4308347"/>
              <a:ext cx="934974" cy="933449"/>
            </a:xfrm>
            <a:prstGeom prst="rect">
              <a:avLst/>
            </a:prstGeom>
          </p:spPr>
        </p:pic>
        <p:pic>
          <p:nvPicPr>
            <p:cNvPr id="7" name="object 7"/>
            <p:cNvPicPr/>
            <p:nvPr/>
          </p:nvPicPr>
          <p:blipFill>
            <a:blip r:embed="rId3" cstate="print"/>
            <a:stretch>
              <a:fillRect/>
            </a:stretch>
          </p:blipFill>
          <p:spPr>
            <a:xfrm>
              <a:off x="635507" y="3334512"/>
              <a:ext cx="934974" cy="933450"/>
            </a:xfrm>
            <a:prstGeom prst="rect">
              <a:avLst/>
            </a:prstGeom>
          </p:spPr>
        </p:pic>
        <p:pic>
          <p:nvPicPr>
            <p:cNvPr id="8" name="object 8"/>
            <p:cNvPicPr/>
            <p:nvPr/>
          </p:nvPicPr>
          <p:blipFill>
            <a:blip r:embed="rId4" cstate="print"/>
            <a:stretch>
              <a:fillRect/>
            </a:stretch>
          </p:blipFill>
          <p:spPr>
            <a:xfrm>
              <a:off x="635507" y="1385316"/>
              <a:ext cx="934974" cy="934974"/>
            </a:xfrm>
            <a:prstGeom prst="rect">
              <a:avLst/>
            </a:prstGeom>
          </p:spPr>
        </p:pic>
        <p:pic>
          <p:nvPicPr>
            <p:cNvPr id="9" name="object 9"/>
            <p:cNvPicPr/>
            <p:nvPr/>
          </p:nvPicPr>
          <p:blipFill>
            <a:blip r:embed="rId5" cstate="print"/>
            <a:stretch>
              <a:fillRect/>
            </a:stretch>
          </p:blipFill>
          <p:spPr>
            <a:xfrm>
              <a:off x="635507" y="2359152"/>
              <a:ext cx="934974" cy="934974"/>
            </a:xfrm>
            <a:prstGeom prst="rect">
              <a:avLst/>
            </a:prstGeom>
          </p:spPr>
        </p:pic>
      </p:grpSp>
      <p:sp>
        <p:nvSpPr>
          <p:cNvPr id="11" name="object 11"/>
          <p:cNvSpPr txBox="1"/>
          <p:nvPr/>
        </p:nvSpPr>
        <p:spPr>
          <a:xfrm>
            <a:off x="519823" y="1315974"/>
            <a:ext cx="11156315" cy="3989070"/>
          </a:xfrm>
          <a:prstGeom prst="rect">
            <a:avLst/>
          </a:prstGeom>
        </p:spPr>
        <p:txBody>
          <a:bodyPr vert="horz" wrap="square" lIns="0" tIns="109220" rIns="0" bIns="0" rtlCol="0">
            <a:spAutoFit/>
          </a:bodyPr>
          <a:lstStyle/>
          <a:p>
            <a:pPr marL="0" marR="0" lvl="0" indent="0" defTabSz="914400" eaLnBrk="1" fontAlgn="auto" latinLnBrk="0" hangingPunct="1">
              <a:lnSpc>
                <a:spcPct val="100000"/>
              </a:lnSpc>
              <a:spcBef>
                <a:spcPts val="860"/>
              </a:spcBef>
              <a:spcAft>
                <a:spcPts val="0"/>
              </a:spcAft>
              <a:buClrTx/>
              <a:buSzTx/>
              <a:buFontTx/>
              <a:buNone/>
              <a:tabLst/>
              <a:defRPr/>
            </a:pPr>
            <a:endParaRPr kumimoji="0" sz="1900" b="0" i="0" u="none" strike="noStrike" kern="0" cap="none" spc="0" normalizeH="0" baseline="0" noProof="0">
              <a:ln>
                <a:noFill/>
              </a:ln>
              <a:solidFill>
                <a:sysClr val="windowText" lastClr="000000"/>
              </a:solidFill>
              <a:effectLst/>
              <a:uLnTx/>
              <a:uFillTx/>
              <a:latin typeface="Times New Roman"/>
              <a:cs typeface="Times New Roman"/>
            </a:endParaRPr>
          </a:p>
          <a:p>
            <a:pPr marL="1385570" marR="0" lvl="0" indent="0" defTabSz="914400" eaLnBrk="1" fontAlgn="auto" latinLnBrk="0" hangingPunct="1">
              <a:lnSpc>
                <a:spcPct val="100000"/>
              </a:lnSpc>
              <a:spcBef>
                <a:spcPts val="0"/>
              </a:spcBef>
              <a:spcAft>
                <a:spcPts val="0"/>
              </a:spcAft>
              <a:buClrTx/>
              <a:buSzTx/>
              <a:buFontTx/>
              <a:buNone/>
              <a:tabLst/>
              <a:defRPr/>
            </a:pPr>
            <a:r>
              <a:rPr kumimoji="0" sz="1900" b="1" i="0" u="none" strike="noStrike" kern="0" cap="none" spc="-10" normalizeH="0" baseline="0" noProof="0">
                <a:ln>
                  <a:noFill/>
                </a:ln>
                <a:solidFill>
                  <a:srgbClr val="3D9B6D"/>
                </a:solidFill>
                <a:effectLst/>
                <a:uLnTx/>
                <a:uFillTx/>
                <a:latin typeface="Arial"/>
                <a:cs typeface="Arial"/>
              </a:rPr>
              <a:t>Newly-</a:t>
            </a:r>
            <a:r>
              <a:rPr kumimoji="0" sz="1900" b="1" i="0" u="none" strike="noStrike" kern="0" cap="none" spc="0" normalizeH="0" baseline="0" noProof="0">
                <a:ln>
                  <a:noFill/>
                </a:ln>
                <a:solidFill>
                  <a:srgbClr val="3D9B6D"/>
                </a:solidFill>
                <a:effectLst/>
                <a:uLnTx/>
                <a:uFillTx/>
                <a:latin typeface="Arial"/>
                <a:cs typeface="Arial"/>
              </a:rPr>
              <a:t>arising</a:t>
            </a:r>
            <a:r>
              <a:rPr kumimoji="0" sz="1900" b="1" i="0" u="none" strike="noStrike" kern="0" cap="none" spc="-55"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needs</a:t>
            </a:r>
            <a:r>
              <a:rPr kumimoji="0" sz="1900" b="1" i="0" u="none" strike="noStrike" kern="0" cap="none" spc="-50"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in</a:t>
            </a:r>
            <a:r>
              <a:rPr kumimoji="0" sz="1900" b="1" i="0" u="none" strike="noStrike" kern="0" cap="none" spc="-55"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chronically</a:t>
            </a:r>
            <a:r>
              <a:rPr kumimoji="0" sz="1900" b="1" i="0" u="none" strike="noStrike" kern="0" cap="none" spc="-45"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fragile</a:t>
            </a:r>
            <a:r>
              <a:rPr kumimoji="0" sz="1900" b="1" i="0" u="none" strike="noStrike" kern="0" cap="none" spc="-50" normalizeH="0" baseline="0" noProof="0">
                <a:ln>
                  <a:noFill/>
                </a:ln>
                <a:solidFill>
                  <a:srgbClr val="3D9B6D"/>
                </a:solidFill>
                <a:effectLst/>
                <a:uLnTx/>
                <a:uFillTx/>
                <a:latin typeface="Arial"/>
                <a:cs typeface="Arial"/>
              </a:rPr>
              <a:t> </a:t>
            </a:r>
            <a:r>
              <a:rPr kumimoji="0" sz="1900" b="1" i="0" u="none" strike="noStrike" kern="0" cap="none" spc="-10" normalizeH="0" baseline="0" noProof="0">
                <a:ln>
                  <a:noFill/>
                </a:ln>
                <a:solidFill>
                  <a:srgbClr val="3D9B6D"/>
                </a:solidFill>
                <a:effectLst/>
                <a:uLnTx/>
                <a:uFillTx/>
                <a:latin typeface="Arial"/>
                <a:cs typeface="Arial"/>
              </a:rPr>
              <a:t>settings</a:t>
            </a:r>
            <a:endParaRPr kumimoji="0" sz="19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19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60"/>
              </a:spcBef>
              <a:spcAft>
                <a:spcPts val="0"/>
              </a:spcAft>
              <a:buClrTx/>
              <a:buSzTx/>
              <a:buFontTx/>
              <a:buNone/>
              <a:tabLst/>
              <a:defRPr/>
            </a:pPr>
            <a:endParaRPr kumimoji="0" sz="1900" b="0" i="0" u="none" strike="noStrike" kern="0" cap="none" spc="0" normalizeH="0" baseline="0" noProof="0">
              <a:ln>
                <a:noFill/>
              </a:ln>
              <a:solidFill>
                <a:sysClr val="windowText" lastClr="000000"/>
              </a:solidFill>
              <a:effectLst/>
              <a:uLnTx/>
              <a:uFillTx/>
              <a:latin typeface="Arial"/>
              <a:cs typeface="Arial"/>
            </a:endParaRPr>
          </a:p>
          <a:p>
            <a:pPr marL="1385570" marR="0" lvl="0" indent="0" defTabSz="914400" eaLnBrk="1" fontAlgn="auto" latinLnBrk="0" hangingPunct="1">
              <a:lnSpc>
                <a:spcPct val="100000"/>
              </a:lnSpc>
              <a:spcBef>
                <a:spcPts val="0"/>
              </a:spcBef>
              <a:spcAft>
                <a:spcPts val="0"/>
              </a:spcAft>
              <a:buClrTx/>
              <a:buSzTx/>
              <a:buFontTx/>
              <a:buNone/>
              <a:tabLst/>
              <a:defRPr/>
            </a:pPr>
            <a:r>
              <a:rPr kumimoji="0" sz="1900" b="1" i="0" u="none" strike="noStrike" kern="0" cap="none" spc="0" normalizeH="0" baseline="0" noProof="0">
                <a:ln>
                  <a:noFill/>
                </a:ln>
                <a:solidFill>
                  <a:srgbClr val="3D9B6D"/>
                </a:solidFill>
                <a:effectLst/>
                <a:uLnTx/>
                <a:uFillTx/>
                <a:latin typeface="Arial"/>
                <a:cs typeface="Arial"/>
              </a:rPr>
              <a:t>Emergencies</a:t>
            </a:r>
            <a:r>
              <a:rPr kumimoji="0" sz="1900" b="1" i="0" u="none" strike="noStrike" kern="0" cap="none" spc="-70"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including</a:t>
            </a:r>
            <a:r>
              <a:rPr kumimoji="0" sz="1900" b="1" i="0" u="none" strike="noStrike" kern="0" cap="none" spc="-95" normalizeH="0" baseline="0" noProof="0">
                <a:ln>
                  <a:noFill/>
                </a:ln>
                <a:solidFill>
                  <a:srgbClr val="3D9B6D"/>
                </a:solidFill>
                <a:effectLst/>
                <a:uLnTx/>
                <a:uFillTx/>
                <a:latin typeface="Arial"/>
                <a:cs typeface="Arial"/>
              </a:rPr>
              <a:t> </a:t>
            </a:r>
            <a:r>
              <a:rPr kumimoji="0" sz="1900" b="1" i="0" u="none" strike="noStrike" kern="0" cap="none" spc="-10" normalizeH="0" baseline="0" noProof="0">
                <a:ln>
                  <a:noFill/>
                </a:ln>
                <a:solidFill>
                  <a:srgbClr val="3D9B6D"/>
                </a:solidFill>
                <a:effectLst/>
                <a:uLnTx/>
                <a:uFillTx/>
                <a:latin typeface="Arial"/>
                <a:cs typeface="Arial"/>
              </a:rPr>
              <a:t>outbreaks</a:t>
            </a:r>
            <a:endParaRPr kumimoji="0" sz="1900" b="0" i="0" u="none" strike="noStrike" kern="0" cap="none" spc="0" normalizeH="0" baseline="0" noProof="0">
              <a:ln>
                <a:noFill/>
              </a:ln>
              <a:solidFill>
                <a:sysClr val="windowText" lastClr="000000"/>
              </a:solidFill>
              <a:effectLst/>
              <a:uLnTx/>
              <a:uFillTx/>
              <a:latin typeface="Arial"/>
              <a:cs typeface="Arial"/>
            </a:endParaRPr>
          </a:p>
          <a:p>
            <a:pPr marL="1385570" marR="0" lvl="0" indent="0" defTabSz="914400" eaLnBrk="1" fontAlgn="auto" latinLnBrk="0" hangingPunct="1">
              <a:lnSpc>
                <a:spcPct val="100000"/>
              </a:lnSpc>
              <a:spcBef>
                <a:spcPts val="15"/>
              </a:spcBef>
              <a:spcAft>
                <a:spcPts val="0"/>
              </a:spcAft>
              <a:buClrTx/>
              <a:buSzTx/>
              <a:buFontTx/>
              <a:buNone/>
              <a:tabLst/>
              <a:defRPr/>
            </a:pPr>
            <a:r>
              <a:rPr kumimoji="0" sz="1600" b="0" i="1" u="none" strike="noStrike" kern="0" cap="none" spc="0" normalizeH="0" baseline="0" noProof="0">
                <a:ln>
                  <a:noFill/>
                </a:ln>
                <a:solidFill>
                  <a:srgbClr val="1F4E37"/>
                </a:solidFill>
                <a:effectLst/>
                <a:uLnTx/>
                <a:uFillTx/>
                <a:latin typeface="Arial"/>
                <a:cs typeface="Arial"/>
              </a:rPr>
              <a:t>Only</a:t>
            </a:r>
            <a:r>
              <a:rPr kumimoji="0" sz="1600" b="0" i="1" u="none" strike="noStrike" kern="0" cap="none" spc="-55"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outbreak</a:t>
            </a:r>
            <a:r>
              <a:rPr kumimoji="0" sz="1600" b="0" i="1" u="none" strike="noStrike" kern="0" cap="none" spc="-30"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support</a:t>
            </a:r>
            <a:r>
              <a:rPr kumimoji="0" sz="1600" b="0" i="1" u="none" strike="noStrike" kern="0" cap="none" spc="-45"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not</a:t>
            </a:r>
            <a:r>
              <a:rPr kumimoji="0" sz="1600" b="0" i="1" u="none" strike="noStrike" kern="0" cap="none" spc="-45"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covered</a:t>
            </a:r>
            <a:r>
              <a:rPr kumimoji="0" sz="1600" b="0" i="1" u="none" strike="noStrike" kern="0" cap="none" spc="-55"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through</a:t>
            </a:r>
            <a:r>
              <a:rPr kumimoji="0" sz="1600" b="0" i="1" u="none" strike="noStrike" kern="0" cap="none" spc="-40"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existing</a:t>
            </a:r>
            <a:r>
              <a:rPr kumimoji="0" sz="1600" b="0" i="1" u="none" strike="noStrike" kern="0" cap="none" spc="-65" normalizeH="0" baseline="0" noProof="0">
                <a:ln>
                  <a:noFill/>
                </a:ln>
                <a:solidFill>
                  <a:srgbClr val="1F4E37"/>
                </a:solidFill>
                <a:effectLst/>
                <a:uLnTx/>
                <a:uFillTx/>
                <a:latin typeface="Arial"/>
                <a:cs typeface="Arial"/>
              </a:rPr>
              <a:t> </a:t>
            </a:r>
            <a:r>
              <a:rPr kumimoji="0" sz="1600" b="0" i="1" u="none" strike="noStrike" kern="0" cap="none" spc="-10" normalizeH="0" baseline="0" noProof="0">
                <a:ln>
                  <a:noFill/>
                </a:ln>
                <a:solidFill>
                  <a:srgbClr val="1F4E37"/>
                </a:solidFill>
                <a:effectLst/>
                <a:uLnTx/>
                <a:uFillTx/>
                <a:latin typeface="Arial"/>
                <a:cs typeface="Arial"/>
              </a:rPr>
              <a:t>mechanisms</a:t>
            </a:r>
            <a:endParaRPr kumimoji="0" sz="16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1614"/>
              </a:spcBef>
              <a:spcAft>
                <a:spcPts val="0"/>
              </a:spcAft>
              <a:buClrTx/>
              <a:buSzTx/>
              <a:buFontTx/>
              <a:buNone/>
              <a:tabLst/>
              <a:defRPr/>
            </a:pPr>
            <a:endParaRPr kumimoji="0" sz="1600" b="0" i="0" u="none" strike="noStrike" kern="0" cap="none" spc="0" normalizeH="0" baseline="0" noProof="0">
              <a:ln>
                <a:noFill/>
              </a:ln>
              <a:solidFill>
                <a:sysClr val="windowText" lastClr="000000"/>
              </a:solidFill>
              <a:effectLst/>
              <a:uLnTx/>
              <a:uFillTx/>
              <a:latin typeface="Arial"/>
              <a:cs typeface="Arial"/>
            </a:endParaRPr>
          </a:p>
          <a:p>
            <a:pPr marL="1399540" marR="0" lvl="0" indent="0" defTabSz="914400" eaLnBrk="1" fontAlgn="auto" latinLnBrk="0" hangingPunct="1">
              <a:lnSpc>
                <a:spcPct val="100000"/>
              </a:lnSpc>
              <a:spcBef>
                <a:spcPts val="0"/>
              </a:spcBef>
              <a:spcAft>
                <a:spcPts val="0"/>
              </a:spcAft>
              <a:buClrTx/>
              <a:buSzTx/>
              <a:buFontTx/>
              <a:buNone/>
              <a:tabLst/>
              <a:defRPr/>
            </a:pPr>
            <a:r>
              <a:rPr kumimoji="0" sz="1900" b="1" i="0" u="none" strike="noStrike" kern="0" cap="none" spc="0" normalizeH="0" baseline="0" noProof="0">
                <a:ln>
                  <a:noFill/>
                </a:ln>
                <a:solidFill>
                  <a:srgbClr val="3D9B6D"/>
                </a:solidFill>
                <a:effectLst/>
                <a:uLnTx/>
                <a:uFillTx/>
                <a:latin typeface="Arial"/>
                <a:cs typeface="Arial"/>
              </a:rPr>
              <a:t>Settings</a:t>
            </a:r>
            <a:r>
              <a:rPr kumimoji="0" sz="1900" b="1" i="0" u="none" strike="noStrike" kern="0" cap="none" spc="-60"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that</a:t>
            </a:r>
            <a:r>
              <a:rPr kumimoji="0" sz="1900" b="1" i="0" u="none" strike="noStrike" kern="0" cap="none" spc="-70"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require</a:t>
            </a:r>
            <a:r>
              <a:rPr kumimoji="0" sz="1900" b="1" i="0" u="none" strike="noStrike" kern="0" cap="none" spc="-65"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humanitarian</a:t>
            </a:r>
            <a:r>
              <a:rPr kumimoji="0" sz="1900" b="1" i="0" u="none" strike="noStrike" kern="0" cap="none" spc="-50" normalizeH="0" baseline="0" noProof="0">
                <a:ln>
                  <a:noFill/>
                </a:ln>
                <a:solidFill>
                  <a:srgbClr val="3D9B6D"/>
                </a:solidFill>
                <a:effectLst/>
                <a:uLnTx/>
                <a:uFillTx/>
                <a:latin typeface="Arial"/>
                <a:cs typeface="Arial"/>
              </a:rPr>
              <a:t> </a:t>
            </a:r>
            <a:r>
              <a:rPr kumimoji="0" sz="1900" b="1" i="0" u="none" strike="noStrike" kern="0" cap="none" spc="-10" normalizeH="0" baseline="0" noProof="0">
                <a:ln>
                  <a:noFill/>
                </a:ln>
                <a:solidFill>
                  <a:srgbClr val="3D9B6D"/>
                </a:solidFill>
                <a:effectLst/>
                <a:uLnTx/>
                <a:uFillTx/>
                <a:latin typeface="Arial"/>
                <a:cs typeface="Arial"/>
              </a:rPr>
              <a:t>programming</a:t>
            </a:r>
            <a:endParaRPr kumimoji="0" sz="1900" b="0" i="0" u="none" strike="noStrike" kern="0" cap="none" spc="0" normalizeH="0" baseline="0" noProof="0">
              <a:ln>
                <a:noFill/>
              </a:ln>
              <a:solidFill>
                <a:sysClr val="windowText" lastClr="000000"/>
              </a:solidFill>
              <a:effectLst/>
              <a:uLnTx/>
              <a:uFillTx/>
              <a:latin typeface="Arial"/>
              <a:cs typeface="Arial"/>
            </a:endParaRPr>
          </a:p>
          <a:p>
            <a:pPr marL="1399540" marR="0" lvl="0" indent="0" defTabSz="914400" eaLnBrk="1" fontAlgn="auto" latinLnBrk="0" hangingPunct="1">
              <a:lnSpc>
                <a:spcPct val="100000"/>
              </a:lnSpc>
              <a:spcBef>
                <a:spcPts val="15"/>
              </a:spcBef>
              <a:spcAft>
                <a:spcPts val="0"/>
              </a:spcAft>
              <a:buClrTx/>
              <a:buSzTx/>
              <a:buFontTx/>
              <a:buNone/>
              <a:tabLst/>
              <a:defRPr/>
            </a:pPr>
            <a:r>
              <a:rPr kumimoji="0" sz="1600" b="1" i="1" u="none" strike="noStrike" kern="0" cap="none" spc="-20" normalizeH="0" baseline="0" noProof="0">
                <a:ln>
                  <a:noFill/>
                </a:ln>
                <a:solidFill>
                  <a:srgbClr val="1F4E37"/>
                </a:solidFill>
                <a:effectLst/>
                <a:uLnTx/>
                <a:uFillTx/>
                <a:latin typeface="Arial"/>
                <a:cs typeface="Arial"/>
              </a:rPr>
              <a:t>‘</a:t>
            </a:r>
            <a:r>
              <a:rPr kumimoji="0" sz="1600" b="0" i="1" u="none" strike="noStrike" kern="0" cap="none" spc="-20" normalizeH="0" baseline="0" noProof="0">
                <a:ln>
                  <a:noFill/>
                </a:ln>
                <a:solidFill>
                  <a:srgbClr val="1F4E37"/>
                </a:solidFill>
                <a:effectLst/>
                <a:uLnTx/>
                <a:uFillTx/>
                <a:latin typeface="Arial"/>
                <a:cs typeface="Arial"/>
              </a:rPr>
              <a:t>ZIP-</a:t>
            </a:r>
            <a:r>
              <a:rPr kumimoji="0" sz="1600" b="0" i="1" u="none" strike="noStrike" kern="0" cap="none" spc="0" normalizeH="0" baseline="0" noProof="0">
                <a:ln>
                  <a:noFill/>
                </a:ln>
                <a:solidFill>
                  <a:srgbClr val="1F4E37"/>
                </a:solidFill>
                <a:effectLst/>
                <a:uLnTx/>
                <a:uFillTx/>
                <a:latin typeface="Arial"/>
                <a:cs typeface="Arial"/>
              </a:rPr>
              <a:t>like’,</a:t>
            </a:r>
            <a:r>
              <a:rPr kumimoji="0" sz="1600" b="0" i="1" u="none" strike="noStrike" kern="0" cap="none" spc="25"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routine</a:t>
            </a:r>
            <a:r>
              <a:rPr kumimoji="0" sz="1600" b="0" i="1" u="none" strike="noStrike" kern="0" cap="none" spc="-20"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immunisation</a:t>
            </a:r>
            <a:r>
              <a:rPr kumimoji="0" sz="1600" b="0" i="1" u="none" strike="noStrike" kern="0" cap="none" spc="-30"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and</a:t>
            </a:r>
            <a:r>
              <a:rPr kumimoji="0" sz="1600" b="0" i="1" u="none" strike="noStrike" kern="0" cap="none" spc="-15" normalizeH="0" baseline="0" noProof="0">
                <a:ln>
                  <a:noFill/>
                </a:ln>
                <a:solidFill>
                  <a:srgbClr val="1F4E37"/>
                </a:solidFill>
                <a:effectLst/>
                <a:uLnTx/>
                <a:uFillTx/>
                <a:latin typeface="Arial"/>
                <a:cs typeface="Arial"/>
              </a:rPr>
              <a:t> </a:t>
            </a:r>
            <a:r>
              <a:rPr kumimoji="0" sz="1600" b="0" i="1" u="none" strike="noStrike" kern="0" cap="none" spc="-10" normalizeH="0" baseline="0" noProof="0">
                <a:ln>
                  <a:noFill/>
                </a:ln>
                <a:solidFill>
                  <a:srgbClr val="1F4E37"/>
                </a:solidFill>
                <a:effectLst/>
                <a:uLnTx/>
                <a:uFillTx/>
                <a:latin typeface="Arial"/>
                <a:cs typeface="Arial"/>
              </a:rPr>
              <a:t>catch-</a:t>
            </a:r>
            <a:r>
              <a:rPr kumimoji="0" sz="1600" b="0" i="1" u="none" strike="noStrike" kern="0" cap="none" spc="0" normalizeH="0" baseline="0" noProof="0">
                <a:ln>
                  <a:noFill/>
                </a:ln>
                <a:solidFill>
                  <a:srgbClr val="1F4E37"/>
                </a:solidFill>
                <a:effectLst/>
                <a:uLnTx/>
                <a:uFillTx/>
                <a:latin typeface="Arial"/>
                <a:cs typeface="Arial"/>
              </a:rPr>
              <a:t>up</a:t>
            </a:r>
            <a:r>
              <a:rPr kumimoji="0" sz="1600" b="0" i="1" u="none" strike="noStrike" kern="0" cap="none" spc="-15"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for</a:t>
            </a:r>
            <a:r>
              <a:rPr kumimoji="0" sz="1600" b="0" i="1" u="none" strike="noStrike" kern="0" cap="none" spc="-25" normalizeH="0" baseline="0" noProof="0">
                <a:ln>
                  <a:noFill/>
                </a:ln>
                <a:solidFill>
                  <a:srgbClr val="1F4E37"/>
                </a:solidFill>
                <a:effectLst/>
                <a:uLnTx/>
                <a:uFillTx/>
                <a:latin typeface="Arial"/>
                <a:cs typeface="Arial"/>
              </a:rPr>
              <a:t> </a:t>
            </a:r>
            <a:r>
              <a:rPr kumimoji="0" sz="1600" b="0" i="1" u="none" strike="noStrike" kern="0" cap="none" spc="-20" normalizeH="0" baseline="0" noProof="0">
                <a:ln>
                  <a:noFill/>
                </a:ln>
                <a:solidFill>
                  <a:srgbClr val="1F4E37"/>
                </a:solidFill>
                <a:effectLst/>
                <a:uLnTx/>
                <a:uFillTx/>
                <a:latin typeface="Arial"/>
                <a:cs typeface="Arial"/>
              </a:rPr>
              <a:t>zero-</a:t>
            </a:r>
            <a:r>
              <a:rPr kumimoji="0" sz="1600" b="0" i="1" u="none" strike="noStrike" kern="0" cap="none" spc="0" normalizeH="0" baseline="0" noProof="0">
                <a:ln>
                  <a:noFill/>
                </a:ln>
                <a:solidFill>
                  <a:srgbClr val="1F4E37"/>
                </a:solidFill>
                <a:effectLst/>
                <a:uLnTx/>
                <a:uFillTx/>
                <a:latin typeface="Arial"/>
                <a:cs typeface="Arial"/>
              </a:rPr>
              <a:t>dose</a:t>
            </a:r>
            <a:r>
              <a:rPr kumimoji="0" sz="1600" b="0" i="1" u="none" strike="noStrike" kern="0" cap="none" spc="30" normalizeH="0" baseline="0" noProof="0">
                <a:ln>
                  <a:noFill/>
                </a:ln>
                <a:solidFill>
                  <a:srgbClr val="1F4E37"/>
                </a:solidFill>
                <a:effectLst/>
                <a:uLnTx/>
                <a:uFillTx/>
                <a:latin typeface="Arial"/>
                <a:cs typeface="Arial"/>
              </a:rPr>
              <a:t> </a:t>
            </a:r>
            <a:r>
              <a:rPr kumimoji="0" sz="1600" b="0" i="1" u="none" strike="noStrike" kern="0" cap="none" spc="-10" normalizeH="0" baseline="0" noProof="0">
                <a:ln>
                  <a:noFill/>
                </a:ln>
                <a:solidFill>
                  <a:srgbClr val="1F4E37"/>
                </a:solidFill>
                <a:effectLst/>
                <a:uLnTx/>
                <a:uFillTx/>
                <a:latin typeface="Arial"/>
                <a:cs typeface="Arial"/>
              </a:rPr>
              <a:t>children</a:t>
            </a:r>
            <a:endParaRPr kumimoji="0" sz="16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1614"/>
              </a:spcBef>
              <a:spcAft>
                <a:spcPts val="0"/>
              </a:spcAft>
              <a:buClrTx/>
              <a:buSzTx/>
              <a:buFontTx/>
              <a:buNone/>
              <a:tabLst/>
              <a:defRPr/>
            </a:pPr>
            <a:endParaRPr kumimoji="0" sz="1600" b="0" i="0" u="none" strike="noStrike" kern="0" cap="none" spc="0" normalizeH="0" baseline="0" noProof="0">
              <a:ln>
                <a:noFill/>
              </a:ln>
              <a:solidFill>
                <a:sysClr val="windowText" lastClr="000000"/>
              </a:solidFill>
              <a:effectLst/>
              <a:uLnTx/>
              <a:uFillTx/>
              <a:latin typeface="Arial"/>
              <a:cs typeface="Arial"/>
            </a:endParaRPr>
          </a:p>
          <a:p>
            <a:pPr marL="1385570" marR="0" lvl="0" indent="0" defTabSz="914400" eaLnBrk="1" fontAlgn="auto" latinLnBrk="0" hangingPunct="1">
              <a:lnSpc>
                <a:spcPct val="100000"/>
              </a:lnSpc>
              <a:spcBef>
                <a:spcPts val="5"/>
              </a:spcBef>
              <a:spcAft>
                <a:spcPts val="0"/>
              </a:spcAft>
              <a:buClrTx/>
              <a:buSzTx/>
              <a:buFontTx/>
              <a:buNone/>
              <a:tabLst/>
              <a:defRPr/>
            </a:pPr>
            <a:r>
              <a:rPr kumimoji="0" sz="1900" b="1" i="0" u="none" strike="noStrike" kern="0" cap="none" spc="0" normalizeH="0" baseline="0" noProof="0">
                <a:ln>
                  <a:noFill/>
                </a:ln>
                <a:solidFill>
                  <a:srgbClr val="3D9B6D"/>
                </a:solidFill>
                <a:effectLst/>
                <a:uLnTx/>
                <a:uFillTx/>
                <a:latin typeface="Arial"/>
                <a:cs typeface="Arial"/>
              </a:rPr>
              <a:t>Catalytic</a:t>
            </a:r>
            <a:r>
              <a:rPr kumimoji="0" sz="1900" b="1" i="0" u="none" strike="noStrike" kern="0" cap="none" spc="-25"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phase</a:t>
            </a:r>
            <a:r>
              <a:rPr kumimoji="0" sz="1900" b="1" i="0" u="none" strike="noStrike" kern="0" cap="none" spc="-50"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countries</a:t>
            </a:r>
            <a:r>
              <a:rPr kumimoji="0" sz="1875" b="1" i="0" u="none" strike="noStrike" kern="0" cap="none" spc="0" normalizeH="0" baseline="26666" noProof="0">
                <a:ln>
                  <a:noFill/>
                </a:ln>
                <a:solidFill>
                  <a:srgbClr val="3D9B6D"/>
                </a:solidFill>
                <a:effectLst/>
                <a:uLnTx/>
                <a:uFillTx/>
                <a:latin typeface="Arial"/>
                <a:cs typeface="Arial"/>
              </a:rPr>
              <a:t>1</a:t>
            </a:r>
            <a:r>
              <a:rPr kumimoji="0" sz="1875" b="1" i="0" u="none" strike="noStrike" kern="0" cap="none" spc="187" normalizeH="0" baseline="26666"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facing</a:t>
            </a:r>
            <a:r>
              <a:rPr kumimoji="0" sz="1900" b="1" i="0" u="none" strike="noStrike" kern="0" cap="none" spc="-50"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fragility</a:t>
            </a:r>
            <a:r>
              <a:rPr kumimoji="0" sz="1900" b="1" i="0" u="none" strike="noStrike" kern="0" cap="none" spc="-70" normalizeH="0" baseline="0" noProof="0">
                <a:ln>
                  <a:noFill/>
                </a:ln>
                <a:solidFill>
                  <a:srgbClr val="3D9B6D"/>
                </a:solidFill>
                <a:effectLst/>
                <a:uLnTx/>
                <a:uFillTx/>
                <a:latin typeface="Arial"/>
                <a:cs typeface="Arial"/>
              </a:rPr>
              <a:t> </a:t>
            </a:r>
            <a:r>
              <a:rPr kumimoji="0" sz="1900" b="1" i="0" u="none" strike="noStrike" kern="0" cap="none" spc="0" normalizeH="0" baseline="0" noProof="0">
                <a:ln>
                  <a:noFill/>
                </a:ln>
                <a:solidFill>
                  <a:srgbClr val="3D9B6D"/>
                </a:solidFill>
                <a:effectLst/>
                <a:uLnTx/>
                <a:uFillTx/>
                <a:latin typeface="Arial"/>
                <a:cs typeface="Arial"/>
              </a:rPr>
              <a:t>or</a:t>
            </a:r>
            <a:r>
              <a:rPr kumimoji="0" sz="1900" b="1" i="0" u="none" strike="noStrike" kern="0" cap="none" spc="-70" normalizeH="0" baseline="0" noProof="0">
                <a:ln>
                  <a:noFill/>
                </a:ln>
                <a:solidFill>
                  <a:srgbClr val="3D9B6D"/>
                </a:solidFill>
                <a:effectLst/>
                <a:uLnTx/>
                <a:uFillTx/>
                <a:latin typeface="Arial"/>
                <a:cs typeface="Arial"/>
              </a:rPr>
              <a:t> </a:t>
            </a:r>
            <a:r>
              <a:rPr kumimoji="0" sz="1900" b="1" i="0" u="none" strike="noStrike" kern="0" cap="none" spc="-10" normalizeH="0" baseline="0" noProof="0">
                <a:ln>
                  <a:noFill/>
                </a:ln>
                <a:solidFill>
                  <a:srgbClr val="3D9B6D"/>
                </a:solidFill>
                <a:effectLst/>
                <a:uLnTx/>
                <a:uFillTx/>
                <a:latin typeface="Arial"/>
                <a:cs typeface="Arial"/>
              </a:rPr>
              <a:t>emergencies</a:t>
            </a:r>
            <a:endParaRPr kumimoji="0" sz="1900" b="0" i="0" u="none" strike="noStrike" kern="0" cap="none" spc="0" normalizeH="0" baseline="0" noProof="0">
              <a:ln>
                <a:noFill/>
              </a:ln>
              <a:solidFill>
                <a:sysClr val="windowText" lastClr="000000"/>
              </a:solidFill>
              <a:effectLst/>
              <a:uLnTx/>
              <a:uFillTx/>
              <a:latin typeface="Arial"/>
              <a:cs typeface="Arial"/>
            </a:endParaRPr>
          </a:p>
          <a:p>
            <a:pPr marL="1385570" marR="0" lvl="0" indent="0" defTabSz="914400" eaLnBrk="1" fontAlgn="auto" latinLnBrk="0" hangingPunct="1">
              <a:lnSpc>
                <a:spcPct val="100000"/>
              </a:lnSpc>
              <a:spcBef>
                <a:spcPts val="10"/>
              </a:spcBef>
              <a:spcAft>
                <a:spcPts val="0"/>
              </a:spcAft>
              <a:buClrTx/>
              <a:buSzTx/>
              <a:buFontTx/>
              <a:buNone/>
              <a:tabLst/>
              <a:defRPr/>
            </a:pPr>
            <a:r>
              <a:rPr kumimoji="0" sz="1600" b="0" i="1" u="none" strike="noStrike" kern="0" cap="none" spc="0" normalizeH="0" baseline="0" noProof="0">
                <a:ln>
                  <a:noFill/>
                </a:ln>
                <a:solidFill>
                  <a:srgbClr val="1F4E37"/>
                </a:solidFill>
                <a:effectLst/>
                <a:uLnTx/>
                <a:uFillTx/>
                <a:latin typeface="Arial"/>
                <a:cs typeface="Arial"/>
              </a:rPr>
              <a:t>Routine</a:t>
            </a:r>
            <a:r>
              <a:rPr kumimoji="0" sz="1600" b="0" i="1" u="none" strike="noStrike" kern="0" cap="none" spc="-60"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immunisation</a:t>
            </a:r>
            <a:r>
              <a:rPr kumimoji="0" sz="1600" b="0" i="1" u="none" strike="noStrike" kern="0" cap="none" spc="-45"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and</a:t>
            </a:r>
            <a:r>
              <a:rPr kumimoji="0" sz="1600" b="0" i="1" u="none" strike="noStrike" kern="0" cap="none" spc="-55"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outbreak</a:t>
            </a:r>
            <a:r>
              <a:rPr kumimoji="0" sz="1600" b="0" i="1" u="none" strike="noStrike" kern="0" cap="none" spc="-40" normalizeH="0" baseline="0" noProof="0">
                <a:ln>
                  <a:noFill/>
                </a:ln>
                <a:solidFill>
                  <a:srgbClr val="1F4E37"/>
                </a:solidFill>
                <a:effectLst/>
                <a:uLnTx/>
                <a:uFillTx/>
                <a:latin typeface="Arial"/>
                <a:cs typeface="Arial"/>
              </a:rPr>
              <a:t> </a:t>
            </a:r>
            <a:r>
              <a:rPr kumimoji="0" sz="1600" b="0" i="1" u="none" strike="noStrike" kern="0" cap="none" spc="0" normalizeH="0" baseline="0" noProof="0">
                <a:ln>
                  <a:noFill/>
                </a:ln>
                <a:solidFill>
                  <a:srgbClr val="1F4E37"/>
                </a:solidFill>
                <a:effectLst/>
                <a:uLnTx/>
                <a:uFillTx/>
                <a:latin typeface="Arial"/>
                <a:cs typeface="Arial"/>
              </a:rPr>
              <a:t>response</a:t>
            </a:r>
            <a:r>
              <a:rPr kumimoji="0" sz="1600" b="0" i="1" u="none" strike="noStrike" kern="0" cap="none" spc="-45" normalizeH="0" baseline="0" noProof="0">
                <a:ln>
                  <a:noFill/>
                </a:ln>
                <a:solidFill>
                  <a:srgbClr val="1F4E37"/>
                </a:solidFill>
                <a:effectLst/>
                <a:uLnTx/>
                <a:uFillTx/>
                <a:latin typeface="Arial"/>
                <a:cs typeface="Arial"/>
              </a:rPr>
              <a:t> </a:t>
            </a:r>
            <a:r>
              <a:rPr kumimoji="0" sz="1600" b="0" i="1" u="none" strike="noStrike" kern="0" cap="none" spc="-10" normalizeH="0" baseline="0" noProof="0">
                <a:ln>
                  <a:noFill/>
                </a:ln>
                <a:solidFill>
                  <a:srgbClr val="1F4E37"/>
                </a:solidFill>
                <a:effectLst/>
                <a:uLnTx/>
                <a:uFillTx/>
                <a:latin typeface="Arial"/>
                <a:cs typeface="Arial"/>
              </a:rPr>
              <a:t>support</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1A0871-175A-6D17-4D51-8E66664889D5}"/>
              </a:ext>
            </a:extLst>
          </p:cNvPr>
          <p:cNvSpPr>
            <a:spLocks noGrp="1"/>
          </p:cNvSpPr>
          <p:nvPr>
            <p:ph type="body" sz="quarter" idx="12"/>
          </p:nvPr>
        </p:nvSpPr>
        <p:spPr>
          <a:xfrm>
            <a:off x="6653213" y="2843358"/>
            <a:ext cx="5346875" cy="3455841"/>
          </a:xfrm>
        </p:spPr>
        <p:txBody>
          <a:bodyPr vert="horz" lIns="0" tIns="0" rIns="0" bIns="0" rtlCol="0" anchor="t">
            <a:normAutofit lnSpcReduction="10000"/>
          </a:bodyPr>
          <a:lstStyle/>
          <a:p>
            <a:pPr marL="571500" indent="-571500">
              <a:lnSpc>
                <a:spcPct val="100000"/>
              </a:lnSpc>
              <a:buFont typeface="+mj-lt"/>
              <a:buAutoNum type="romanUcPeriod"/>
            </a:pPr>
            <a:r>
              <a:rPr lang="en-US" sz="2400"/>
              <a:t>Welcome &amp; Gavi’s Vision for CSOs in Fragile &amp; Humanitarian Settings</a:t>
            </a:r>
          </a:p>
          <a:p>
            <a:pPr marL="571500" indent="-571500">
              <a:lnSpc>
                <a:spcPct val="100000"/>
              </a:lnSpc>
              <a:buFont typeface="+mj-lt"/>
              <a:buAutoNum type="romanUcPeriod"/>
            </a:pPr>
            <a:endParaRPr lang="en-US" sz="2400"/>
          </a:p>
          <a:p>
            <a:pPr marL="571500" indent="-571500">
              <a:lnSpc>
                <a:spcPct val="100000"/>
              </a:lnSpc>
              <a:buFont typeface="+mj-lt"/>
              <a:buAutoNum type="romanUcPeriod"/>
            </a:pPr>
            <a:r>
              <a:rPr lang="en-US" sz="2400"/>
              <a:t>Gavi CSO Spotlights </a:t>
            </a:r>
          </a:p>
          <a:p>
            <a:pPr marL="571500" indent="-571500">
              <a:lnSpc>
                <a:spcPct val="100000"/>
              </a:lnSpc>
              <a:buFont typeface="+mj-lt"/>
              <a:buAutoNum type="romanUcPeriod"/>
            </a:pPr>
            <a:endParaRPr lang="en-US" sz="2400"/>
          </a:p>
          <a:p>
            <a:pPr marL="571500" indent="-571500">
              <a:lnSpc>
                <a:spcPct val="100000"/>
              </a:lnSpc>
              <a:buFont typeface="+mj-lt"/>
              <a:buAutoNum type="romanUcPeriod"/>
            </a:pPr>
            <a:r>
              <a:rPr lang="en-US" sz="2400"/>
              <a:t>CSO Dialogue</a:t>
            </a:r>
          </a:p>
          <a:p>
            <a:pPr>
              <a:lnSpc>
                <a:spcPct val="100000"/>
              </a:lnSpc>
            </a:pPr>
            <a:endParaRPr lang="en-US" sz="2400"/>
          </a:p>
          <a:p>
            <a:pPr>
              <a:lnSpc>
                <a:spcPct val="100000"/>
              </a:lnSpc>
            </a:pPr>
            <a:r>
              <a:rPr lang="en-US" sz="2400"/>
              <a:t>IV.   6.0 Strategy FH Briefing  &amp;  CSO Board Rep Update</a:t>
            </a:r>
          </a:p>
          <a:p>
            <a:endParaRPr lang="en-US" sz="2400"/>
          </a:p>
        </p:txBody>
      </p:sp>
      <p:sp>
        <p:nvSpPr>
          <p:cNvPr id="4" name="Text Placeholder 3">
            <a:extLst>
              <a:ext uri="{FF2B5EF4-FFF2-40B4-BE49-F238E27FC236}">
                <a16:creationId xmlns:a16="http://schemas.microsoft.com/office/drawing/2014/main" id="{77B63690-F863-2B44-7DF9-E3BC3B66DEAF}"/>
              </a:ext>
            </a:extLst>
          </p:cNvPr>
          <p:cNvSpPr>
            <a:spLocks noGrp="1"/>
          </p:cNvSpPr>
          <p:nvPr>
            <p:ph type="body" sz="quarter" idx="13"/>
          </p:nvPr>
        </p:nvSpPr>
        <p:spPr/>
        <p:txBody>
          <a:bodyPr>
            <a:normAutofit/>
          </a:bodyPr>
          <a:lstStyle/>
          <a:p>
            <a:r>
              <a:rPr lang="en-US" sz="1800"/>
              <a:t>AGENDA</a:t>
            </a:r>
          </a:p>
        </p:txBody>
      </p:sp>
      <p:pic>
        <p:nvPicPr>
          <p:cNvPr id="10" name="Picture Placeholder 9" descr="A person holding a baby on a bench&#10;&#10;Description automatically generated">
            <a:extLst>
              <a:ext uri="{FF2B5EF4-FFF2-40B4-BE49-F238E27FC236}">
                <a16:creationId xmlns:a16="http://schemas.microsoft.com/office/drawing/2014/main" id="{43EA7774-C29C-51B9-B0E5-11C9E7697CAF}"/>
              </a:ext>
            </a:extLst>
          </p:cNvPr>
          <p:cNvPicPr>
            <a:picLocks noGrp="1" noChangeAspect="1"/>
          </p:cNvPicPr>
          <p:nvPr>
            <p:ph type="pic" sz="quarter" idx="10"/>
          </p:nvPr>
        </p:nvPicPr>
        <p:blipFill rotWithShape="1">
          <a:blip r:embed="rId3" cstate="email">
            <a:extLst>
              <a:ext uri="{BEBA8EAE-BF5A-486C-A8C5-ECC9F3942E4B}">
                <a14:imgProps xmlns:a14="http://schemas.microsoft.com/office/drawing/2010/main">
                  <a14:imgLayer r:embed="rId4">
                    <a14:imgEffect>
                      <a14:colorTemperature colorTemp="7200"/>
                    </a14:imgEffect>
                    <a14:imgEffect>
                      <a14:brightnessContrast bright="20000" contrast="20000"/>
                    </a14:imgEffect>
                  </a14:imgLayer>
                </a14:imgProps>
              </a:ext>
              <a:ext uri="{28A0092B-C50C-407E-A947-70E740481C1C}">
                <a14:useLocalDpi xmlns:a14="http://schemas.microsoft.com/office/drawing/2010/main"/>
              </a:ext>
            </a:extLst>
          </a:blip>
          <a:srcRect/>
          <a:stretch/>
        </p:blipFill>
        <p:spPr>
          <a:xfrm>
            <a:off x="0" y="0"/>
            <a:ext cx="6096000" cy="6858000"/>
          </a:xfrm>
        </p:spPr>
      </p:pic>
    </p:spTree>
    <p:extLst>
      <p:ext uri="{BB962C8B-B14F-4D97-AF65-F5344CB8AC3E}">
        <p14:creationId xmlns:p14="http://schemas.microsoft.com/office/powerpoint/2010/main" val="19659877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DE10524-B7CC-0E7B-9AF2-7E8375FACB39}"/>
              </a:ext>
            </a:extLst>
          </p:cNvPr>
          <p:cNvSpPr>
            <a:spLocks noGrp="1"/>
          </p:cNvSpPr>
          <p:nvPr>
            <p:ph type="title"/>
          </p:nvPr>
        </p:nvSpPr>
        <p:spPr>
          <a:xfrm>
            <a:off x="518828" y="505329"/>
            <a:ext cx="11154344" cy="592778"/>
          </a:xfrm>
        </p:spPr>
        <p:txBody>
          <a:bodyPr>
            <a:normAutofit fontScale="90000"/>
          </a:bodyPr>
          <a:lstStyle/>
          <a:p>
            <a:r>
              <a:rPr lang="en-US"/>
              <a:t>Gavi Board-Approved Funding</a:t>
            </a:r>
            <a:br>
              <a:rPr lang="en-US" altLang="en-US" sz="4000" b="0">
                <a:latin typeface="Calibri Light" panose="020F0302020204030204" pitchFamily="34" charset="0"/>
                <a:ea typeface="Yu Gothic Light" panose="020B0300000000000000" pitchFamily="34" charset="-128"/>
                <a:cs typeface="Times New Roman" panose="02020603050405020304" pitchFamily="18" charset="0"/>
              </a:rPr>
            </a:br>
            <a:endParaRPr lang="en-US"/>
          </a:p>
        </p:txBody>
      </p:sp>
      <p:cxnSp>
        <p:nvCxnSpPr>
          <p:cNvPr id="18" name="Straight Connector 17">
            <a:extLst>
              <a:ext uri="{FF2B5EF4-FFF2-40B4-BE49-F238E27FC236}">
                <a16:creationId xmlns:a16="http://schemas.microsoft.com/office/drawing/2014/main" id="{FD449C04-2E6B-3AAE-4BB6-1DF6CDDB537C}"/>
              </a:ext>
            </a:extLst>
          </p:cNvPr>
          <p:cNvCxnSpPr>
            <a:cxnSpLocks/>
          </p:cNvCxnSpPr>
          <p:nvPr/>
        </p:nvCxnSpPr>
        <p:spPr>
          <a:xfrm flipV="1">
            <a:off x="7576070" y="1782629"/>
            <a:ext cx="0" cy="317037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357B8E3A-1556-DC39-E96B-459B5693E7A7}"/>
              </a:ext>
            </a:extLst>
          </p:cNvPr>
          <p:cNvSpPr/>
          <p:nvPr/>
        </p:nvSpPr>
        <p:spPr>
          <a:xfrm>
            <a:off x="7385046" y="3376730"/>
            <a:ext cx="365789" cy="36578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rPr>
              <a:t>&gt;</a:t>
            </a:r>
          </a:p>
        </p:txBody>
      </p:sp>
      <p:sp>
        <p:nvSpPr>
          <p:cNvPr id="20" name="Oval 19">
            <a:extLst>
              <a:ext uri="{FF2B5EF4-FFF2-40B4-BE49-F238E27FC236}">
                <a16:creationId xmlns:a16="http://schemas.microsoft.com/office/drawing/2014/main" id="{072A0B15-F326-D774-EA0F-906A67714A7E}"/>
              </a:ext>
            </a:extLst>
          </p:cNvPr>
          <p:cNvSpPr>
            <a:spLocks/>
          </p:cNvSpPr>
          <p:nvPr/>
        </p:nvSpPr>
        <p:spPr>
          <a:xfrm>
            <a:off x="8501393" y="2247156"/>
            <a:ext cx="2274989" cy="2259147"/>
          </a:xfrm>
          <a:prstGeom prst="ellipse">
            <a:avLst/>
          </a:prstGeom>
          <a:solidFill>
            <a:srgbClr val="FFFFFF"/>
          </a:solidFill>
          <a:ln w="571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64008" tIns="64008" rIns="64008" bIns="6400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rPr>
              <a:t>2.4-2.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rPr>
              <a:t>mill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rPr>
              <a:t>lives saved</a:t>
            </a:r>
          </a:p>
        </p:txBody>
      </p:sp>
      <p:sp>
        <p:nvSpPr>
          <p:cNvPr id="23" name="TextBox 22">
            <a:extLst>
              <a:ext uri="{FF2B5EF4-FFF2-40B4-BE49-F238E27FC236}">
                <a16:creationId xmlns:a16="http://schemas.microsoft.com/office/drawing/2014/main" id="{7546995B-8E82-F40A-7F4B-CA68C9F11174}"/>
              </a:ext>
            </a:extLst>
          </p:cNvPr>
          <p:cNvSpPr txBox="1"/>
          <p:nvPr/>
        </p:nvSpPr>
        <p:spPr>
          <a:xfrm>
            <a:off x="8730513" y="1805162"/>
            <a:ext cx="439159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Expected Impact</a:t>
            </a:r>
          </a:p>
        </p:txBody>
      </p:sp>
      <p:sp>
        <p:nvSpPr>
          <p:cNvPr id="3" name="Rectangle 1">
            <a:extLst>
              <a:ext uri="{FF2B5EF4-FFF2-40B4-BE49-F238E27FC236}">
                <a16:creationId xmlns:a16="http://schemas.microsoft.com/office/drawing/2014/main" id="{D9AB9139-E9A0-5599-E8C6-6373B7774CDF}"/>
              </a:ext>
            </a:extLst>
          </p:cNvPr>
          <p:cNvSpPr>
            <a:spLocks noChangeArrowheads="1"/>
          </p:cNvSpPr>
          <p:nvPr/>
        </p:nvSpPr>
        <p:spPr bwMode="auto">
          <a:xfrm>
            <a:off x="674509" y="23812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rPr>
              <a:t> </a:t>
            </a:r>
            <a:endParaRPr kumimoji="0" lang="en-US" altLang="en-US" sz="1800" b="0" i="0" u="none" strike="noStrike" kern="0" cap="none" spc="0" normalizeH="0" baseline="0" noProof="0">
              <a:ln>
                <a:noFill/>
              </a:ln>
              <a:solidFill>
                <a:srgbClr val="000000"/>
              </a:solidFill>
              <a:effectLst/>
              <a:uLnTx/>
              <a:uFillTx/>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srgbClr val="000000"/>
              </a:solidFill>
              <a:effectLst/>
              <a:uLnTx/>
              <a:uFillTx/>
              <a:latin typeface="Arial" panose="020B0604020202020204" pitchFamily="34" charset="0"/>
            </a:endParaRPr>
          </a:p>
        </p:txBody>
      </p:sp>
      <p:graphicFrame>
        <p:nvGraphicFramePr>
          <p:cNvPr id="4" name="Table 3">
            <a:extLst>
              <a:ext uri="{FF2B5EF4-FFF2-40B4-BE49-F238E27FC236}">
                <a16:creationId xmlns:a16="http://schemas.microsoft.com/office/drawing/2014/main" id="{0BC622E1-27D9-A3FA-EED5-47D953E7E383}"/>
              </a:ext>
            </a:extLst>
          </p:cNvPr>
          <p:cNvGraphicFramePr>
            <a:graphicFrameLocks noGrp="1"/>
          </p:cNvGraphicFramePr>
          <p:nvPr/>
        </p:nvGraphicFramePr>
        <p:xfrm>
          <a:off x="693559" y="1805162"/>
          <a:ext cx="6447576" cy="2971800"/>
        </p:xfrm>
        <a:graphic>
          <a:graphicData uri="http://schemas.openxmlformats.org/drawingml/2006/table">
            <a:tbl>
              <a:tblPr firstRow="1" bandRow="1">
                <a:tableStyleId>{2D5ABB26-0587-4C30-8999-92F81FD0307C}</a:tableStyleId>
              </a:tblPr>
              <a:tblGrid>
                <a:gridCol w="5281385">
                  <a:extLst>
                    <a:ext uri="{9D8B030D-6E8A-4147-A177-3AD203B41FA5}">
                      <a16:colId xmlns:a16="http://schemas.microsoft.com/office/drawing/2014/main" val="469438972"/>
                    </a:ext>
                  </a:extLst>
                </a:gridCol>
                <a:gridCol w="1166191">
                  <a:extLst>
                    <a:ext uri="{9D8B030D-6E8A-4147-A177-3AD203B41FA5}">
                      <a16:colId xmlns:a16="http://schemas.microsoft.com/office/drawing/2014/main" val="1234040668"/>
                    </a:ext>
                  </a:extLst>
                </a:gridCol>
              </a:tblGrid>
              <a:tr h="495300">
                <a:tc>
                  <a:txBody>
                    <a:bodyPr/>
                    <a:lstStyle/>
                    <a:p>
                      <a:r>
                        <a:rPr lang="en-US" sz="1400" b="1" u="none" strike="noStrike" baseline="0">
                          <a:solidFill>
                            <a:schemeClr val="bg1"/>
                          </a:solidFill>
                          <a:latin typeface="Arial" panose="020B0604020202020204" pitchFamily="34" charset="0"/>
                          <a:cs typeface="Arial" panose="020B0604020202020204" pitchFamily="34" charset="0"/>
                        </a:rPr>
                        <a:t>Total additional costs to deliver F&amp;H Shifts	</a:t>
                      </a:r>
                      <a:endParaRPr lang="en-US" sz="1400">
                        <a:solidFill>
                          <a:schemeClr val="bg1"/>
                        </a:solidFill>
                        <a:latin typeface="Arial" panose="020B0604020202020204" pitchFamily="34" charset="0"/>
                        <a:cs typeface="Arial" panose="020B0604020202020204" pitchFamily="34" charset="0"/>
                      </a:endParaRPr>
                    </a:p>
                  </a:txBody>
                  <a:tcPr anchor="c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none" strike="noStrike" baseline="0">
                          <a:solidFill>
                            <a:schemeClr val="bg1"/>
                          </a:solidFill>
                          <a:latin typeface="Arial" panose="020B0604020202020204" pitchFamily="34" charset="0"/>
                          <a:cs typeface="Arial" panose="020B0604020202020204" pitchFamily="34" charset="0"/>
                        </a:rPr>
                        <a:t>$380m</a:t>
                      </a:r>
                      <a:endParaRPr lang="en-US" sz="1400" b="1" i="0" u="none" strike="noStrike" kern="100" baseline="0">
                        <a:solidFill>
                          <a:schemeClr val="bg1"/>
                        </a:solidFill>
                        <a:latin typeface="Arial" panose="020B0604020202020204" pitchFamily="34" charset="0"/>
                        <a:cs typeface="Arial" panose="020B0604020202020204" pitchFamily="34" charset="0"/>
                      </a:endParaRPr>
                    </a:p>
                  </a:txBody>
                  <a:tcPr anchor="ctr">
                    <a:solidFill>
                      <a:schemeClr val="accent2"/>
                    </a:solidFill>
                  </a:tcPr>
                </a:tc>
                <a:extLst>
                  <a:ext uri="{0D108BD9-81ED-4DB2-BD59-A6C34878D82A}">
                    <a16:rowId xmlns:a16="http://schemas.microsoft.com/office/drawing/2014/main" val="1650866427"/>
                  </a:ext>
                </a:extLst>
              </a:tr>
              <a:tr h="495300">
                <a:tc>
                  <a:txBody>
                    <a:bodyPr/>
                    <a:lstStyle/>
                    <a:p>
                      <a:pPr marL="285750" marR="0" indent="-285750" algn="l" rtl="0">
                        <a:buFont typeface="Arial" panose="020B0604020202020204" pitchFamily="34" charset="0"/>
                        <a:buChar char="•"/>
                      </a:pPr>
                      <a:r>
                        <a:rPr lang="en-US" sz="1400" b="0" u="none" strike="noStrike" baseline="0">
                          <a:solidFill>
                            <a:schemeClr val="accent2"/>
                          </a:solidFill>
                          <a:latin typeface="Arial" panose="020B0604020202020204" pitchFamily="34" charset="0"/>
                          <a:cs typeface="Arial" panose="020B0604020202020204" pitchFamily="34" charset="0"/>
                        </a:rPr>
                        <a:t>Of which GRM		</a:t>
                      </a:r>
                      <a:endParaRPr lang="en-US" sz="1400" b="0">
                        <a:solidFill>
                          <a:schemeClr val="accent2"/>
                        </a:solidFill>
                        <a:latin typeface="Arial" panose="020B0604020202020204" pitchFamily="34" charset="0"/>
                        <a:cs typeface="Arial" panose="020B0604020202020204" pitchFamily="34" charset="0"/>
                      </a:endParaRPr>
                    </a:p>
                  </a:txBody>
                  <a:tcPr anchor="ct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u="none" strike="noStrike" baseline="0">
                          <a:solidFill>
                            <a:srgbClr val="000000"/>
                          </a:solidFill>
                          <a:latin typeface="Arial" panose="020B0604020202020204" pitchFamily="34" charset="0"/>
                          <a:cs typeface="Arial" panose="020B0604020202020204" pitchFamily="34" charset="0"/>
                        </a:rPr>
                        <a:t>$294m</a:t>
                      </a:r>
                      <a:endParaRPr lang="en-US" sz="1400">
                        <a:latin typeface="Arial" panose="020B0604020202020204" pitchFamily="34" charset="0"/>
                        <a:cs typeface="Arial" panose="020B0604020202020204" pitchFamily="34" charset="0"/>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3645211"/>
                  </a:ext>
                </a:extLst>
              </a:tr>
              <a:tr h="495300">
                <a:tc>
                  <a:txBody>
                    <a:bodyPr/>
                    <a:lstStyle/>
                    <a:p>
                      <a:pPr marL="285750" marR="0" indent="-285750" algn="l" rtl="0">
                        <a:buFont typeface="Arial" panose="020B0604020202020204" pitchFamily="34" charset="0"/>
                        <a:buChar char="•"/>
                      </a:pPr>
                      <a:r>
                        <a:rPr lang="en-US" sz="1400" b="0" u="none" strike="noStrike" baseline="0">
                          <a:solidFill>
                            <a:schemeClr val="accent2"/>
                          </a:solidFill>
                          <a:latin typeface="Arial" panose="020B0604020202020204" pitchFamily="34" charset="0"/>
                          <a:cs typeface="Arial" panose="020B0604020202020204" pitchFamily="34" charset="0"/>
                        </a:rPr>
                        <a:t>Of which support for traditional Vaccines	</a:t>
                      </a:r>
                      <a:endParaRPr lang="en-US" sz="1400" b="0">
                        <a:solidFill>
                          <a:schemeClr val="accent2"/>
                        </a:solidFill>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latin typeface="Arial" panose="020B0604020202020204" pitchFamily="34" charset="0"/>
                          <a:cs typeface="Arial" panose="020B0604020202020204" pitchFamily="34" charset="0"/>
                        </a:rPr>
                        <a:t>$47m</a:t>
                      </a:r>
                      <a:endParaRPr lang="en-US" sz="1400" u="none" strike="noStrike" baseline="0">
                        <a:solidFill>
                          <a:srgbClr val="000000"/>
                        </a:solidFill>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5621431"/>
                  </a:ext>
                </a:extLst>
              </a:tr>
              <a:tr h="49530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accent2"/>
                          </a:solidFill>
                          <a:latin typeface="Arial" panose="020B0604020202020204" pitchFamily="34" charset="0"/>
                          <a:cs typeface="Arial" panose="020B0604020202020204" pitchFamily="34" charset="0"/>
                        </a:rPr>
                        <a:t>Of which support for catch-up of missed children up to age 5</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latin typeface="Arial" panose="020B0604020202020204" pitchFamily="34" charset="0"/>
                          <a:cs typeface="Arial" panose="020B0604020202020204" pitchFamily="34" charset="0"/>
                        </a:rPr>
                        <a:t>$40m</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07256770"/>
                  </a:ext>
                </a:extLst>
              </a:tr>
              <a:tr h="4953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u="none" strike="noStrike" kern="1200" baseline="0">
                          <a:solidFill>
                            <a:schemeClr val="bg1"/>
                          </a:solidFill>
                          <a:latin typeface="Arial" panose="020B0604020202020204" pitchFamily="34" charset="0"/>
                          <a:ea typeface="+mn-ea"/>
                          <a:cs typeface="Arial" panose="020B0604020202020204" pitchFamily="34" charset="0"/>
                        </a:rPr>
                        <a:t>Cash to F&amp;C</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none" strike="noStrike" kern="1200" baseline="0">
                          <a:solidFill>
                            <a:schemeClr val="bg1"/>
                          </a:solidFill>
                          <a:latin typeface="Arial" panose="020B0604020202020204" pitchFamily="34" charset="0"/>
                          <a:ea typeface="+mn-ea"/>
                          <a:cs typeface="Arial" panose="020B0604020202020204" pitchFamily="34" charset="0"/>
                        </a:rPr>
                        <a:t>$780m</a:t>
                      </a:r>
                    </a:p>
                  </a:txBody>
                  <a:tcPr marL="30345" marR="30345"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564500532"/>
                  </a:ext>
                </a:extLst>
              </a:tr>
              <a:tr h="4953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u="none" strike="noStrike" kern="1200" baseline="0">
                          <a:solidFill>
                            <a:schemeClr val="bg1"/>
                          </a:solidFill>
                          <a:latin typeface="Arial" panose="020B0604020202020204" pitchFamily="34" charset="0"/>
                          <a:ea typeface="+mn-ea"/>
                          <a:cs typeface="Arial" panose="020B0604020202020204" pitchFamily="34" charset="0"/>
                        </a:rPr>
                        <a:t>Vaccines to F&amp;C</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none" strike="noStrike" kern="1200" baseline="0">
                          <a:solidFill>
                            <a:schemeClr val="bg1"/>
                          </a:solidFill>
                          <a:latin typeface="Arial" panose="020B0604020202020204" pitchFamily="34" charset="0"/>
                          <a:ea typeface="+mn-ea"/>
                          <a:cs typeface="Arial" panose="020B0604020202020204" pitchFamily="34" charset="0"/>
                        </a:rPr>
                        <a:t>$1,719m</a:t>
                      </a:r>
                    </a:p>
                  </a:txBody>
                  <a:tcPr marL="30345" marR="30345"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495713925"/>
                  </a:ext>
                </a:extLst>
              </a:tr>
            </a:tbl>
          </a:graphicData>
        </a:graphic>
      </p:graphicFrame>
    </p:spTree>
    <p:extLst>
      <p:ext uri="{BB962C8B-B14F-4D97-AF65-F5344CB8AC3E}">
        <p14:creationId xmlns:p14="http://schemas.microsoft.com/office/powerpoint/2010/main" val="2358355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79A70FEE-5A27-4CBD-2728-5AC9564CE623}"/>
              </a:ext>
            </a:extLst>
          </p:cNvPr>
          <p:cNvSpPr>
            <a:spLocks noGrp="1"/>
          </p:cNvSpPr>
          <p:nvPr>
            <p:ph type="title"/>
          </p:nvPr>
        </p:nvSpPr>
        <p:spPr/>
        <p:txBody>
          <a:bodyPr/>
          <a:lstStyle/>
          <a:p>
            <a:r>
              <a:rPr lang="en-US"/>
              <a:t>Open Q&amp;A</a:t>
            </a:r>
          </a:p>
        </p:txBody>
      </p:sp>
      <p:sp>
        <p:nvSpPr>
          <p:cNvPr id="17" name="Text Placeholder 16">
            <a:extLst>
              <a:ext uri="{FF2B5EF4-FFF2-40B4-BE49-F238E27FC236}">
                <a16:creationId xmlns:a16="http://schemas.microsoft.com/office/drawing/2014/main" id="{73C11FA9-A20A-3C41-7BDE-364B2730D93D}"/>
              </a:ext>
            </a:extLst>
          </p:cNvPr>
          <p:cNvSpPr>
            <a:spLocks noGrp="1"/>
          </p:cNvSpPr>
          <p:nvPr>
            <p:ph type="body" idx="13"/>
          </p:nvPr>
        </p:nvSpPr>
        <p:spPr/>
        <p:txBody>
          <a:bodyPr>
            <a:normAutofit/>
          </a:bodyPr>
          <a:lstStyle/>
          <a:p>
            <a:pPr marR="0" lvl="1" algn="ctr">
              <a:lnSpc>
                <a:spcPct val="115000"/>
              </a:lnSpc>
              <a:spcAft>
                <a:spcPts val="800"/>
              </a:spcAft>
              <a:buSzPts val="1000"/>
              <a:tabLst>
                <a:tab pos="914400" algn="l"/>
              </a:tabLst>
            </a:pPr>
            <a:endParaRPr lang="en-US" sz="2400">
              <a:solidFill>
                <a:schemeClr val="bg2"/>
              </a:solidFill>
            </a:endParaRPr>
          </a:p>
          <a:p>
            <a:pPr marL="457200" marR="0" lvl="1" indent="0" algn="ctr">
              <a:lnSpc>
                <a:spcPct val="115000"/>
              </a:lnSpc>
              <a:spcAft>
                <a:spcPts val="800"/>
              </a:spcAft>
              <a:buSzPts val="1000"/>
              <a:buNone/>
              <a:tabLst>
                <a:tab pos="914400" algn="l"/>
              </a:tabLst>
            </a:pPr>
            <a:endParaRPr lang="en-US" sz="2400" b="1">
              <a:solidFill>
                <a:schemeClr val="tx2">
                  <a:lumMod val="75000"/>
                </a:schemeClr>
              </a:solidFill>
            </a:endParaRPr>
          </a:p>
          <a:p>
            <a:pPr marL="457200" marR="0" lvl="1" indent="0" algn="ctr">
              <a:lnSpc>
                <a:spcPct val="115000"/>
              </a:lnSpc>
              <a:spcAft>
                <a:spcPts val="800"/>
              </a:spcAft>
              <a:buSzPts val="1000"/>
              <a:buNone/>
              <a:tabLst>
                <a:tab pos="914400" algn="l"/>
              </a:tabLst>
            </a:pPr>
            <a:r>
              <a:rPr lang="en-US" sz="2400" b="1">
                <a:solidFill>
                  <a:schemeClr val="tx2">
                    <a:lumMod val="75000"/>
                  </a:schemeClr>
                </a:solidFill>
              </a:rPr>
              <a:t>Please raise your hand or use the Zoom Q&amp;A function to type your question</a:t>
            </a:r>
            <a:endParaRPr lang="en-US" sz="2400" b="1" kern="100">
              <a:solidFill>
                <a:schemeClr val="tx2">
                  <a:lumMod val="75000"/>
                </a:schemeClr>
              </a:solidFill>
              <a:effectLst/>
              <a:latin typeface="Aptos" panose="020B0004020202020204" pitchFamily="34" charset="0"/>
              <a:ea typeface="Aptos" panose="020B0004020202020204" pitchFamily="34" charset="0"/>
              <a:cs typeface="Times New Roman" panose="02020603050405020304" pitchFamily="18" charset="0"/>
            </a:endParaRPr>
          </a:p>
          <a:p>
            <a:endParaRPr lang="en-US"/>
          </a:p>
        </p:txBody>
      </p:sp>
      <p:sp>
        <p:nvSpPr>
          <p:cNvPr id="4" name="Slide Number Placeholder 3">
            <a:extLst>
              <a:ext uri="{FF2B5EF4-FFF2-40B4-BE49-F238E27FC236}">
                <a16:creationId xmlns:a16="http://schemas.microsoft.com/office/drawing/2014/main" id="{1E96AAC2-E1E8-991E-2267-47345D293FF5}"/>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31</a:t>
            </a:fld>
            <a:endParaRPr lang="en-GB">
              <a:solidFill>
                <a:schemeClr val="tx1">
                  <a:lumMod val="50000"/>
                  <a:lumOff val="50000"/>
                </a:schemeClr>
              </a:solidFill>
            </a:endParaRPr>
          </a:p>
        </p:txBody>
      </p:sp>
      <p:sp>
        <p:nvSpPr>
          <p:cNvPr id="2" name="Text Placeholder 1">
            <a:extLst>
              <a:ext uri="{FF2B5EF4-FFF2-40B4-BE49-F238E27FC236}">
                <a16:creationId xmlns:a16="http://schemas.microsoft.com/office/drawing/2014/main" id="{0DEE242B-1F80-0C11-FCE0-ACE30C3E25F3}"/>
              </a:ext>
            </a:extLst>
          </p:cNvPr>
          <p:cNvSpPr>
            <a:spLocks noGrp="1"/>
          </p:cNvSpPr>
          <p:nvPr>
            <p:ph type="body" idx="21"/>
          </p:nvPr>
        </p:nvSpPr>
        <p:spPr/>
        <p:txBody>
          <a:bodyPr/>
          <a:lstStyle/>
          <a:p>
            <a:pPr algn="ctr"/>
            <a:endParaRPr lang="fr-FR">
              <a:solidFill>
                <a:schemeClr val="bg2"/>
              </a:solidFill>
            </a:endParaRPr>
          </a:p>
          <a:p>
            <a:pPr algn="ctr"/>
            <a:endParaRPr lang="fr-FR">
              <a:solidFill>
                <a:schemeClr val="bg2"/>
              </a:solidFill>
            </a:endParaRPr>
          </a:p>
          <a:p>
            <a:pPr algn="ctr"/>
            <a:r>
              <a:rPr lang="fr-FR">
                <a:solidFill>
                  <a:schemeClr val="bg2"/>
                </a:solidFill>
              </a:rPr>
              <a:t>Veuillez lever la main ou utiliser la fonction Q&amp;R de Zoom pour taper votre question.</a:t>
            </a:r>
            <a:endParaRPr lang="en-US">
              <a:solidFill>
                <a:schemeClr val="bg2"/>
              </a:solidFill>
            </a:endParaRPr>
          </a:p>
        </p:txBody>
      </p:sp>
    </p:spTree>
    <p:extLst>
      <p:ext uri="{BB962C8B-B14F-4D97-AF65-F5344CB8AC3E}">
        <p14:creationId xmlns:p14="http://schemas.microsoft.com/office/powerpoint/2010/main" val="8481569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3C9D9DF-D5DD-5692-1C1E-22DB3B5391FA}"/>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32</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59AFA3A5-3539-D48E-6F02-AE51F5B5D79C}"/>
              </a:ext>
            </a:extLst>
          </p:cNvPr>
          <p:cNvSpPr>
            <a:spLocks noGrp="1"/>
          </p:cNvSpPr>
          <p:nvPr>
            <p:ph type="ftr" sz="quarter" idx="11"/>
          </p:nvPr>
        </p:nvSpPr>
        <p:spPr/>
        <p:txBody>
          <a:bodyPr/>
          <a:lstStyle/>
          <a:p>
            <a:r>
              <a:rPr lang="en-GB"/>
              <a:t>Presentation Footer</a:t>
            </a:r>
          </a:p>
        </p:txBody>
      </p:sp>
      <p:pic>
        <p:nvPicPr>
          <p:cNvPr id="7" name="Picture 6" descr="A group of people standing outside a building">
            <a:extLst>
              <a:ext uri="{FF2B5EF4-FFF2-40B4-BE49-F238E27FC236}">
                <a16:creationId xmlns:a16="http://schemas.microsoft.com/office/drawing/2014/main" id="{EFCA379E-950A-EDAE-3604-C0A98ED17DF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0676" y="0"/>
            <a:ext cx="12051323" cy="6858000"/>
          </a:xfrm>
          <a:prstGeom prst="rect">
            <a:avLst/>
          </a:prstGeom>
        </p:spPr>
      </p:pic>
      <p:sp>
        <p:nvSpPr>
          <p:cNvPr id="8" name="TextBox 7">
            <a:extLst>
              <a:ext uri="{FF2B5EF4-FFF2-40B4-BE49-F238E27FC236}">
                <a16:creationId xmlns:a16="http://schemas.microsoft.com/office/drawing/2014/main" id="{F6A69DF7-8AAE-3675-551B-BCD27906CBD3}"/>
              </a:ext>
            </a:extLst>
          </p:cNvPr>
          <p:cNvSpPr txBox="1"/>
          <p:nvPr/>
        </p:nvSpPr>
        <p:spPr>
          <a:xfrm>
            <a:off x="4979" y="5295481"/>
            <a:ext cx="12187021" cy="830997"/>
          </a:xfrm>
          <a:prstGeom prst="rect">
            <a:avLst/>
          </a:prstGeom>
          <a:solidFill>
            <a:schemeClr val="tx2">
              <a:alpha val="83000"/>
            </a:schemeClr>
          </a:solidFill>
          <a:ln w="28575">
            <a:noFill/>
          </a:ln>
        </p:spPr>
        <p:txBody>
          <a:bodyPr wrap="square" rtlCol="0">
            <a:spAutoFit/>
          </a:bodyPr>
          <a:lstStyle/>
          <a:p>
            <a:pPr algn="ctr"/>
            <a:r>
              <a:rPr lang="en-US" sz="2400" b="1">
                <a:solidFill>
                  <a:schemeClr val="bg1"/>
                </a:solidFill>
                <a:latin typeface="Arial" panose="020B0604020202020204" pitchFamily="34" charset="0"/>
                <a:ea typeface="Arial" panose="020B0604020202020204" pitchFamily="34" charset="0"/>
                <a:cs typeface="Arial" panose="020B0604020202020204" pitchFamily="34" charset="0"/>
              </a:rPr>
              <a:t>“A world in which civil society organisations are integral partners in a vibrant, strong social movement towards reaching countries' immunisation goals.”</a:t>
            </a:r>
            <a:r>
              <a:rPr lang="en-US" sz="2400">
                <a:solidFill>
                  <a:schemeClr val="bg1"/>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370382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E55DE1FE-BA0D-2461-C7D9-C401A5C0B277}"/>
              </a:ext>
            </a:extLst>
          </p:cNvPr>
          <p:cNvSpPr>
            <a:spLocks noGrp="1"/>
          </p:cNvSpPr>
          <p:nvPr>
            <p:ph type="pic" sz="quarter" idx="10"/>
          </p:nvPr>
        </p:nvSpPr>
        <p:spPr>
          <a:solidFill>
            <a:schemeClr val="tx2">
              <a:lumMod val="50000"/>
            </a:schemeClr>
          </a:solidFill>
        </p:spPr>
        <p:txBody>
          <a:bodyPr/>
          <a:lstStyle/>
          <a:p>
            <a:endParaRPr lang="en-US"/>
          </a:p>
        </p:txBody>
      </p:sp>
      <p:sp>
        <p:nvSpPr>
          <p:cNvPr id="3" name="Text Placeholder 2">
            <a:extLst>
              <a:ext uri="{FF2B5EF4-FFF2-40B4-BE49-F238E27FC236}">
                <a16:creationId xmlns:a16="http://schemas.microsoft.com/office/drawing/2014/main" id="{DEC232C8-CE3E-CD26-D115-BD75FABDF3C3}"/>
              </a:ext>
            </a:extLst>
          </p:cNvPr>
          <p:cNvSpPr>
            <a:spLocks noGrp="1"/>
          </p:cNvSpPr>
          <p:nvPr>
            <p:ph type="body" sz="quarter" idx="12"/>
          </p:nvPr>
        </p:nvSpPr>
        <p:spPr>
          <a:xfrm>
            <a:off x="6653214" y="2407298"/>
            <a:ext cx="5012580" cy="2912847"/>
          </a:xfrm>
        </p:spPr>
        <p:txBody>
          <a:bodyPr>
            <a:normAutofit fontScale="92500" lnSpcReduction="10000"/>
          </a:bodyPr>
          <a:lstStyle/>
          <a:p>
            <a:pPr>
              <a:lnSpc>
                <a:spcPct val="120000"/>
              </a:lnSpc>
            </a:pPr>
            <a:r>
              <a:rPr lang="en-US"/>
              <a:t>Welcome </a:t>
            </a:r>
          </a:p>
          <a:p>
            <a:pPr>
              <a:lnSpc>
                <a:spcPct val="120000"/>
              </a:lnSpc>
            </a:pPr>
            <a:endParaRPr lang="en-US"/>
          </a:p>
          <a:p>
            <a:pPr>
              <a:lnSpc>
                <a:spcPct val="120000"/>
              </a:lnSpc>
            </a:pPr>
            <a:r>
              <a:rPr lang="fr-FR"/>
              <a:t>Bienvenue</a:t>
            </a:r>
            <a:endParaRPr lang="en-US"/>
          </a:p>
          <a:p>
            <a:endParaRPr lang="en-US"/>
          </a:p>
        </p:txBody>
      </p:sp>
    </p:spTree>
    <p:extLst>
      <p:ext uri="{BB962C8B-B14F-4D97-AF65-F5344CB8AC3E}">
        <p14:creationId xmlns:p14="http://schemas.microsoft.com/office/powerpoint/2010/main" val="5610022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625EFC-7FA8-9021-3A47-3889E62FDFA9}"/>
              </a:ext>
            </a:extLst>
          </p:cNvPr>
          <p:cNvSpPr>
            <a:spLocks noGrp="1"/>
          </p:cNvSpPr>
          <p:nvPr>
            <p:ph type="title"/>
          </p:nvPr>
        </p:nvSpPr>
        <p:spPr/>
        <p:txBody>
          <a:bodyPr>
            <a:normAutofit fontScale="90000"/>
          </a:bodyPr>
          <a:lstStyle/>
          <a:p>
            <a:r>
              <a:rPr lang="en-US"/>
              <a:t>CSCE 2025 Webinar Series and CSO Consultations: a platform to listen, learn, and shape the future of CSO engagement</a:t>
            </a:r>
            <a:br>
              <a:rPr lang="en-US"/>
            </a:br>
            <a:endParaRPr lang="en-US"/>
          </a:p>
        </p:txBody>
      </p:sp>
      <p:sp>
        <p:nvSpPr>
          <p:cNvPr id="11" name="Text Placeholder 10">
            <a:extLst>
              <a:ext uri="{FF2B5EF4-FFF2-40B4-BE49-F238E27FC236}">
                <a16:creationId xmlns:a16="http://schemas.microsoft.com/office/drawing/2014/main" id="{2F4CC8CB-FF34-8267-ED4B-7E240DC1A46C}"/>
              </a:ext>
            </a:extLst>
          </p:cNvPr>
          <p:cNvSpPr>
            <a:spLocks noGrp="1"/>
          </p:cNvSpPr>
          <p:nvPr>
            <p:ph type="body" idx="13"/>
          </p:nvPr>
        </p:nvSpPr>
        <p:spPr>
          <a:xfrm>
            <a:off x="521718" y="2151855"/>
            <a:ext cx="6007071" cy="3806985"/>
          </a:xfrm>
        </p:spPr>
        <p:txBody>
          <a:bodyPr>
            <a:normAutofit fontScale="92500" lnSpcReduction="10000"/>
          </a:bodyPr>
          <a:lstStyle/>
          <a:p>
            <a:pPr marL="0" indent="0" algn="ctr">
              <a:buNone/>
            </a:pPr>
            <a:endParaRPr lang="en-US"/>
          </a:p>
          <a:p>
            <a:pPr marL="0" indent="0" algn="ctr">
              <a:buNone/>
            </a:pPr>
            <a:r>
              <a:rPr lang="en-US" b="1"/>
              <a:t>Webinar#3:  </a:t>
            </a:r>
            <a:r>
              <a:rPr lang="en-US"/>
              <a:t>Influencing Policy and Equity: How CSOs Strengthen Gavi’s Work Across the Health System</a:t>
            </a:r>
          </a:p>
          <a:p>
            <a:pPr marL="0" indent="0" algn="ctr">
              <a:buNone/>
            </a:pPr>
            <a:r>
              <a:rPr lang="en-US" b="1"/>
              <a:t>16 October</a:t>
            </a:r>
          </a:p>
          <a:p>
            <a:endParaRPr lang="en-US"/>
          </a:p>
          <a:p>
            <a:pPr algn="ctr" rtl="0">
              <a:lnSpc>
                <a:spcPts val="2700"/>
              </a:lnSpc>
              <a:buNone/>
            </a:pPr>
            <a:r>
              <a:rPr lang="fr-FR" sz="2000" b="1" i="0">
                <a:solidFill>
                  <a:srgbClr val="002060"/>
                </a:solidFill>
                <a:effectLst/>
              </a:rPr>
              <a:t>Webinaire n° 3 : </a:t>
            </a:r>
            <a:r>
              <a:rPr lang="fr-FR" sz="2000" b="0" i="0">
                <a:solidFill>
                  <a:srgbClr val="002060"/>
                </a:solidFill>
                <a:effectLst/>
              </a:rPr>
              <a:t>Influencer les politiques et l’équité : comment les OSC renforcent le travail de Gavi dans le système de santé</a:t>
            </a:r>
          </a:p>
          <a:p>
            <a:pPr algn="ctr" rtl="0">
              <a:lnSpc>
                <a:spcPts val="2700"/>
              </a:lnSpc>
              <a:buNone/>
            </a:pPr>
            <a:r>
              <a:rPr lang="fr-FR" sz="2000" b="1" i="0">
                <a:solidFill>
                  <a:srgbClr val="002060"/>
                </a:solidFill>
                <a:effectLst/>
              </a:rPr>
              <a:t>16 octobre</a:t>
            </a:r>
          </a:p>
          <a:p>
            <a:endParaRPr lang="en-US" sz="2400" b="0"/>
          </a:p>
        </p:txBody>
      </p:sp>
      <p:sp>
        <p:nvSpPr>
          <p:cNvPr id="21" name="Text Placeholder 20">
            <a:extLst>
              <a:ext uri="{FF2B5EF4-FFF2-40B4-BE49-F238E27FC236}">
                <a16:creationId xmlns:a16="http://schemas.microsoft.com/office/drawing/2014/main" id="{8DD6801A-A218-479D-608F-522C115C4742}"/>
              </a:ext>
            </a:extLst>
          </p:cNvPr>
          <p:cNvSpPr>
            <a:spLocks noGrp="1"/>
          </p:cNvSpPr>
          <p:nvPr>
            <p:ph type="body" sz="quarter" idx="27"/>
          </p:nvPr>
        </p:nvSpPr>
        <p:spPr>
          <a:xfrm>
            <a:off x="7955149" y="4846809"/>
            <a:ext cx="3715133" cy="792044"/>
          </a:xfrm>
        </p:spPr>
        <p:txBody>
          <a:bodyPr>
            <a:normAutofit fontScale="92500" lnSpcReduction="20000"/>
          </a:bodyPr>
          <a:lstStyle/>
          <a:p>
            <a:r>
              <a:rPr lang="en-US" sz="1800"/>
              <a:t>Gavi seeks candid feedback, concrete recommendations, and forward-looking collaboration</a:t>
            </a:r>
          </a:p>
          <a:p>
            <a:endParaRPr lang="en-US"/>
          </a:p>
        </p:txBody>
      </p:sp>
      <p:pic>
        <p:nvPicPr>
          <p:cNvPr id="25" name="Picture Placeholder 24" descr="Group brainstorm with solid fill">
            <a:extLst>
              <a:ext uri="{FF2B5EF4-FFF2-40B4-BE49-F238E27FC236}">
                <a16:creationId xmlns:a16="http://schemas.microsoft.com/office/drawing/2014/main" id="{70086ED3-9270-217B-2065-17B0D31B5045}"/>
              </a:ext>
            </a:extLst>
          </p:cNvPr>
          <p:cNvPicPr>
            <a:picLocks noGrp="1" noChangeAspect="1"/>
          </p:cNvPicPr>
          <p:nvPr>
            <p:ph type="pic" sz="quarter" idx="29"/>
          </p:nvPr>
        </p:nvPicPr>
        <p:blipFill>
          <a:blip r:embed="rId3">
            <a:extLst>
              <a:ext uri="{96DAC541-7B7A-43D3-8B79-37D633B846F1}">
                <asvg:svgBlip xmlns:asvg="http://schemas.microsoft.com/office/drawing/2016/SVG/main" r:embed="rId4"/>
              </a:ext>
            </a:extLst>
          </a:blip>
          <a:srcRect/>
          <a:stretch/>
        </p:blipFill>
        <p:spPr/>
      </p:pic>
      <p:sp>
        <p:nvSpPr>
          <p:cNvPr id="6" name="Text Placeholder 5">
            <a:extLst>
              <a:ext uri="{FF2B5EF4-FFF2-40B4-BE49-F238E27FC236}">
                <a16:creationId xmlns:a16="http://schemas.microsoft.com/office/drawing/2014/main" id="{6A18F5E6-EA68-6994-397B-6A4A8722857B}"/>
              </a:ext>
            </a:extLst>
          </p:cNvPr>
          <p:cNvSpPr>
            <a:spLocks noGrp="1"/>
          </p:cNvSpPr>
          <p:nvPr>
            <p:ph type="body" sz="quarter" idx="30"/>
          </p:nvPr>
        </p:nvSpPr>
        <p:spPr/>
        <p:txBody>
          <a:bodyPr>
            <a:normAutofit/>
          </a:bodyPr>
          <a:lstStyle/>
          <a:p>
            <a:r>
              <a:rPr lang="en-US" sz="1800"/>
              <a:t>Informational and consultative</a:t>
            </a:r>
          </a:p>
        </p:txBody>
      </p:sp>
      <p:pic>
        <p:nvPicPr>
          <p:cNvPr id="29" name="Picture Placeholder 28" descr="Boardroom with solid fill">
            <a:extLst>
              <a:ext uri="{FF2B5EF4-FFF2-40B4-BE49-F238E27FC236}">
                <a16:creationId xmlns:a16="http://schemas.microsoft.com/office/drawing/2014/main" id="{18DC809E-6DC2-2CB9-C43B-026A9A8EA25E}"/>
              </a:ext>
            </a:extLst>
          </p:cNvPr>
          <p:cNvPicPr>
            <a:picLocks noGrp="1" noChangeAspect="1"/>
          </p:cNvPicPr>
          <p:nvPr>
            <p:ph type="pic" sz="quarter" idx="32"/>
          </p:nvPr>
        </p:nvPicPr>
        <p:blipFill>
          <a:blip r:embed="rId5">
            <a:extLst>
              <a:ext uri="{96DAC541-7B7A-43D3-8B79-37D633B846F1}">
                <asvg:svgBlip xmlns:asvg="http://schemas.microsoft.com/office/drawing/2016/SVG/main" r:embed="rId6"/>
              </a:ext>
            </a:extLst>
          </a:blip>
          <a:srcRect/>
          <a:stretch/>
        </p:blipFill>
        <p:spPr/>
      </p:pic>
      <p:sp>
        <p:nvSpPr>
          <p:cNvPr id="8" name="Text Placeholder 7">
            <a:extLst>
              <a:ext uri="{FF2B5EF4-FFF2-40B4-BE49-F238E27FC236}">
                <a16:creationId xmlns:a16="http://schemas.microsoft.com/office/drawing/2014/main" id="{DE63C9A1-A82E-5ADB-B995-43A5347978D3}"/>
              </a:ext>
            </a:extLst>
          </p:cNvPr>
          <p:cNvSpPr>
            <a:spLocks noGrp="1"/>
          </p:cNvSpPr>
          <p:nvPr>
            <p:ph type="body" sz="quarter" idx="33"/>
          </p:nvPr>
        </p:nvSpPr>
        <p:spPr>
          <a:xfrm>
            <a:off x="8153269" y="1589245"/>
            <a:ext cx="3715133" cy="792044"/>
          </a:xfrm>
        </p:spPr>
        <p:txBody>
          <a:bodyPr/>
          <a:lstStyle/>
          <a:p>
            <a:r>
              <a:rPr lang="en-US" sz="1800"/>
              <a:t>Insights directly from implementing CSOs</a:t>
            </a:r>
          </a:p>
          <a:p>
            <a:endParaRPr lang="en-US"/>
          </a:p>
        </p:txBody>
      </p:sp>
      <p:pic>
        <p:nvPicPr>
          <p:cNvPr id="13" name="Picture Placeholder 12" descr="Lights On with solid fill">
            <a:extLst>
              <a:ext uri="{FF2B5EF4-FFF2-40B4-BE49-F238E27FC236}">
                <a16:creationId xmlns:a16="http://schemas.microsoft.com/office/drawing/2014/main" id="{8FFC4236-B1F4-9599-8C3A-1F64140E2FB2}"/>
              </a:ext>
            </a:extLst>
          </p:cNvPr>
          <p:cNvPicPr>
            <a:picLocks noGrp="1" noChangeAspect="1"/>
          </p:cNvPicPr>
          <p:nvPr>
            <p:ph type="pic" sz="quarter" idx="35"/>
          </p:nvPr>
        </p:nvPicPr>
        <p:blipFill>
          <a:blip r:embed="rId7">
            <a:extLst>
              <a:ext uri="{96DAC541-7B7A-43D3-8B79-37D633B846F1}">
                <asvg:svgBlip xmlns:asvg="http://schemas.microsoft.com/office/drawing/2016/SVG/main" r:embed="rId8"/>
              </a:ext>
            </a:extLst>
          </a:blip>
          <a:srcRect/>
          <a:stretch>
            <a:fillRect/>
          </a:stretch>
        </p:blipFill>
        <p:spPr/>
      </p:pic>
    </p:spTree>
    <p:extLst>
      <p:ext uri="{BB962C8B-B14F-4D97-AF65-F5344CB8AC3E}">
        <p14:creationId xmlns:p14="http://schemas.microsoft.com/office/powerpoint/2010/main" val="34076625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944E473F-F760-49B1-4B41-D686A7E2B051}"/>
              </a:ext>
            </a:extLst>
          </p:cNvPr>
          <p:cNvSpPr>
            <a:spLocks noGrp="1"/>
          </p:cNvSpPr>
          <p:nvPr>
            <p:ph type="title"/>
          </p:nvPr>
        </p:nvSpPr>
        <p:spPr/>
        <p:txBody>
          <a:bodyPr>
            <a:normAutofit fontScale="90000"/>
          </a:bodyPr>
          <a:lstStyle/>
          <a:p>
            <a:r>
              <a:rPr lang="en-US"/>
              <a:t>Today’s Webinar and Consultation Thematic Focus</a:t>
            </a:r>
            <a:br>
              <a:rPr lang="en-US"/>
            </a:br>
            <a:br>
              <a:rPr lang="en-US"/>
            </a:br>
            <a:r>
              <a:rPr lang="en-US" sz="2800">
                <a:solidFill>
                  <a:schemeClr val="tx1"/>
                </a:solidFill>
                <a:effectLst/>
                <a:latin typeface="Aptos" panose="020B0004020202020204" pitchFamily="34" charset="0"/>
                <a:ea typeface="Aptos" panose="020B0004020202020204" pitchFamily="34" charset="0"/>
                <a:cs typeface="Times New Roman" panose="02020603050405020304" pitchFamily="18" charset="0"/>
              </a:rPr>
              <a:t>In fragile and humanitarian settings, what will it take for Gavi and CSOs to sustain </a:t>
            </a:r>
            <a:r>
              <a:rPr lang="en-US" sz="2800" err="1">
                <a:solidFill>
                  <a:schemeClr val="tx1"/>
                </a:solidFill>
                <a:effectLst/>
                <a:latin typeface="Aptos" panose="020B0004020202020204" pitchFamily="34" charset="0"/>
                <a:ea typeface="Aptos" panose="020B0004020202020204" pitchFamily="34" charset="0"/>
                <a:cs typeface="Times New Roman" panose="02020603050405020304" pitchFamily="18" charset="0"/>
              </a:rPr>
              <a:t>immunisation</a:t>
            </a:r>
            <a:r>
              <a:rPr lang="en-US" sz="2800">
                <a:solidFill>
                  <a:schemeClr val="tx1"/>
                </a:solidFill>
                <a:effectLst/>
                <a:latin typeface="Aptos" panose="020B0004020202020204" pitchFamily="34" charset="0"/>
                <a:ea typeface="Aptos" panose="020B0004020202020204" pitchFamily="34" charset="0"/>
                <a:cs typeface="Times New Roman" panose="02020603050405020304" pitchFamily="18" charset="0"/>
              </a:rPr>
              <a:t> services amidst crisis, while building the foundations for long-term resilience?</a:t>
            </a:r>
            <a:endParaRPr lang="en-US" sz="2700">
              <a:solidFill>
                <a:schemeClr val="tx1"/>
              </a:solidFill>
            </a:endParaRPr>
          </a:p>
        </p:txBody>
      </p:sp>
      <p:sp>
        <p:nvSpPr>
          <p:cNvPr id="3" name="Slide Number Placeholder 2">
            <a:extLst>
              <a:ext uri="{FF2B5EF4-FFF2-40B4-BE49-F238E27FC236}">
                <a16:creationId xmlns:a16="http://schemas.microsoft.com/office/drawing/2014/main" id="{649DC8FA-3253-A07A-665F-8751DC482047}"/>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6</a:t>
            </a:fld>
            <a:endParaRPr lang="en-GB">
              <a:solidFill>
                <a:schemeClr val="tx1">
                  <a:lumMod val="50000"/>
                  <a:lumOff val="50000"/>
                </a:schemeClr>
              </a:solidFill>
            </a:endParaRPr>
          </a:p>
        </p:txBody>
      </p:sp>
      <p:pic>
        <p:nvPicPr>
          <p:cNvPr id="30" name="Picture Placeholder 29" descr="Needle with solid fill">
            <a:extLst>
              <a:ext uri="{FF2B5EF4-FFF2-40B4-BE49-F238E27FC236}">
                <a16:creationId xmlns:a16="http://schemas.microsoft.com/office/drawing/2014/main" id="{75D48EA5-3F12-DF1A-6058-FCF919C1B42A}"/>
              </a:ext>
            </a:extLst>
          </p:cNvPr>
          <p:cNvPicPr>
            <a:picLocks noGrp="1" noChangeAspect="1"/>
          </p:cNvPicPr>
          <p:nvPr>
            <p:ph type="pic" sz="quarter" idx="13"/>
          </p:nvPr>
        </p:nvPicPr>
        <p:blipFill>
          <a:blip r:embed="rId3">
            <a:extLst>
              <a:ext uri="{96DAC541-7B7A-43D3-8B79-37D633B846F1}">
                <asvg:svgBlip xmlns:asvg="http://schemas.microsoft.com/office/drawing/2016/SVG/main" r:embed="rId4"/>
              </a:ext>
            </a:extLst>
          </a:blip>
          <a:srcRect l="11625" r="11625"/>
          <a:stretch>
            <a:fillRect/>
          </a:stretch>
        </p:blipFill>
        <p:spPr>
          <a:xfrm>
            <a:off x="374196" y="2488031"/>
            <a:ext cx="869950" cy="1133475"/>
          </a:xfrm>
        </p:spPr>
      </p:pic>
      <p:sp>
        <p:nvSpPr>
          <p:cNvPr id="17" name="Text Placeholder 16">
            <a:extLst>
              <a:ext uri="{FF2B5EF4-FFF2-40B4-BE49-F238E27FC236}">
                <a16:creationId xmlns:a16="http://schemas.microsoft.com/office/drawing/2014/main" id="{E184B5A6-3E5C-326E-B58A-F6F2CC835B4C}"/>
              </a:ext>
            </a:extLst>
          </p:cNvPr>
          <p:cNvSpPr>
            <a:spLocks noGrp="1"/>
          </p:cNvSpPr>
          <p:nvPr>
            <p:ph type="body" sz="quarter" idx="16"/>
          </p:nvPr>
        </p:nvSpPr>
        <p:spPr>
          <a:xfrm>
            <a:off x="1598158" y="2585184"/>
            <a:ext cx="4143829" cy="1133088"/>
          </a:xfrm>
        </p:spPr>
        <p:txBody>
          <a:bodyPr>
            <a:normAutofit/>
          </a:bodyPr>
          <a:lstStyle/>
          <a:p>
            <a:r>
              <a:rPr lang="en-US" sz="2400"/>
              <a:t>Contexts and Challenges</a:t>
            </a:r>
          </a:p>
          <a:p>
            <a:r>
              <a:rPr lang="en-US" sz="2400" err="1">
                <a:solidFill>
                  <a:schemeClr val="accent3"/>
                </a:solidFill>
              </a:rPr>
              <a:t>Contextes</a:t>
            </a:r>
            <a:r>
              <a:rPr lang="en-US" sz="2400">
                <a:solidFill>
                  <a:schemeClr val="accent3"/>
                </a:solidFill>
              </a:rPr>
              <a:t> et </a:t>
            </a:r>
            <a:r>
              <a:rPr lang="en-US" sz="2400" err="1">
                <a:solidFill>
                  <a:schemeClr val="accent3"/>
                </a:solidFill>
              </a:rPr>
              <a:t>défis</a:t>
            </a:r>
            <a:endParaRPr lang="en-US" sz="2400">
              <a:solidFill>
                <a:schemeClr val="accent3"/>
              </a:solidFill>
            </a:endParaRPr>
          </a:p>
          <a:p>
            <a:endParaRPr lang="en-US"/>
          </a:p>
        </p:txBody>
      </p:sp>
      <p:pic>
        <p:nvPicPr>
          <p:cNvPr id="34" name="Picture Placeholder 33" descr="Handshake with solid fill">
            <a:extLst>
              <a:ext uri="{FF2B5EF4-FFF2-40B4-BE49-F238E27FC236}">
                <a16:creationId xmlns:a16="http://schemas.microsoft.com/office/drawing/2014/main" id="{9C5582D4-A037-5AE3-3036-263DC1CA3AC1}"/>
              </a:ext>
            </a:extLst>
          </p:cNvPr>
          <p:cNvPicPr>
            <a:picLocks noGrp="1" noChangeAspect="1"/>
          </p:cNvPicPr>
          <p:nvPr>
            <p:ph type="pic" sz="quarter" idx="17"/>
          </p:nvPr>
        </p:nvPicPr>
        <p:blipFill>
          <a:blip r:embed="rId5">
            <a:extLst>
              <a:ext uri="{96DAC541-7B7A-43D3-8B79-37D633B846F1}">
                <asvg:svgBlip xmlns:asvg="http://schemas.microsoft.com/office/drawing/2016/SVG/main" r:embed="rId6"/>
              </a:ext>
            </a:extLst>
          </a:blip>
          <a:srcRect l="11625" r="11625"/>
          <a:stretch/>
        </p:blipFill>
        <p:spPr>
          <a:xfrm>
            <a:off x="211777" y="3853848"/>
            <a:ext cx="869950" cy="1133475"/>
          </a:xfrm>
        </p:spPr>
      </p:pic>
      <p:sp>
        <p:nvSpPr>
          <p:cNvPr id="20" name="Text Placeholder 19">
            <a:extLst>
              <a:ext uri="{FF2B5EF4-FFF2-40B4-BE49-F238E27FC236}">
                <a16:creationId xmlns:a16="http://schemas.microsoft.com/office/drawing/2014/main" id="{C5CB8FD3-A448-7F50-E6E2-88B4FC289952}"/>
              </a:ext>
            </a:extLst>
          </p:cNvPr>
          <p:cNvSpPr>
            <a:spLocks noGrp="1"/>
          </p:cNvSpPr>
          <p:nvPr>
            <p:ph type="body" sz="quarter" idx="19"/>
          </p:nvPr>
        </p:nvSpPr>
        <p:spPr>
          <a:xfrm>
            <a:off x="1516949" y="4151366"/>
            <a:ext cx="4143829" cy="1659302"/>
          </a:xfrm>
        </p:spPr>
        <p:txBody>
          <a:bodyPr>
            <a:normAutofit fontScale="92500"/>
          </a:bodyPr>
          <a:lstStyle/>
          <a:p>
            <a:r>
              <a:rPr lang="en-US" sz="2200"/>
              <a:t>Partnerships with humanitarian actors and government</a:t>
            </a:r>
          </a:p>
          <a:p>
            <a:r>
              <a:rPr lang="fr-FR" sz="2200">
                <a:solidFill>
                  <a:schemeClr val="accent3"/>
                </a:solidFill>
              </a:rPr>
              <a:t>Partenariats avec les acteurs humanitaires et le gouvernement</a:t>
            </a:r>
            <a:endParaRPr lang="en-US" sz="2200">
              <a:solidFill>
                <a:schemeClr val="accent3"/>
              </a:solidFill>
            </a:endParaRPr>
          </a:p>
          <a:p>
            <a:endParaRPr lang="en-US" sz="2200"/>
          </a:p>
          <a:p>
            <a:endParaRPr lang="en-US" sz="2200"/>
          </a:p>
          <a:p>
            <a:endParaRPr lang="en-US"/>
          </a:p>
        </p:txBody>
      </p:sp>
      <p:pic>
        <p:nvPicPr>
          <p:cNvPr id="32" name="Picture Placeholder 31" descr="Medical with solid fill">
            <a:extLst>
              <a:ext uri="{FF2B5EF4-FFF2-40B4-BE49-F238E27FC236}">
                <a16:creationId xmlns:a16="http://schemas.microsoft.com/office/drawing/2014/main" id="{84B7C7E4-DF20-506A-D93F-50E8A466BB51}"/>
              </a:ext>
            </a:extLst>
          </p:cNvPr>
          <p:cNvPicPr>
            <a:picLocks noGrp="1" noChangeAspect="1"/>
          </p:cNvPicPr>
          <p:nvPr>
            <p:ph type="pic" sz="quarter" idx="20"/>
          </p:nvPr>
        </p:nvPicPr>
        <p:blipFill>
          <a:blip r:embed="rId7">
            <a:extLst>
              <a:ext uri="{96DAC541-7B7A-43D3-8B79-37D633B846F1}">
                <asvg:svgBlip xmlns:asvg="http://schemas.microsoft.com/office/drawing/2016/SVG/main" r:embed="rId8"/>
              </a:ext>
            </a:extLst>
          </a:blip>
          <a:srcRect l="11625" r="11625"/>
          <a:stretch>
            <a:fillRect/>
          </a:stretch>
        </p:blipFill>
        <p:spPr>
          <a:xfrm>
            <a:off x="6096000" y="2488031"/>
            <a:ext cx="869950" cy="1133475"/>
          </a:xfrm>
        </p:spPr>
      </p:pic>
      <p:sp>
        <p:nvSpPr>
          <p:cNvPr id="23" name="Text Placeholder 22">
            <a:extLst>
              <a:ext uri="{FF2B5EF4-FFF2-40B4-BE49-F238E27FC236}">
                <a16:creationId xmlns:a16="http://schemas.microsoft.com/office/drawing/2014/main" id="{16BBD56E-CB25-0A70-3DCA-5E418CF8C2EE}"/>
              </a:ext>
            </a:extLst>
          </p:cNvPr>
          <p:cNvSpPr>
            <a:spLocks noGrp="1"/>
          </p:cNvSpPr>
          <p:nvPr>
            <p:ph type="body" sz="quarter" idx="22"/>
          </p:nvPr>
        </p:nvSpPr>
        <p:spPr>
          <a:xfrm>
            <a:off x="7182983" y="2467501"/>
            <a:ext cx="4143829" cy="1495242"/>
          </a:xfrm>
        </p:spPr>
        <p:txBody>
          <a:bodyPr>
            <a:normAutofit fontScale="92500"/>
          </a:bodyPr>
          <a:lstStyle/>
          <a:p>
            <a:r>
              <a:rPr lang="en-US" sz="2200"/>
              <a:t>Adaptations to Service Delivery</a:t>
            </a:r>
          </a:p>
          <a:p>
            <a:r>
              <a:rPr lang="fr-FR" sz="2200">
                <a:solidFill>
                  <a:schemeClr val="accent3"/>
                </a:solidFill>
              </a:rPr>
              <a:t>Adaptations à la prestation de services</a:t>
            </a:r>
            <a:endParaRPr lang="en-US" sz="2200">
              <a:solidFill>
                <a:schemeClr val="accent3"/>
              </a:solidFill>
            </a:endParaRPr>
          </a:p>
          <a:p>
            <a:endParaRPr lang="en-US"/>
          </a:p>
        </p:txBody>
      </p:sp>
      <p:pic>
        <p:nvPicPr>
          <p:cNvPr id="36" name="Picture Placeholder 35" descr="Body builder with solid fill">
            <a:extLst>
              <a:ext uri="{FF2B5EF4-FFF2-40B4-BE49-F238E27FC236}">
                <a16:creationId xmlns:a16="http://schemas.microsoft.com/office/drawing/2014/main" id="{F72FB63B-D2FD-8A03-AD0D-0C35C6C902B5}"/>
              </a:ext>
            </a:extLst>
          </p:cNvPr>
          <p:cNvPicPr>
            <a:picLocks noGrp="1" noChangeAspect="1"/>
          </p:cNvPicPr>
          <p:nvPr>
            <p:ph type="pic" sz="quarter" idx="23"/>
          </p:nvPr>
        </p:nvPicPr>
        <p:blipFill>
          <a:blip r:embed="rId9">
            <a:extLst>
              <a:ext uri="{96DAC541-7B7A-43D3-8B79-37D633B846F1}">
                <asvg:svgBlip xmlns:asvg="http://schemas.microsoft.com/office/drawing/2016/SVG/main" r:embed="rId10"/>
              </a:ext>
            </a:extLst>
          </a:blip>
          <a:srcRect l="11625" r="11625"/>
          <a:stretch>
            <a:fillRect/>
          </a:stretch>
        </p:blipFill>
        <p:spPr>
          <a:xfrm>
            <a:off x="5986905" y="4151366"/>
            <a:ext cx="869950" cy="1133475"/>
          </a:xfrm>
        </p:spPr>
      </p:pic>
      <p:sp>
        <p:nvSpPr>
          <p:cNvPr id="26" name="Text Placeholder 25">
            <a:extLst>
              <a:ext uri="{FF2B5EF4-FFF2-40B4-BE49-F238E27FC236}">
                <a16:creationId xmlns:a16="http://schemas.microsoft.com/office/drawing/2014/main" id="{D5F31980-B8B9-FDA4-3154-50046F831295}"/>
              </a:ext>
            </a:extLst>
          </p:cNvPr>
          <p:cNvSpPr>
            <a:spLocks noGrp="1"/>
          </p:cNvSpPr>
          <p:nvPr>
            <p:ph type="body" sz="quarter" idx="25"/>
          </p:nvPr>
        </p:nvSpPr>
        <p:spPr>
          <a:xfrm>
            <a:off x="7182982" y="4315426"/>
            <a:ext cx="4143829" cy="1495242"/>
          </a:xfrm>
        </p:spPr>
        <p:txBody>
          <a:bodyPr>
            <a:normAutofit fontScale="92500" lnSpcReduction="20000"/>
          </a:bodyPr>
          <a:lstStyle/>
          <a:p>
            <a:r>
              <a:rPr lang="en-US" sz="2200"/>
              <a:t>Strengthening support and resilience</a:t>
            </a:r>
          </a:p>
          <a:p>
            <a:r>
              <a:rPr lang="fr-FR" sz="2200">
                <a:solidFill>
                  <a:schemeClr val="accent3"/>
                </a:solidFill>
              </a:rPr>
              <a:t>Renforcer le soutien et la résilience</a:t>
            </a:r>
            <a:endParaRPr lang="en-US" sz="2200">
              <a:solidFill>
                <a:schemeClr val="accent3"/>
              </a:solidFill>
            </a:endParaRPr>
          </a:p>
          <a:p>
            <a:endParaRPr lang="en-US"/>
          </a:p>
        </p:txBody>
      </p:sp>
    </p:spTree>
    <p:extLst>
      <p:ext uri="{BB962C8B-B14F-4D97-AF65-F5344CB8AC3E}">
        <p14:creationId xmlns:p14="http://schemas.microsoft.com/office/powerpoint/2010/main" val="33473945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A53C4-7FAB-B19F-FB44-74ECC943BD90}"/>
              </a:ext>
            </a:extLst>
          </p:cNvPr>
          <p:cNvSpPr>
            <a:spLocks noGrp="1"/>
          </p:cNvSpPr>
          <p:nvPr>
            <p:ph type="title"/>
          </p:nvPr>
        </p:nvSpPr>
        <p:spPr>
          <a:xfrm>
            <a:off x="515369" y="589251"/>
            <a:ext cx="11154344" cy="592778"/>
          </a:xfrm>
        </p:spPr>
        <p:txBody>
          <a:bodyPr anchor="t">
            <a:noAutofit/>
          </a:bodyPr>
          <a:lstStyle/>
          <a:p>
            <a:r>
              <a:rPr lang="en-US" sz="2800"/>
              <a:t>Gavi’s experience with CSOs in Conflict and Fragile settings</a:t>
            </a:r>
            <a:br>
              <a:rPr lang="en-US" sz="2800"/>
            </a:br>
            <a:endParaRPr lang="en-US" sz="2800"/>
          </a:p>
        </p:txBody>
      </p:sp>
      <p:sp>
        <p:nvSpPr>
          <p:cNvPr id="3" name="Slide Number Placeholder 2">
            <a:extLst>
              <a:ext uri="{FF2B5EF4-FFF2-40B4-BE49-F238E27FC236}">
                <a16:creationId xmlns:a16="http://schemas.microsoft.com/office/drawing/2014/main" id="{E5D16AB1-6E5A-8134-D64D-F507D9AE0395}"/>
              </a:ext>
            </a:extLst>
          </p:cNvPr>
          <p:cNvSpPr>
            <a:spLocks noGrp="1"/>
          </p:cNvSpPr>
          <p:nvPr>
            <p:ph type="sldNum" sz="quarter" idx="12"/>
          </p:nvPr>
        </p:nvSpPr>
        <p:spPr>
          <a:xfrm>
            <a:off x="515937" y="6353142"/>
            <a:ext cx="261630" cy="136526"/>
          </a:xfrm>
        </p:spPr>
        <p:txBody>
          <a:bodyPr anchor="b">
            <a:normAutofit/>
          </a:bodyPr>
          <a:lstStyle/>
          <a:p>
            <a:pPr>
              <a:spcAft>
                <a:spcPts val="600"/>
              </a:spcAft>
            </a:pPr>
            <a:fld id="{AB746B08-255A-2748-8A21-40BE94A17FD1}" type="slidenum">
              <a:rPr lang="en-GB" smtClean="0">
                <a:solidFill>
                  <a:schemeClr val="tx1">
                    <a:lumMod val="50000"/>
                    <a:lumOff val="50000"/>
                  </a:schemeClr>
                </a:solidFill>
              </a:rPr>
              <a:pPr>
                <a:spcAft>
                  <a:spcPts val="600"/>
                </a:spcAft>
              </a:pPr>
              <a:t>7</a:t>
            </a:fld>
            <a:endParaRPr lang="en-GB">
              <a:solidFill>
                <a:schemeClr val="tx1">
                  <a:lumMod val="50000"/>
                  <a:lumOff val="50000"/>
                </a:schemeClr>
              </a:solidFill>
            </a:endParaRPr>
          </a:p>
        </p:txBody>
      </p:sp>
      <p:graphicFrame>
        <p:nvGraphicFramePr>
          <p:cNvPr id="7" name="Chart Placeholder 4">
            <a:extLst>
              <a:ext uri="{FF2B5EF4-FFF2-40B4-BE49-F238E27FC236}">
                <a16:creationId xmlns:a16="http://schemas.microsoft.com/office/drawing/2014/main" id="{5A5250A5-6BD8-5821-CBDD-D85AF3392672}"/>
              </a:ext>
            </a:extLst>
          </p:cNvPr>
          <p:cNvGraphicFramePr/>
          <p:nvPr/>
        </p:nvGraphicFramePr>
        <p:xfrm>
          <a:off x="515369" y="1320799"/>
          <a:ext cx="11153775" cy="43703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07652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9986F8A-EA0E-147A-2326-03002433ECA1}"/>
              </a:ext>
            </a:extLst>
          </p:cNvPr>
          <p:cNvSpPr>
            <a:spLocks noGrp="1"/>
          </p:cNvSpPr>
          <p:nvPr>
            <p:ph type="pic" sz="quarter" idx="10"/>
          </p:nvPr>
        </p:nvSpPr>
        <p:spPr>
          <a:solidFill>
            <a:schemeClr val="tx2">
              <a:lumMod val="50000"/>
            </a:schemeClr>
          </a:solidFill>
        </p:spPr>
        <p:txBody>
          <a:bodyPr/>
          <a:lstStyle/>
          <a:p>
            <a:endParaRPr lang="en-US"/>
          </a:p>
        </p:txBody>
      </p:sp>
      <p:sp>
        <p:nvSpPr>
          <p:cNvPr id="3" name="Text Placeholder 2">
            <a:extLst>
              <a:ext uri="{FF2B5EF4-FFF2-40B4-BE49-F238E27FC236}">
                <a16:creationId xmlns:a16="http://schemas.microsoft.com/office/drawing/2014/main" id="{458AA4ED-01A5-8748-9624-0F64ADE84153}"/>
              </a:ext>
            </a:extLst>
          </p:cNvPr>
          <p:cNvSpPr>
            <a:spLocks noGrp="1"/>
          </p:cNvSpPr>
          <p:nvPr>
            <p:ph type="body" sz="quarter" idx="12"/>
          </p:nvPr>
        </p:nvSpPr>
        <p:spPr>
          <a:xfrm>
            <a:off x="6653214" y="1842052"/>
            <a:ext cx="5012580" cy="3478093"/>
          </a:xfrm>
        </p:spPr>
        <p:txBody>
          <a:bodyPr>
            <a:normAutofit fontScale="70000" lnSpcReduction="20000"/>
          </a:bodyPr>
          <a:lstStyle/>
          <a:p>
            <a:pPr algn="ctr"/>
            <a:r>
              <a:rPr lang="en-US"/>
              <a:t>CSO Spotlights</a:t>
            </a:r>
          </a:p>
          <a:p>
            <a:pPr algn="ctr"/>
            <a:endParaRPr lang="en-US"/>
          </a:p>
          <a:p>
            <a:pPr algn="ctr"/>
            <a:r>
              <a:rPr lang="fr-FR"/>
              <a:t>Pleins feux sur les OSC</a:t>
            </a:r>
            <a:r>
              <a:rPr lang="en-US"/>
              <a:t>:</a:t>
            </a:r>
          </a:p>
          <a:p>
            <a:pPr marL="857250" indent="-857250">
              <a:buFont typeface="Arial" panose="020B0604020202020204" pitchFamily="34" charset="0"/>
              <a:buChar char="•"/>
            </a:pPr>
            <a:endParaRPr lang="en-US"/>
          </a:p>
          <a:p>
            <a:pPr marL="571500" indent="-571500">
              <a:buFont typeface="Arial" panose="020B0604020202020204" pitchFamily="34" charset="0"/>
              <a:buChar char="•"/>
            </a:pPr>
            <a:r>
              <a:rPr lang="en-US" sz="4300"/>
              <a:t>APEC</a:t>
            </a:r>
          </a:p>
          <a:p>
            <a:pPr marL="571500" indent="-571500">
              <a:buFont typeface="Arial" panose="020B0604020202020204" pitchFamily="34" charset="0"/>
              <a:buChar char="•"/>
            </a:pPr>
            <a:endParaRPr lang="en-US" sz="4300"/>
          </a:p>
          <a:p>
            <a:pPr marL="571500" indent="-571500">
              <a:buFont typeface="Arial" panose="020B0604020202020204" pitchFamily="34" charset="0"/>
              <a:buChar char="•"/>
            </a:pPr>
            <a:r>
              <a:rPr lang="en-US" sz="4300"/>
              <a:t>IFRC/PRCS</a:t>
            </a:r>
          </a:p>
          <a:p>
            <a:pPr marL="571500" indent="-571500">
              <a:buFont typeface="Arial" panose="020B0604020202020204" pitchFamily="34" charset="0"/>
              <a:buChar char="•"/>
            </a:pPr>
            <a:endParaRPr lang="en-US" sz="4300"/>
          </a:p>
          <a:p>
            <a:pPr marL="571500" indent="-571500">
              <a:buFont typeface="Arial" panose="020B0604020202020204" pitchFamily="34" charset="0"/>
              <a:buChar char="•"/>
            </a:pPr>
            <a:r>
              <a:rPr lang="en-US" sz="4300"/>
              <a:t>Save the Children</a:t>
            </a:r>
          </a:p>
          <a:p>
            <a:endParaRPr lang="en-US" sz="4300"/>
          </a:p>
        </p:txBody>
      </p:sp>
    </p:spTree>
    <p:extLst>
      <p:ext uri="{BB962C8B-B14F-4D97-AF65-F5344CB8AC3E}">
        <p14:creationId xmlns:p14="http://schemas.microsoft.com/office/powerpoint/2010/main" val="1878542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43E72A9-B391-522E-9045-AF10840FA9C0}"/>
              </a:ext>
            </a:extLst>
          </p:cNvPr>
          <p:cNvSpPr/>
          <p:nvPr/>
        </p:nvSpPr>
        <p:spPr>
          <a:xfrm>
            <a:off x="-1298" y="0"/>
            <a:ext cx="453881" cy="6858000"/>
          </a:xfrm>
          <a:prstGeom prst="rect">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7467A356-7078-A730-0BC5-B353AB2196E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8" name="Title 1">
            <a:extLst>
              <a:ext uri="{FF2B5EF4-FFF2-40B4-BE49-F238E27FC236}">
                <a16:creationId xmlns:a16="http://schemas.microsoft.com/office/drawing/2014/main" id="{36975764-AA09-E82F-FA8F-74F31B482CE3}"/>
              </a:ext>
            </a:extLst>
          </p:cNvPr>
          <p:cNvSpPr txBox="1">
            <a:spLocks/>
          </p:cNvSpPr>
          <p:nvPr/>
        </p:nvSpPr>
        <p:spPr>
          <a:xfrm>
            <a:off x="0" y="2377832"/>
            <a:ext cx="12191999" cy="924169"/>
          </a:xfrm>
          <a:prstGeom prst="rect">
            <a:avLst/>
          </a:prstGeom>
          <a:solidFill>
            <a:schemeClr val="bg1"/>
          </a:solidFill>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r" sz="44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rPr>
              <a:t>APEC RDC</a:t>
            </a:r>
          </a:p>
        </p:txBody>
      </p:sp>
      <p:sp>
        <p:nvSpPr>
          <p:cNvPr id="9" name="TextBox 8">
            <a:extLst>
              <a:ext uri="{FF2B5EF4-FFF2-40B4-BE49-F238E27FC236}">
                <a16:creationId xmlns:a16="http://schemas.microsoft.com/office/drawing/2014/main" id="{250E1250-E910-A3EC-AD54-3829D82082D7}"/>
              </a:ext>
            </a:extLst>
          </p:cNvPr>
          <p:cNvSpPr txBox="1"/>
          <p:nvPr/>
        </p:nvSpPr>
        <p:spPr>
          <a:xfrm>
            <a:off x="452583" y="3673121"/>
            <a:ext cx="1076601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ésentateur</a:t>
            </a:r>
            <a:r>
              <a:rPr kumimoji="0" lang="fr"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Lala Assy</a:t>
            </a:r>
            <a:br>
              <a:rPr kumimoji="0" lang="en-US"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fr"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p:txBody>
      </p:sp>
      <p:pic>
        <p:nvPicPr>
          <p:cNvPr id="7" name="Image 6" descr="http://50.116.44.194:8000/img/logo.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6053" y="488773"/>
            <a:ext cx="1284541" cy="1154047"/>
          </a:xfrm>
          <a:prstGeom prst="rect">
            <a:avLst/>
          </a:prstGeom>
          <a:noFill/>
          <a:ln>
            <a:noFill/>
          </a:ln>
        </p:spPr>
      </p:pic>
      <p:pic>
        <p:nvPicPr>
          <p:cNvPr id="10" name="Img1" descr="GAVI Logo"/>
          <p:cNvPicPr/>
          <p:nvPr/>
        </p:nvPicPr>
        <p:blipFill>
          <a:blip r:embed="rId4" cstate="print">
            <a:extLst>
              <a:ext uri="{28A0092B-C50C-407E-A947-70E740481C1C}">
                <a14:useLocalDpi xmlns:a14="http://schemas.microsoft.com/office/drawing/2010/main" val="0"/>
              </a:ext>
            </a:extLst>
          </a:blip>
          <a:srcRect l="11141" r="7773"/>
          <a:stretch>
            <a:fillRect/>
          </a:stretch>
        </p:blipFill>
        <p:spPr bwMode="auto">
          <a:xfrm>
            <a:off x="6013011" y="543916"/>
            <a:ext cx="1577492" cy="1098904"/>
          </a:xfrm>
          <a:prstGeom prst="rect">
            <a:avLst/>
          </a:prstGeom>
          <a:noFill/>
          <a:ln>
            <a:noFill/>
          </a:ln>
        </p:spPr>
      </p:pic>
      <p:pic>
        <p:nvPicPr>
          <p:cNvPr id="11" name="Image 10"/>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05344" y="2418930"/>
            <a:ext cx="1351342" cy="836574"/>
          </a:xfrm>
          <a:prstGeom prst="rect">
            <a:avLst/>
          </a:prstGeom>
          <a:noFill/>
          <a:ln>
            <a:noFill/>
          </a:ln>
        </p:spPr>
      </p:pic>
    </p:spTree>
    <p:extLst>
      <p:ext uri="{BB962C8B-B14F-4D97-AF65-F5344CB8AC3E}">
        <p14:creationId xmlns:p14="http://schemas.microsoft.com/office/powerpoint/2010/main" val="2456131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vi – Titles, Sections, End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ppt/theme/theme10.xml><?xml version="1.0" encoding="utf-8"?>
<a:theme xmlns:a="http://schemas.openxmlformats.org/drawingml/2006/main" name="4_Gavi – Titles, Sections, End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3.xml><?xml version="1.0" encoding="utf-8"?>
<a:theme xmlns:a="http://schemas.openxmlformats.org/drawingml/2006/main" name="1_FULL_Gavi_PPT_TEMPLATE 2">
  <a:themeElements>
    <a:clrScheme name="Gavi">
      <a:dk1>
        <a:srgbClr val="343434"/>
      </a:dk1>
      <a:lt1>
        <a:sysClr val="window" lastClr="FFFFFF"/>
      </a:lt1>
      <a:dk2>
        <a:srgbClr val="F59BBB"/>
      </a:dk2>
      <a:lt2>
        <a:srgbClr val="878787"/>
      </a:lt2>
      <a:accent1>
        <a:srgbClr val="005CB9"/>
      </a:accent1>
      <a:accent2>
        <a:srgbClr val="00A1DF"/>
      </a:accent2>
      <a:accent3>
        <a:srgbClr val="95D600"/>
      </a:accent3>
      <a:accent4>
        <a:srgbClr val="A51890"/>
      </a:accent4>
      <a:accent5>
        <a:srgbClr val="CE0F69"/>
      </a:accent5>
      <a:accent6>
        <a:srgbClr val="005A70"/>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ull Gavi Powerpoint Template.potx [Read-Only]" id="{E31E8415-5D1C-43B2-9AFD-4E84714CE5D2}" vid="{104B6EBA-F253-43EC-8970-E08CDD48FD72}"/>
    </a:ext>
  </a:extLst>
</a:theme>
</file>

<file path=ppt/theme/theme4.xml><?xml version="1.0" encoding="utf-8"?>
<a:theme xmlns:a="http://schemas.openxmlformats.org/drawingml/2006/main" name="1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5.xml><?xml version="1.0" encoding="utf-8"?>
<a:theme xmlns:a="http://schemas.openxmlformats.org/drawingml/2006/main" name="2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6.xml><?xml version="1.0" encoding="utf-8"?>
<a:theme xmlns:a="http://schemas.openxmlformats.org/drawingml/2006/main" name="2_Gavi – Titles, Sections, End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ppt/theme/theme7.xml><?xml version="1.0" encoding="utf-8"?>
<a:theme xmlns:a="http://schemas.openxmlformats.org/drawingml/2006/main" name="1_Gavi – Titles, Sections, End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ppt/theme/theme8.xml><?xml version="1.0" encoding="utf-8"?>
<a:theme xmlns:a="http://schemas.openxmlformats.org/drawingml/2006/main" name="3_Gavi – Titles, Sections, End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8D71E593CBFE949B5FE4696D4D2090D" ma:contentTypeVersion="8" ma:contentTypeDescription="Create a new document." ma:contentTypeScope="" ma:versionID="e70714a2698be37eee277a06b1d1ca51">
  <xsd:schema xmlns:xsd="http://www.w3.org/2001/XMLSchema" xmlns:xs="http://www.w3.org/2001/XMLSchema" xmlns:p="http://schemas.microsoft.com/office/2006/metadata/properties" xmlns:ns2="55e0018a-555f-4636-8448-22bbeb8b2fd8" targetNamespace="http://schemas.microsoft.com/office/2006/metadata/properties" ma:root="true" ma:fieldsID="e09d2aa46d34de46a88575a4a5bad33c" ns2:_="">
    <xsd:import namespace="55e0018a-555f-4636-8448-22bbeb8b2fd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e0018a-555f-4636-8448-22bbeb8b2fd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B417BA-B70D-4064-B126-526D374E90C8}">
  <ds:schemaRefs>
    <ds:schemaRef ds:uri="http://schemas.microsoft.com/office/2006/documentManagement/types"/>
    <ds:schemaRef ds:uri="http://purl.org/dc/terms/"/>
    <ds:schemaRef ds:uri="http://purl.org/dc/dcmitype/"/>
    <ds:schemaRef ds:uri="http://purl.org/dc/elements/1.1/"/>
    <ds:schemaRef ds:uri="http://www.w3.org/XML/1998/namespace"/>
    <ds:schemaRef ds:uri="http://schemas.microsoft.com/office/2006/metadata/properties"/>
    <ds:schemaRef ds:uri="http://schemas.microsoft.com/office/infopath/2007/PartnerControls"/>
    <ds:schemaRef ds:uri="http://schemas.openxmlformats.org/package/2006/metadata/core-properties"/>
    <ds:schemaRef ds:uri="55e0018a-555f-4636-8448-22bbeb8b2fd8"/>
  </ds:schemaRefs>
</ds:datastoreItem>
</file>

<file path=customXml/itemProps2.xml><?xml version="1.0" encoding="utf-8"?>
<ds:datastoreItem xmlns:ds="http://schemas.openxmlformats.org/officeDocument/2006/customXml" ds:itemID="{38C2AF94-1ADD-4497-B811-40779A421353}">
  <ds:schemaRefs>
    <ds:schemaRef ds:uri="http://schemas.microsoft.com/sharepoint/v3/contenttype/forms"/>
  </ds:schemaRefs>
</ds:datastoreItem>
</file>

<file path=customXml/itemProps3.xml><?xml version="1.0" encoding="utf-8"?>
<ds:datastoreItem xmlns:ds="http://schemas.openxmlformats.org/officeDocument/2006/customXml" ds:itemID="{B75BC3CD-6225-4A74-902A-BDDA3D71432E}">
  <ds:schemaRefs>
    <ds:schemaRef ds:uri="55e0018a-555f-4636-8448-22bbeb8b2fd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GAVI_PPT_Full template</Template>
  <TotalTime>50</TotalTime>
  <Words>3397</Words>
  <Application>Microsoft Office PowerPoint</Application>
  <PresentationFormat>Widescreen</PresentationFormat>
  <Paragraphs>472</Paragraphs>
  <Slides>32</Slides>
  <Notes>25</Notes>
  <HiddenSlides>0</HiddenSlides>
  <MMClips>0</MMClips>
  <ScaleCrop>false</ScaleCrop>
  <HeadingPairs>
    <vt:vector size="8" baseType="variant">
      <vt:variant>
        <vt:lpstr>Fonts Used</vt:lpstr>
      </vt:variant>
      <vt:variant>
        <vt:i4>7</vt:i4>
      </vt:variant>
      <vt:variant>
        <vt:lpstr>Theme</vt:lpstr>
      </vt:variant>
      <vt:variant>
        <vt:i4>10</vt:i4>
      </vt:variant>
      <vt:variant>
        <vt:lpstr>Embedded OLE Servers</vt:lpstr>
      </vt:variant>
      <vt:variant>
        <vt:i4>1</vt:i4>
      </vt:variant>
      <vt:variant>
        <vt:lpstr>Slide Titles</vt:lpstr>
      </vt:variant>
      <vt:variant>
        <vt:i4>32</vt:i4>
      </vt:variant>
    </vt:vector>
  </HeadingPairs>
  <TitlesOfParts>
    <vt:vector size="50" baseType="lpstr">
      <vt:lpstr>Yu Gothic Light</vt:lpstr>
      <vt:lpstr>Aptos</vt:lpstr>
      <vt:lpstr>Aptos Bold</vt:lpstr>
      <vt:lpstr>Arial</vt:lpstr>
      <vt:lpstr>Calibri</vt:lpstr>
      <vt:lpstr>Calibri Light</vt:lpstr>
      <vt:lpstr>Times New Roman</vt:lpstr>
      <vt:lpstr>Gavi – Titles, Sections, End Slides</vt:lpstr>
      <vt:lpstr>Gavi – Body Slides</vt:lpstr>
      <vt:lpstr>1_FULL_Gavi_PPT_TEMPLATE 2</vt:lpstr>
      <vt:lpstr>1_Gavi – Body Slides</vt:lpstr>
      <vt:lpstr>2_Gavi – Body Slides</vt:lpstr>
      <vt:lpstr>2_Gavi – Titles, Sections, End Slides</vt:lpstr>
      <vt:lpstr>1_Gavi – Titles, Sections, End Slides</vt:lpstr>
      <vt:lpstr>3_Gavi – Titles, Sections, End Slides</vt:lpstr>
      <vt:lpstr>Office Theme</vt:lpstr>
      <vt:lpstr>4_Gavi – Titles, Sections, End Slides</vt:lpstr>
      <vt:lpstr>think-cell Slide</vt:lpstr>
      <vt:lpstr>Gavi CSO Consultation Webinar  Webinaire de consultation des OSC de Gavi </vt:lpstr>
      <vt:lpstr>Housekeeping / Ménage</vt:lpstr>
      <vt:lpstr>PowerPoint Presentation</vt:lpstr>
      <vt:lpstr>PowerPoint Presentation</vt:lpstr>
      <vt:lpstr>CSCE 2025 Webinar Series and CSO Consultations: a platform to listen, learn, and shape the future of CSO engagement </vt:lpstr>
      <vt:lpstr>Today’s Webinar and Consultation Thematic Focus  In fragile and humanitarian settings, what will it take for Gavi and CSOs to sustain immunisation services amidst crisis, while building the foundations for long-term resilience?</vt:lpstr>
      <vt:lpstr>Gavi’s experience with CSOs in Conflict and Fragile setting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CS: Strengthening Its Role as a Local Health Act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avi’s FH Approach addresses 4 problems</vt:lpstr>
      <vt:lpstr>PowerPoint Presentation</vt:lpstr>
      <vt:lpstr>Theory of Change outlines clear levers of influence, interventions, outcomes and goals for the F&amp;H approach</vt:lpstr>
      <vt:lpstr>Seven strategic shifts to Gavi’s delivery model will enable the outcomes and goals in the ToC</vt:lpstr>
      <vt:lpstr>Gavi has created a dedicated Resilience Mechanism to respond to unforeseen needs, with four use cases</vt:lpstr>
      <vt:lpstr>Gavi Board-Approved Funding </vt:lpstr>
      <vt:lpstr>Open Q&amp;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ard induction</dc:title>
  <dc:creator>Albane De Gabrielli</dc:creator>
  <cp:lastModifiedBy>Fyona Mutegi</cp:lastModifiedBy>
  <cp:revision>4</cp:revision>
  <dcterms:created xsi:type="dcterms:W3CDTF">2023-03-09T11:02:04Z</dcterms:created>
  <dcterms:modified xsi:type="dcterms:W3CDTF">2025-10-08T21:1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a957285-7815-485a-9751-5b273b784ad5_Enabled">
    <vt:lpwstr>true</vt:lpwstr>
  </property>
  <property fmtid="{D5CDD505-2E9C-101B-9397-08002B2CF9AE}" pid="3" name="MSIP_Label_0a957285-7815-485a-9751-5b273b784ad5_SetDate">
    <vt:lpwstr>2022-02-17T16:13:58Z</vt:lpwstr>
  </property>
  <property fmtid="{D5CDD505-2E9C-101B-9397-08002B2CF9AE}" pid="4" name="MSIP_Label_0a957285-7815-485a-9751-5b273b784ad5_Method">
    <vt:lpwstr>Privileged</vt:lpwstr>
  </property>
  <property fmtid="{D5CDD505-2E9C-101B-9397-08002B2CF9AE}" pid="5" name="MSIP_Label_0a957285-7815-485a-9751-5b273b784ad5_Name">
    <vt:lpwstr>0a957285-7815-485a-9751-5b273b784ad5</vt:lpwstr>
  </property>
  <property fmtid="{D5CDD505-2E9C-101B-9397-08002B2CF9AE}" pid="6" name="MSIP_Label_0a957285-7815-485a-9751-5b273b784ad5_SiteId">
    <vt:lpwstr>1de6d9f3-0daf-4df6-b9d6-5959f16f6118</vt:lpwstr>
  </property>
  <property fmtid="{D5CDD505-2E9C-101B-9397-08002B2CF9AE}" pid="7" name="MSIP_Label_0a957285-7815-485a-9751-5b273b784ad5_ActionId">
    <vt:lpwstr>149189a2-f678-4e5f-b622-22e4b9a92e12</vt:lpwstr>
  </property>
  <property fmtid="{D5CDD505-2E9C-101B-9397-08002B2CF9AE}" pid="8" name="MSIP_Label_0a957285-7815-485a-9751-5b273b784ad5_ContentBits">
    <vt:lpwstr>0</vt:lpwstr>
  </property>
  <property fmtid="{D5CDD505-2E9C-101B-9397-08002B2CF9AE}" pid="9" name="ContentTypeId">
    <vt:lpwstr>0x010100A8D71E593CBFE949B5FE4696D4D2090D</vt:lpwstr>
  </property>
  <property fmtid="{D5CDD505-2E9C-101B-9397-08002B2CF9AE}" pid="10" name="_dlc_policyId">
    <vt:lpwstr>/teams/EXO/Documents</vt:lpwstr>
  </property>
  <property fmtid="{D5CDD505-2E9C-101B-9397-08002B2CF9AE}" pid="11" name="MediaServiceImageTags">
    <vt:lpwstr/>
  </property>
  <property fmtid="{D5CDD505-2E9C-101B-9397-08002B2CF9AE}" pid="12" name="ItemRetentionFormula">
    <vt:lpwstr>&lt;formula id="Microsoft.Office.RecordsManagement.PolicyFeatures.Expiration.Formula.BuiltIn"&gt;&lt;number&gt;7&lt;/number&gt;&lt;property&gt;Created&lt;/property&gt;&lt;propertyId&gt;8c06beca-0777-48f7-91c7-6da68bc07b69&lt;/propertyId&gt;&lt;period&gt;years&lt;/period&gt;&lt;/formula&gt;</vt:lpwstr>
  </property>
  <property fmtid="{D5CDD505-2E9C-101B-9397-08002B2CF9AE}" pid="13" name="_dlc_DocIdItemGuid">
    <vt:lpwstr>0486074d-c9c9-4e90-a8f6-f3d52f11ac50</vt:lpwstr>
  </property>
  <property fmtid="{D5CDD505-2E9C-101B-9397-08002B2CF9AE}" pid="14" name="kfa83adfad8641678ddaedda80d7e126">
    <vt:lpwstr/>
  </property>
  <property fmtid="{D5CDD505-2E9C-101B-9397-08002B2CF9AE}" pid="15" name="Test">
    <vt:lpwstr/>
  </property>
</Properties>
</file>